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xml" ContentType="application/vnd.openxmlformats-officedocument.presentationml.tags+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2" r:id="rId4"/>
    <p:sldMasterId id="2147483702" r:id="rId5"/>
    <p:sldMasterId id="2147483718" r:id="rId6"/>
    <p:sldMasterId id="2147483737" r:id="rId7"/>
    <p:sldMasterId id="2147483752" r:id="rId8"/>
  </p:sldMasterIdLst>
  <p:notesMasterIdLst>
    <p:notesMasterId r:id="rId103"/>
  </p:notesMasterIdLst>
  <p:handoutMasterIdLst>
    <p:handoutMasterId r:id="rId104"/>
  </p:handoutMasterIdLst>
  <p:sldIdLst>
    <p:sldId id="308" r:id="rId9"/>
    <p:sldId id="416" r:id="rId10"/>
    <p:sldId id="392" r:id="rId11"/>
    <p:sldId id="285" r:id="rId12"/>
    <p:sldId id="1080" r:id="rId13"/>
    <p:sldId id="652" r:id="rId14"/>
    <p:sldId id="1128" r:id="rId15"/>
    <p:sldId id="288" r:id="rId16"/>
    <p:sldId id="293" r:id="rId17"/>
    <p:sldId id="1083" r:id="rId18"/>
    <p:sldId id="268" r:id="rId19"/>
    <p:sldId id="269" r:id="rId20"/>
    <p:sldId id="1084" r:id="rId21"/>
    <p:sldId id="1090" r:id="rId22"/>
    <p:sldId id="1086" r:id="rId23"/>
    <p:sldId id="1104" r:id="rId24"/>
    <p:sldId id="270" r:id="rId25"/>
    <p:sldId id="298" r:id="rId26"/>
    <p:sldId id="1091" r:id="rId27"/>
    <p:sldId id="273" r:id="rId28"/>
    <p:sldId id="1124" r:id="rId29"/>
    <p:sldId id="1117" r:id="rId30"/>
    <p:sldId id="305" r:id="rId31"/>
    <p:sldId id="1127" r:id="rId32"/>
    <p:sldId id="1129" r:id="rId33"/>
    <p:sldId id="327" r:id="rId34"/>
    <p:sldId id="1101" r:id="rId35"/>
    <p:sldId id="330" r:id="rId36"/>
    <p:sldId id="316" r:id="rId37"/>
    <p:sldId id="317" r:id="rId38"/>
    <p:sldId id="280" r:id="rId39"/>
    <p:sldId id="326" r:id="rId40"/>
    <p:sldId id="328" r:id="rId41"/>
    <p:sldId id="1107" r:id="rId42"/>
    <p:sldId id="1108" r:id="rId43"/>
    <p:sldId id="1109" r:id="rId44"/>
    <p:sldId id="1110" r:id="rId45"/>
    <p:sldId id="399" r:id="rId46"/>
    <p:sldId id="364" r:id="rId47"/>
    <p:sldId id="401" r:id="rId48"/>
    <p:sldId id="402" r:id="rId49"/>
    <p:sldId id="366" r:id="rId50"/>
    <p:sldId id="410" r:id="rId51"/>
    <p:sldId id="411" r:id="rId52"/>
    <p:sldId id="1136" r:id="rId53"/>
    <p:sldId id="1125" r:id="rId54"/>
    <p:sldId id="1135" r:id="rId55"/>
    <p:sldId id="1134" r:id="rId56"/>
    <p:sldId id="1152" r:id="rId57"/>
    <p:sldId id="287" r:id="rId58"/>
    <p:sldId id="1137" r:id="rId59"/>
    <p:sldId id="1138" r:id="rId60"/>
    <p:sldId id="1140" r:id="rId61"/>
    <p:sldId id="1139" r:id="rId62"/>
    <p:sldId id="263" r:id="rId63"/>
    <p:sldId id="264" r:id="rId64"/>
    <p:sldId id="1141" r:id="rId65"/>
    <p:sldId id="1142" r:id="rId66"/>
    <p:sldId id="1143" r:id="rId67"/>
    <p:sldId id="1144" r:id="rId68"/>
    <p:sldId id="1153" r:id="rId69"/>
    <p:sldId id="1154" r:id="rId70"/>
    <p:sldId id="271" r:id="rId71"/>
    <p:sldId id="272" r:id="rId72"/>
    <p:sldId id="1155" r:id="rId73"/>
    <p:sldId id="1157" r:id="rId74"/>
    <p:sldId id="1158" r:id="rId75"/>
    <p:sldId id="1145" r:id="rId76"/>
    <p:sldId id="1146" r:id="rId77"/>
    <p:sldId id="1147" r:id="rId78"/>
    <p:sldId id="1148" r:id="rId79"/>
    <p:sldId id="1149" r:id="rId80"/>
    <p:sldId id="1150" r:id="rId81"/>
    <p:sldId id="1111" r:id="rId82"/>
    <p:sldId id="347" r:id="rId83"/>
    <p:sldId id="1112" r:id="rId84"/>
    <p:sldId id="1113" r:id="rId85"/>
    <p:sldId id="350" r:id="rId86"/>
    <p:sldId id="351" r:id="rId87"/>
    <p:sldId id="1114" r:id="rId88"/>
    <p:sldId id="1095" r:id="rId89"/>
    <p:sldId id="354" r:id="rId90"/>
    <p:sldId id="355" r:id="rId91"/>
    <p:sldId id="356" r:id="rId92"/>
    <p:sldId id="400" r:id="rId93"/>
    <p:sldId id="331" r:id="rId94"/>
    <p:sldId id="408" r:id="rId95"/>
    <p:sldId id="403" r:id="rId96"/>
    <p:sldId id="405" r:id="rId97"/>
    <p:sldId id="406" r:id="rId98"/>
    <p:sldId id="407" r:id="rId99"/>
    <p:sldId id="409" r:id="rId100"/>
    <p:sldId id="431" r:id="rId101"/>
    <p:sldId id="307" r:id="rId10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73">
          <p15:clr>
            <a:srgbClr val="A4A3A4"/>
          </p15:clr>
        </p15:guide>
        <p15:guide id="2" orient="horz" pos="738">
          <p15:clr>
            <a:srgbClr val="A4A3A4"/>
          </p15:clr>
        </p15:guide>
        <p15:guide id="3" orient="horz" pos="997">
          <p15:clr>
            <a:srgbClr val="A4A3A4"/>
          </p15:clr>
        </p15:guide>
        <p15:guide id="4" pos="5658">
          <p15:clr>
            <a:srgbClr val="A4A3A4"/>
          </p15:clr>
        </p15:guide>
        <p15:guide id="5" pos="95">
          <p15:clr>
            <a:srgbClr val="A4A3A4"/>
          </p15:clr>
        </p15:guide>
        <p15:guide id="6" pos="272">
          <p15:clr>
            <a:srgbClr val="A4A3A4"/>
          </p15:clr>
        </p15:guide>
        <p15:guide id="7" pos="287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ne Calder" initials="JC" lastIdx="27" clrIdx="1"/>
  <p:cmAuthor id="1" name="Yuko Nishiguchi" initials="YN" lastIdx="3" clrIdx="0">
    <p:extLst>
      <p:ext uri="{19B8F6BF-5375-455C-9EA6-DF929625EA0E}">
        <p15:presenceInfo xmlns:p15="http://schemas.microsoft.com/office/powerpoint/2012/main" userId="0523a98da1e23373" providerId="Windows Live"/>
      </p:ext>
    </p:extLst>
  </p:cmAuthor>
  <p:cmAuthor id="2" name="Nishiguchi, Yuko" initials="NY" lastIdx="3" clrIdx="2">
    <p:extLst>
      <p:ext uri="{19B8F6BF-5375-455C-9EA6-DF929625EA0E}">
        <p15:presenceInfo xmlns:p15="http://schemas.microsoft.com/office/powerpoint/2012/main" userId="S-1-12-1-1358436567-1270303094-3309105038-4180106070" providerId="AD"/>
      </p:ext>
    </p:extLst>
  </p:cmAuthor>
  <p:cmAuthor id="3" name="Sazan Baban" initials="SB" lastIdx="5" clrIdx="3">
    <p:extLst>
      <p:ext uri="{19B8F6BF-5375-455C-9EA6-DF929625EA0E}">
        <p15:presenceInfo xmlns:p15="http://schemas.microsoft.com/office/powerpoint/2012/main" userId="d92dc84b8d5a1f4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0007"/>
    <a:srgbClr val="F1030A"/>
    <a:srgbClr val="F60006"/>
    <a:srgbClr val="ED0409"/>
    <a:srgbClr val="ED100C"/>
    <a:srgbClr val="ED1C10"/>
    <a:srgbClr val="ED1F13"/>
    <a:srgbClr val="EA1F17"/>
    <a:srgbClr val="E12417"/>
    <a:srgbClr val="DD2B1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中間スタイル 3 - アクセント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792" autoAdjust="0"/>
  </p:normalViewPr>
  <p:slideViewPr>
    <p:cSldViewPr snapToObjects="1" showGuides="1">
      <p:cViewPr varScale="1">
        <p:scale>
          <a:sx n="114" d="100"/>
          <a:sy n="114" d="100"/>
        </p:scale>
        <p:origin x="1560" y="102"/>
      </p:cViewPr>
      <p:guideLst>
        <p:guide orient="horz" pos="3973"/>
        <p:guide orient="horz" pos="738"/>
        <p:guide orient="horz" pos="997"/>
        <p:guide pos="5658"/>
        <p:guide pos="95"/>
        <p:guide pos="272"/>
        <p:guide pos="2879"/>
      </p:guideLst>
    </p:cSldViewPr>
  </p:slideViewPr>
  <p:outlineViewPr>
    <p:cViewPr>
      <p:scale>
        <a:sx n="33" d="100"/>
        <a:sy n="33" d="100"/>
      </p:scale>
      <p:origin x="0" y="-36164"/>
    </p:cViewPr>
  </p:outlineViewPr>
  <p:notesTextViewPr>
    <p:cViewPr>
      <p:scale>
        <a:sx n="100" d="100"/>
        <a:sy n="100" d="100"/>
      </p:scale>
      <p:origin x="0" y="0"/>
    </p:cViewPr>
  </p:notesTextViewPr>
  <p:sorterViewPr>
    <p:cViewPr varScale="1">
      <p:scale>
        <a:sx n="1" d="1"/>
        <a:sy n="1" d="1"/>
      </p:scale>
      <p:origin x="0" y="-18096"/>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6" Type="http://schemas.openxmlformats.org/officeDocument/2006/relationships/slide" Target="slides/slide8.xml"/><Relationship Id="rId107" Type="http://schemas.openxmlformats.org/officeDocument/2006/relationships/viewProps" Target="viewProps.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22" Type="http://schemas.openxmlformats.org/officeDocument/2006/relationships/slide" Target="slides/slide14.xml"/><Relationship Id="rId27" Type="http://schemas.openxmlformats.org/officeDocument/2006/relationships/slide" Target="slides/slide19.xml"/><Relationship Id="rId43" Type="http://schemas.openxmlformats.org/officeDocument/2006/relationships/slide" Target="slides/slide35.xml"/><Relationship Id="rId48" Type="http://schemas.openxmlformats.org/officeDocument/2006/relationships/slide" Target="slides/slide40.xml"/><Relationship Id="rId64" Type="http://schemas.openxmlformats.org/officeDocument/2006/relationships/slide" Target="slides/slide56.xml"/><Relationship Id="rId69" Type="http://schemas.openxmlformats.org/officeDocument/2006/relationships/slide" Target="slides/slide61.xml"/><Relationship Id="rId80" Type="http://schemas.openxmlformats.org/officeDocument/2006/relationships/slide" Target="slides/slide72.xml"/><Relationship Id="rId85" Type="http://schemas.openxmlformats.org/officeDocument/2006/relationships/slide" Target="slides/slide77.xml"/><Relationship Id="rId12" Type="http://schemas.openxmlformats.org/officeDocument/2006/relationships/slide" Target="slides/slide4.xml"/><Relationship Id="rId17" Type="http://schemas.openxmlformats.org/officeDocument/2006/relationships/slide" Target="slides/slide9.xml"/><Relationship Id="rId33" Type="http://schemas.openxmlformats.org/officeDocument/2006/relationships/slide" Target="slides/slide25.xml"/><Relationship Id="rId38" Type="http://schemas.openxmlformats.org/officeDocument/2006/relationships/slide" Target="slides/slide30.xml"/><Relationship Id="rId59" Type="http://schemas.openxmlformats.org/officeDocument/2006/relationships/slide" Target="slides/slide51.xml"/><Relationship Id="rId103" Type="http://schemas.openxmlformats.org/officeDocument/2006/relationships/notesMaster" Target="notesMasters/notesMaster1.xml"/><Relationship Id="rId108" Type="http://schemas.openxmlformats.org/officeDocument/2006/relationships/theme" Target="theme/theme1.xml"/><Relationship Id="rId54" Type="http://schemas.openxmlformats.org/officeDocument/2006/relationships/slide" Target="slides/slide46.xml"/><Relationship Id="rId70" Type="http://schemas.openxmlformats.org/officeDocument/2006/relationships/slide" Target="slides/slide62.xml"/><Relationship Id="rId75" Type="http://schemas.openxmlformats.org/officeDocument/2006/relationships/slide" Target="slides/slide67.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presProps" Target="pres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tableStyles" Target="tableStyles.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handoutMaster" Target="handoutMasters/handoutMaster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microsoft.com/office/2016/11/relationships/changesInfo" Target="changesInfos/changesInfo1.xml"/><Relationship Id="rId61" Type="http://schemas.openxmlformats.org/officeDocument/2006/relationships/slide" Target="slides/slide53.xml"/><Relationship Id="rId82" Type="http://schemas.openxmlformats.org/officeDocument/2006/relationships/slide" Target="slides/slide74.xml"/><Relationship Id="rId19" Type="http://schemas.openxmlformats.org/officeDocument/2006/relationships/slide" Target="slides/slide11.xml"/><Relationship Id="rId14" Type="http://schemas.openxmlformats.org/officeDocument/2006/relationships/slide" Target="slides/slide6.xml"/><Relationship Id="rId30" Type="http://schemas.openxmlformats.org/officeDocument/2006/relationships/slide" Target="slides/slide22.xml"/><Relationship Id="rId35" Type="http://schemas.openxmlformats.org/officeDocument/2006/relationships/slide" Target="slides/slide27.xml"/><Relationship Id="rId56" Type="http://schemas.openxmlformats.org/officeDocument/2006/relationships/slide" Target="slides/slide48.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25" Type="http://schemas.openxmlformats.org/officeDocument/2006/relationships/slide" Target="slides/slide17.xml"/><Relationship Id="rId46" Type="http://schemas.openxmlformats.org/officeDocument/2006/relationships/slide" Target="slides/slide38.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62" Type="http://schemas.openxmlformats.org/officeDocument/2006/relationships/slide" Target="slides/slide54.xml"/><Relationship Id="rId83" Type="http://schemas.openxmlformats.org/officeDocument/2006/relationships/slide" Target="slides/slide75.xml"/><Relationship Id="rId88" Type="http://schemas.openxmlformats.org/officeDocument/2006/relationships/slide" Target="slides/slide8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ng Thura" userId="ccda84a0-f220-42b6-85c4-009724735c4a" providerId="ADAL" clId="{46644EF5-C09B-44E8-A176-6E39BD7F811F}"/>
    <pc:docChg chg="modSld">
      <pc:chgData name="Aung Thura" userId="ccda84a0-f220-42b6-85c4-009724735c4a" providerId="ADAL" clId="{46644EF5-C09B-44E8-A176-6E39BD7F811F}" dt="2022-07-25T10:48:00.323" v="0" actId="2711"/>
      <pc:docMkLst>
        <pc:docMk/>
      </pc:docMkLst>
      <pc:sldChg chg="modSp mod">
        <pc:chgData name="Aung Thura" userId="ccda84a0-f220-42b6-85c4-009724735c4a" providerId="ADAL" clId="{46644EF5-C09B-44E8-A176-6E39BD7F811F}" dt="2022-07-25T10:48:00.323" v="0" actId="2711"/>
        <pc:sldMkLst>
          <pc:docMk/>
          <pc:sldMk cId="881699945" sldId="392"/>
        </pc:sldMkLst>
        <pc:spChg chg="mod">
          <ac:chgData name="Aung Thura" userId="ccda84a0-f220-42b6-85c4-009724735c4a" providerId="ADAL" clId="{46644EF5-C09B-44E8-A176-6E39BD7F811F}" dt="2022-07-25T10:48:00.323" v="0" actId="2711"/>
          <ac:spMkLst>
            <pc:docMk/>
            <pc:sldMk cId="881699945" sldId="392"/>
            <ac:spMk id="23" creationId="{90AC8E47-806F-4BC2-82BF-AC29A35ADE12}"/>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0A06B9-044D-4599-9922-F9B7058A9041}" type="doc">
      <dgm:prSet loTypeId="urn:microsoft.com/office/officeart/2005/8/layout/vList6" loCatId="list" qsTypeId="urn:microsoft.com/office/officeart/2005/8/quickstyle/simple5" qsCatId="simple" csTypeId="urn:microsoft.com/office/officeart/2005/8/colors/colorful1" csCatId="colorful" phldr="1"/>
      <dgm:spPr/>
      <dgm:t>
        <a:bodyPr/>
        <a:lstStyle/>
        <a:p>
          <a:endParaRPr lang="en-US"/>
        </a:p>
      </dgm:t>
    </dgm:pt>
    <dgm:pt modelId="{4094484A-AA99-4366-810D-6B891834CC55}">
      <dgm:prSet phldrT="[Text]" custT="1"/>
      <dgm:spPr/>
      <dgm:t>
        <a:bodyPr/>
        <a:lstStyle/>
        <a:p>
          <a:r>
            <a:rPr lang="en-US" sz="2400" dirty="0" err="1"/>
            <a:t>အကျိုးဖြစ်တဲ</a:t>
          </a:r>
          <a:r>
            <a:rPr lang="en-US" sz="2400" dirty="0"/>
            <a:t>့ </a:t>
          </a:r>
          <a:r>
            <a:rPr lang="en-US" sz="2400" dirty="0" err="1"/>
            <a:t>စိတ်ဖိးစီးမှု</a:t>
          </a:r>
          <a:endParaRPr lang="en-US" sz="2400" dirty="0"/>
        </a:p>
      </dgm:t>
    </dgm:pt>
    <dgm:pt modelId="{B2BD8E24-C351-4304-B3CA-D011C3959F01}" type="parTrans" cxnId="{6F4E655B-9BF0-41F0-817E-E502D78B7471}">
      <dgm:prSet/>
      <dgm:spPr/>
      <dgm:t>
        <a:bodyPr/>
        <a:lstStyle/>
        <a:p>
          <a:endParaRPr lang="en-US" sz="1600"/>
        </a:p>
      </dgm:t>
    </dgm:pt>
    <dgm:pt modelId="{C7BD4AF7-294D-4FA7-965A-D9782132960C}" type="sibTrans" cxnId="{6F4E655B-9BF0-41F0-817E-E502D78B7471}">
      <dgm:prSet/>
      <dgm:spPr/>
      <dgm:t>
        <a:bodyPr/>
        <a:lstStyle/>
        <a:p>
          <a:endParaRPr lang="en-US" sz="1600"/>
        </a:p>
      </dgm:t>
    </dgm:pt>
    <dgm:pt modelId="{10F6E0AA-B9CB-4156-AD8B-A9B1923F24BE}">
      <dgm:prSet phldrT="[Text]" custT="1"/>
      <dgm:spPr/>
      <dgm:t>
        <a:bodyPr/>
        <a:lstStyle/>
        <a:p>
          <a:r>
            <a:rPr lang="en-US" sz="2000" dirty="0" err="1"/>
            <a:t>အလုပ်ဖြစ်ဖို</a:t>
          </a:r>
          <a:r>
            <a:rPr lang="en-US" sz="2000" dirty="0"/>
            <a:t>့၊ </a:t>
          </a:r>
          <a:r>
            <a:rPr lang="en-US" sz="2000" dirty="0" err="1"/>
            <a:t>ရလဒ်ကောင်းတွေရဖို</a:t>
          </a:r>
          <a:r>
            <a:rPr lang="en-US" sz="2000" dirty="0"/>
            <a:t>့ </a:t>
          </a:r>
          <a:r>
            <a:rPr lang="en-US" sz="2000" dirty="0" err="1"/>
            <a:t>တွန်းအားဖြစ်စေ</a:t>
          </a:r>
          <a:endParaRPr lang="en-US" sz="2000" dirty="0"/>
        </a:p>
      </dgm:t>
    </dgm:pt>
    <dgm:pt modelId="{2C8A2BF9-23E3-4592-A20B-24E73DDA9339}" type="parTrans" cxnId="{E941B68C-8FD3-40B2-873F-4A06AC33677A}">
      <dgm:prSet/>
      <dgm:spPr/>
      <dgm:t>
        <a:bodyPr/>
        <a:lstStyle/>
        <a:p>
          <a:endParaRPr lang="en-US" sz="1600"/>
        </a:p>
      </dgm:t>
    </dgm:pt>
    <dgm:pt modelId="{2F60E968-B200-4866-912A-C583E33DBA98}" type="sibTrans" cxnId="{E941B68C-8FD3-40B2-873F-4A06AC33677A}">
      <dgm:prSet/>
      <dgm:spPr/>
      <dgm:t>
        <a:bodyPr/>
        <a:lstStyle/>
        <a:p>
          <a:endParaRPr lang="en-US" sz="1600"/>
        </a:p>
      </dgm:t>
    </dgm:pt>
    <dgm:pt modelId="{E63832B8-2A6B-45C3-84BD-AF28483AF092}">
      <dgm:prSet phldrT="[Text]" custT="1"/>
      <dgm:spPr/>
      <dgm:t>
        <a:bodyPr/>
        <a:lstStyle/>
        <a:p>
          <a:r>
            <a:rPr lang="en-US" sz="2400" dirty="0" err="1"/>
            <a:t>အကျိုးမဖြစ်တဲ</a:t>
          </a:r>
          <a:r>
            <a:rPr lang="en-US" sz="2400" dirty="0"/>
            <a:t>့ </a:t>
          </a:r>
          <a:r>
            <a:rPr lang="en-US" sz="2400" dirty="0" err="1"/>
            <a:t>စိတ်ဖိစီးမှု</a:t>
          </a:r>
          <a:endParaRPr lang="en-US" sz="2400" dirty="0"/>
        </a:p>
      </dgm:t>
    </dgm:pt>
    <dgm:pt modelId="{6294F334-6785-48BD-9AA7-CFBBDE05A5D3}" type="parTrans" cxnId="{96B9CE54-A597-4726-B97B-759B58F5DAD7}">
      <dgm:prSet/>
      <dgm:spPr/>
      <dgm:t>
        <a:bodyPr/>
        <a:lstStyle/>
        <a:p>
          <a:endParaRPr lang="en-US" sz="1600"/>
        </a:p>
      </dgm:t>
    </dgm:pt>
    <dgm:pt modelId="{F646C4AF-F084-4B77-B4A7-71A045679DF7}" type="sibTrans" cxnId="{96B9CE54-A597-4726-B97B-759B58F5DAD7}">
      <dgm:prSet/>
      <dgm:spPr/>
      <dgm:t>
        <a:bodyPr/>
        <a:lstStyle/>
        <a:p>
          <a:endParaRPr lang="en-US" sz="1600"/>
        </a:p>
      </dgm:t>
    </dgm:pt>
    <dgm:pt modelId="{1B5879B8-ED40-494E-8749-F4694552FD47}">
      <dgm:prSet phldrT="[Text]" custT="1"/>
      <dgm:spPr/>
      <dgm:t>
        <a:bodyPr/>
        <a:lstStyle/>
        <a:p>
          <a:r>
            <a:rPr lang="en-US" sz="1600" dirty="0" err="1"/>
            <a:t>စိတ်တွေညစ်ညူးမယ</a:t>
          </a:r>
          <a:r>
            <a:rPr lang="en-US" sz="1600" dirty="0"/>
            <a:t>်</a:t>
          </a:r>
        </a:p>
      </dgm:t>
    </dgm:pt>
    <dgm:pt modelId="{67493256-9562-4A4C-A124-F483F06556A5}" type="parTrans" cxnId="{D929EDEA-5E23-4EC0-9D1C-82F4D3CB4BCF}">
      <dgm:prSet/>
      <dgm:spPr/>
      <dgm:t>
        <a:bodyPr/>
        <a:lstStyle/>
        <a:p>
          <a:endParaRPr lang="en-US" sz="1600"/>
        </a:p>
      </dgm:t>
    </dgm:pt>
    <dgm:pt modelId="{BE2352C4-9D36-4353-AF07-718CC968578C}" type="sibTrans" cxnId="{D929EDEA-5E23-4EC0-9D1C-82F4D3CB4BCF}">
      <dgm:prSet/>
      <dgm:spPr/>
      <dgm:t>
        <a:bodyPr/>
        <a:lstStyle/>
        <a:p>
          <a:endParaRPr lang="en-US" sz="1600"/>
        </a:p>
      </dgm:t>
    </dgm:pt>
    <dgm:pt modelId="{3B8A5EC1-5505-4C20-AF81-668CAA15EA73}">
      <dgm:prSet phldrT="[Text]" custT="1"/>
      <dgm:spPr/>
      <dgm:t>
        <a:bodyPr/>
        <a:lstStyle/>
        <a:p>
          <a:r>
            <a:rPr lang="en-US" sz="1600" dirty="0" err="1"/>
            <a:t>မကောင်းတဲ</a:t>
          </a:r>
          <a:r>
            <a:rPr lang="en-US" sz="1600" dirty="0"/>
            <a:t>့ </a:t>
          </a:r>
          <a:r>
            <a:rPr lang="en-US" sz="1600" dirty="0" err="1"/>
            <a:t>အပြောအဆို</a:t>
          </a:r>
          <a:r>
            <a:rPr lang="en-US" sz="1600" dirty="0"/>
            <a:t> </a:t>
          </a:r>
          <a:r>
            <a:rPr lang="en-US" sz="1600" dirty="0" err="1"/>
            <a:t>အပြုအမူတွေ</a:t>
          </a:r>
          <a:r>
            <a:rPr lang="en-US" sz="1600" dirty="0"/>
            <a:t> </a:t>
          </a:r>
          <a:r>
            <a:rPr lang="en-US" sz="1600" dirty="0" err="1"/>
            <a:t>လုပ်ဖြစ</a:t>
          </a:r>
          <a:r>
            <a:rPr lang="en-US" sz="1600" dirty="0"/>
            <a:t>် </a:t>
          </a:r>
          <a:r>
            <a:rPr lang="en-US" sz="1600" dirty="0" err="1"/>
            <a:t>တွန်းအားဖြစ်စေ</a:t>
          </a:r>
          <a:endParaRPr lang="en-US" sz="1600" dirty="0"/>
        </a:p>
      </dgm:t>
    </dgm:pt>
    <dgm:pt modelId="{54F83656-BCD0-45AD-851A-491D1B8A0A43}" type="parTrans" cxnId="{D97881DA-625C-47AC-8173-25FF3970EC26}">
      <dgm:prSet/>
      <dgm:spPr/>
      <dgm:t>
        <a:bodyPr/>
        <a:lstStyle/>
        <a:p>
          <a:endParaRPr lang="en-US" sz="1600"/>
        </a:p>
      </dgm:t>
    </dgm:pt>
    <dgm:pt modelId="{8DDE4F20-0B75-424C-9875-85AB6D6BBAED}" type="sibTrans" cxnId="{D97881DA-625C-47AC-8173-25FF3970EC26}">
      <dgm:prSet/>
      <dgm:spPr/>
      <dgm:t>
        <a:bodyPr/>
        <a:lstStyle/>
        <a:p>
          <a:endParaRPr lang="en-US" sz="1600"/>
        </a:p>
      </dgm:t>
    </dgm:pt>
    <dgm:pt modelId="{16C137F6-EEE9-4AC7-B25C-2387A995DF08}">
      <dgm:prSet phldrT="[Text]" custT="1"/>
      <dgm:spPr/>
      <dgm:t>
        <a:bodyPr/>
        <a:lstStyle/>
        <a:p>
          <a:r>
            <a:rPr lang="en-US" sz="1600" dirty="0" err="1"/>
            <a:t>ကိုယ်လုပ်ရမယ</a:t>
          </a:r>
          <a:r>
            <a:rPr lang="en-US" sz="1600" dirty="0"/>
            <a:t>့်</a:t>
          </a:r>
          <a:r>
            <a:rPr lang="en-US" sz="1600" dirty="0" err="1"/>
            <a:t>အလုပ်တွေ</a:t>
          </a:r>
          <a:r>
            <a:rPr lang="en-US" sz="1600" dirty="0"/>
            <a:t> </a:t>
          </a:r>
          <a:r>
            <a:rPr lang="en-US" sz="1600" dirty="0" err="1"/>
            <a:t>ပြီးမြောက်ဖို</a:t>
          </a:r>
          <a:r>
            <a:rPr lang="en-US" sz="1600" dirty="0"/>
            <a:t>့ </a:t>
          </a:r>
          <a:r>
            <a:rPr lang="en-US" sz="1600" dirty="0" err="1"/>
            <a:t>အတားအဆီးဖြစ်စေ</a:t>
          </a:r>
          <a:endParaRPr lang="en-US" sz="1600" dirty="0"/>
        </a:p>
      </dgm:t>
    </dgm:pt>
    <dgm:pt modelId="{21DDD636-7586-478D-8D2B-AE039F45AD05}" type="parTrans" cxnId="{37E62377-EC63-417D-97C6-C589A8FF5759}">
      <dgm:prSet/>
      <dgm:spPr/>
      <dgm:t>
        <a:bodyPr/>
        <a:lstStyle/>
        <a:p>
          <a:endParaRPr lang="en-US" sz="1600"/>
        </a:p>
      </dgm:t>
    </dgm:pt>
    <dgm:pt modelId="{8AED64C2-1C65-41DB-ACCF-897537CBD3B8}" type="sibTrans" cxnId="{37E62377-EC63-417D-97C6-C589A8FF5759}">
      <dgm:prSet/>
      <dgm:spPr/>
      <dgm:t>
        <a:bodyPr/>
        <a:lstStyle/>
        <a:p>
          <a:endParaRPr lang="en-US" sz="1600"/>
        </a:p>
      </dgm:t>
    </dgm:pt>
    <dgm:pt modelId="{B2392598-208E-43D3-87D3-C5A664BC1592}" type="pres">
      <dgm:prSet presAssocID="{B10A06B9-044D-4599-9922-F9B7058A9041}" presName="Name0" presStyleCnt="0">
        <dgm:presLayoutVars>
          <dgm:dir/>
          <dgm:animLvl val="lvl"/>
          <dgm:resizeHandles/>
        </dgm:presLayoutVars>
      </dgm:prSet>
      <dgm:spPr/>
    </dgm:pt>
    <dgm:pt modelId="{16F2DD8B-6080-4AD4-AB8A-2947F0053D8A}" type="pres">
      <dgm:prSet presAssocID="{4094484A-AA99-4366-810D-6B891834CC55}" presName="linNode" presStyleCnt="0"/>
      <dgm:spPr/>
    </dgm:pt>
    <dgm:pt modelId="{F85AC5A2-A86F-4E45-98DD-D510DFEF241C}" type="pres">
      <dgm:prSet presAssocID="{4094484A-AA99-4366-810D-6B891834CC55}" presName="parentShp" presStyleLbl="node1" presStyleIdx="0" presStyleCnt="2" custScaleX="60633">
        <dgm:presLayoutVars>
          <dgm:bulletEnabled val="1"/>
        </dgm:presLayoutVars>
      </dgm:prSet>
      <dgm:spPr/>
    </dgm:pt>
    <dgm:pt modelId="{AD854C06-EA3D-4271-B2AC-6FE727A2C90F}" type="pres">
      <dgm:prSet presAssocID="{4094484A-AA99-4366-810D-6B891834CC55}" presName="childShp" presStyleLbl="bgAccFollowNode1" presStyleIdx="0" presStyleCnt="2">
        <dgm:presLayoutVars>
          <dgm:bulletEnabled val="1"/>
        </dgm:presLayoutVars>
      </dgm:prSet>
      <dgm:spPr/>
    </dgm:pt>
    <dgm:pt modelId="{2A3C00D2-EE36-4FF9-9625-019FD0B9E0BB}" type="pres">
      <dgm:prSet presAssocID="{C7BD4AF7-294D-4FA7-965A-D9782132960C}" presName="spacing" presStyleCnt="0"/>
      <dgm:spPr/>
    </dgm:pt>
    <dgm:pt modelId="{562D56A7-312C-4A1E-B901-39A84C0C8F72}" type="pres">
      <dgm:prSet presAssocID="{E63832B8-2A6B-45C3-84BD-AF28483AF092}" presName="linNode" presStyleCnt="0"/>
      <dgm:spPr/>
    </dgm:pt>
    <dgm:pt modelId="{C90A76E6-F241-4395-A781-A1265E4699ED}" type="pres">
      <dgm:prSet presAssocID="{E63832B8-2A6B-45C3-84BD-AF28483AF092}" presName="parentShp" presStyleLbl="node1" presStyleIdx="1" presStyleCnt="2" custScaleX="60633">
        <dgm:presLayoutVars>
          <dgm:bulletEnabled val="1"/>
        </dgm:presLayoutVars>
      </dgm:prSet>
      <dgm:spPr/>
    </dgm:pt>
    <dgm:pt modelId="{58CD19A9-58B5-41F7-8C1D-99CB7F2AC68B}" type="pres">
      <dgm:prSet presAssocID="{E63832B8-2A6B-45C3-84BD-AF28483AF092}" presName="childShp" presStyleLbl="bgAccFollowNode1" presStyleIdx="1" presStyleCnt="2">
        <dgm:presLayoutVars>
          <dgm:bulletEnabled val="1"/>
        </dgm:presLayoutVars>
      </dgm:prSet>
      <dgm:spPr/>
    </dgm:pt>
  </dgm:ptLst>
  <dgm:cxnLst>
    <dgm:cxn modelId="{14AA3802-E974-43CA-9D7E-2D0231E24DF7}" type="presOf" srcId="{10F6E0AA-B9CB-4156-AD8B-A9B1923F24BE}" destId="{AD854C06-EA3D-4271-B2AC-6FE727A2C90F}" srcOrd="0" destOrd="0" presId="urn:microsoft.com/office/officeart/2005/8/layout/vList6"/>
    <dgm:cxn modelId="{AE83BB0D-7ADB-4970-BE08-99A1C6AEBF68}" type="presOf" srcId="{1B5879B8-ED40-494E-8749-F4694552FD47}" destId="{58CD19A9-58B5-41F7-8C1D-99CB7F2AC68B}" srcOrd="0" destOrd="0" presId="urn:microsoft.com/office/officeart/2005/8/layout/vList6"/>
    <dgm:cxn modelId="{1B9FE216-7F05-4F24-86FE-53EDC7F4A9DD}" type="presOf" srcId="{B10A06B9-044D-4599-9922-F9B7058A9041}" destId="{B2392598-208E-43D3-87D3-C5A664BC1592}" srcOrd="0" destOrd="0" presId="urn:microsoft.com/office/officeart/2005/8/layout/vList6"/>
    <dgm:cxn modelId="{6F4E655B-9BF0-41F0-817E-E502D78B7471}" srcId="{B10A06B9-044D-4599-9922-F9B7058A9041}" destId="{4094484A-AA99-4366-810D-6B891834CC55}" srcOrd="0" destOrd="0" parTransId="{B2BD8E24-C351-4304-B3CA-D011C3959F01}" sibTransId="{C7BD4AF7-294D-4FA7-965A-D9782132960C}"/>
    <dgm:cxn modelId="{96B9CE54-A597-4726-B97B-759B58F5DAD7}" srcId="{B10A06B9-044D-4599-9922-F9B7058A9041}" destId="{E63832B8-2A6B-45C3-84BD-AF28483AF092}" srcOrd="1" destOrd="0" parTransId="{6294F334-6785-48BD-9AA7-CFBBDE05A5D3}" sibTransId="{F646C4AF-F084-4B77-B4A7-71A045679DF7}"/>
    <dgm:cxn modelId="{A0EACD75-B7BE-4856-B111-7493354A30CE}" type="presOf" srcId="{E63832B8-2A6B-45C3-84BD-AF28483AF092}" destId="{C90A76E6-F241-4395-A781-A1265E4699ED}" srcOrd="0" destOrd="0" presId="urn:microsoft.com/office/officeart/2005/8/layout/vList6"/>
    <dgm:cxn modelId="{37E62377-EC63-417D-97C6-C589A8FF5759}" srcId="{E63832B8-2A6B-45C3-84BD-AF28483AF092}" destId="{16C137F6-EEE9-4AC7-B25C-2387A995DF08}" srcOrd="1" destOrd="0" parTransId="{21DDD636-7586-478D-8D2B-AE039F45AD05}" sibTransId="{8AED64C2-1C65-41DB-ACCF-897537CBD3B8}"/>
    <dgm:cxn modelId="{E941B68C-8FD3-40B2-873F-4A06AC33677A}" srcId="{4094484A-AA99-4366-810D-6B891834CC55}" destId="{10F6E0AA-B9CB-4156-AD8B-A9B1923F24BE}" srcOrd="0" destOrd="0" parTransId="{2C8A2BF9-23E3-4592-A20B-24E73DDA9339}" sibTransId="{2F60E968-B200-4866-912A-C583E33DBA98}"/>
    <dgm:cxn modelId="{D652B0B2-1668-44AB-A410-4216C3C2D1E8}" type="presOf" srcId="{16C137F6-EEE9-4AC7-B25C-2387A995DF08}" destId="{58CD19A9-58B5-41F7-8C1D-99CB7F2AC68B}" srcOrd="0" destOrd="1" presId="urn:microsoft.com/office/officeart/2005/8/layout/vList6"/>
    <dgm:cxn modelId="{53BD80B5-34DD-4518-BE81-E3C766CD5DA7}" type="presOf" srcId="{3B8A5EC1-5505-4C20-AF81-668CAA15EA73}" destId="{58CD19A9-58B5-41F7-8C1D-99CB7F2AC68B}" srcOrd="0" destOrd="2" presId="urn:microsoft.com/office/officeart/2005/8/layout/vList6"/>
    <dgm:cxn modelId="{D97881DA-625C-47AC-8173-25FF3970EC26}" srcId="{E63832B8-2A6B-45C3-84BD-AF28483AF092}" destId="{3B8A5EC1-5505-4C20-AF81-668CAA15EA73}" srcOrd="2" destOrd="0" parTransId="{54F83656-BCD0-45AD-851A-491D1B8A0A43}" sibTransId="{8DDE4F20-0B75-424C-9875-85AB6D6BBAED}"/>
    <dgm:cxn modelId="{D929EDEA-5E23-4EC0-9D1C-82F4D3CB4BCF}" srcId="{E63832B8-2A6B-45C3-84BD-AF28483AF092}" destId="{1B5879B8-ED40-494E-8749-F4694552FD47}" srcOrd="0" destOrd="0" parTransId="{67493256-9562-4A4C-A124-F483F06556A5}" sibTransId="{BE2352C4-9D36-4353-AF07-718CC968578C}"/>
    <dgm:cxn modelId="{8E7594F4-6463-43E5-90B2-F16F82B4550B}" type="presOf" srcId="{4094484A-AA99-4366-810D-6B891834CC55}" destId="{F85AC5A2-A86F-4E45-98DD-D510DFEF241C}" srcOrd="0" destOrd="0" presId="urn:microsoft.com/office/officeart/2005/8/layout/vList6"/>
    <dgm:cxn modelId="{AFA2C809-4E15-4ED7-BD85-0698C3CFCCF1}" type="presParOf" srcId="{B2392598-208E-43D3-87D3-C5A664BC1592}" destId="{16F2DD8B-6080-4AD4-AB8A-2947F0053D8A}" srcOrd="0" destOrd="0" presId="urn:microsoft.com/office/officeart/2005/8/layout/vList6"/>
    <dgm:cxn modelId="{C8760F93-CB48-4B87-9726-8F5CB1E52368}" type="presParOf" srcId="{16F2DD8B-6080-4AD4-AB8A-2947F0053D8A}" destId="{F85AC5A2-A86F-4E45-98DD-D510DFEF241C}" srcOrd="0" destOrd="0" presId="urn:microsoft.com/office/officeart/2005/8/layout/vList6"/>
    <dgm:cxn modelId="{22BB5C4F-113F-4C1C-8237-CDD48751ECC4}" type="presParOf" srcId="{16F2DD8B-6080-4AD4-AB8A-2947F0053D8A}" destId="{AD854C06-EA3D-4271-B2AC-6FE727A2C90F}" srcOrd="1" destOrd="0" presId="urn:microsoft.com/office/officeart/2005/8/layout/vList6"/>
    <dgm:cxn modelId="{5298023F-4B34-4E2A-8412-BA5B94608B94}" type="presParOf" srcId="{B2392598-208E-43D3-87D3-C5A664BC1592}" destId="{2A3C00D2-EE36-4FF9-9625-019FD0B9E0BB}" srcOrd="1" destOrd="0" presId="urn:microsoft.com/office/officeart/2005/8/layout/vList6"/>
    <dgm:cxn modelId="{5462AEB3-7824-4B9B-9965-BD754F5A405C}" type="presParOf" srcId="{B2392598-208E-43D3-87D3-C5A664BC1592}" destId="{562D56A7-312C-4A1E-B901-39A84C0C8F72}" srcOrd="2" destOrd="0" presId="urn:microsoft.com/office/officeart/2005/8/layout/vList6"/>
    <dgm:cxn modelId="{73483B13-3E70-4745-868E-D61ECAF8F0EF}" type="presParOf" srcId="{562D56A7-312C-4A1E-B901-39A84C0C8F72}" destId="{C90A76E6-F241-4395-A781-A1265E4699ED}" srcOrd="0" destOrd="0" presId="urn:microsoft.com/office/officeart/2005/8/layout/vList6"/>
    <dgm:cxn modelId="{E97F42E0-7970-4513-91B9-37488E802553}" type="presParOf" srcId="{562D56A7-312C-4A1E-B901-39A84C0C8F72}" destId="{58CD19A9-58B5-41F7-8C1D-99CB7F2AC68B}"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A7837BF-F3EE-4868-9325-E9AA15D588E8}" type="doc">
      <dgm:prSet loTypeId="urn:microsoft.com/office/officeart/2011/layout/HexagonRadial" loCatId="cycle" qsTypeId="urn:microsoft.com/office/officeart/2005/8/quickstyle/simple1" qsCatId="simple" csTypeId="urn:microsoft.com/office/officeart/2005/8/colors/colorful1" csCatId="colorful" phldr="1"/>
      <dgm:spPr/>
      <dgm:t>
        <a:bodyPr/>
        <a:lstStyle/>
        <a:p>
          <a:endParaRPr lang="en-US"/>
        </a:p>
      </dgm:t>
    </dgm:pt>
    <dgm:pt modelId="{123E2F27-A4C9-42C0-AE8D-E788DC7AB064}">
      <dgm:prSet phldrT="[Text]" custT="1"/>
      <dgm:spPr/>
      <dgm:t>
        <a:bodyPr/>
        <a:lstStyle/>
        <a:p>
          <a:r>
            <a:rPr lang="en-US" sz="2400"/>
            <a:t>စိတ်ဖိစီးမှု</a:t>
          </a:r>
          <a:endParaRPr lang="en-US" sz="2400" dirty="0"/>
        </a:p>
      </dgm:t>
    </dgm:pt>
    <dgm:pt modelId="{C7FB77C5-A2D5-472A-AD42-2C89A81256A3}" type="parTrans" cxnId="{780A8EA5-30B1-4C14-899F-8D9B8DE1CF17}">
      <dgm:prSet/>
      <dgm:spPr/>
      <dgm:t>
        <a:bodyPr/>
        <a:lstStyle/>
        <a:p>
          <a:endParaRPr lang="en-US" sz="3600"/>
        </a:p>
      </dgm:t>
    </dgm:pt>
    <dgm:pt modelId="{A6407E1C-54BB-4371-9A60-1A575E19F3E3}" type="sibTrans" cxnId="{780A8EA5-30B1-4C14-899F-8D9B8DE1CF17}">
      <dgm:prSet/>
      <dgm:spPr/>
      <dgm:t>
        <a:bodyPr/>
        <a:lstStyle/>
        <a:p>
          <a:endParaRPr lang="en-US" sz="3600"/>
        </a:p>
      </dgm:t>
    </dgm:pt>
    <dgm:pt modelId="{44DDB606-8F97-4B4D-8DB3-D51DD39DE499}">
      <dgm:prSet phldrT="[Text]" custT="1"/>
      <dgm:spPr/>
      <dgm:t>
        <a:bodyPr/>
        <a:lstStyle/>
        <a:p>
          <a:r>
            <a:rPr lang="en-US" sz="1600" dirty="0" err="1"/>
            <a:t>ကျန်းမာရေး</a:t>
          </a:r>
          <a:endParaRPr lang="en-US" sz="1600" dirty="0"/>
        </a:p>
      </dgm:t>
    </dgm:pt>
    <dgm:pt modelId="{2C3ACD8E-10C5-4F1F-AC31-49DCA75E2B49}" type="parTrans" cxnId="{B5B85146-FE96-451C-AA8F-A08D984520E9}">
      <dgm:prSet/>
      <dgm:spPr/>
      <dgm:t>
        <a:bodyPr/>
        <a:lstStyle/>
        <a:p>
          <a:endParaRPr lang="en-US" sz="3600"/>
        </a:p>
      </dgm:t>
    </dgm:pt>
    <dgm:pt modelId="{44FAF484-F7F1-4405-B6BA-5D353ED041DD}" type="sibTrans" cxnId="{B5B85146-FE96-451C-AA8F-A08D984520E9}">
      <dgm:prSet/>
      <dgm:spPr/>
      <dgm:t>
        <a:bodyPr/>
        <a:lstStyle/>
        <a:p>
          <a:endParaRPr lang="en-US" sz="3600"/>
        </a:p>
      </dgm:t>
    </dgm:pt>
    <dgm:pt modelId="{0DBEF16C-5BF4-4689-B2B3-6DE9B6A1ABC7}">
      <dgm:prSet phldrT="[Text]" custT="1"/>
      <dgm:spPr/>
      <dgm:t>
        <a:bodyPr/>
        <a:lstStyle/>
        <a:p>
          <a:r>
            <a:rPr lang="en-US" sz="1600" dirty="0" err="1"/>
            <a:t>မိသားစု</a:t>
          </a:r>
          <a:endParaRPr lang="en-US" sz="1600" dirty="0"/>
        </a:p>
      </dgm:t>
    </dgm:pt>
    <dgm:pt modelId="{ABFD47B8-0259-4F8C-86A1-CF6CDF7B7795}" type="parTrans" cxnId="{06518554-0612-4280-967B-E23BE9B6F947}">
      <dgm:prSet/>
      <dgm:spPr/>
      <dgm:t>
        <a:bodyPr/>
        <a:lstStyle/>
        <a:p>
          <a:endParaRPr lang="en-US" sz="3600"/>
        </a:p>
      </dgm:t>
    </dgm:pt>
    <dgm:pt modelId="{C96BD59F-0E78-4DF0-B0E9-9872961BD673}" type="sibTrans" cxnId="{06518554-0612-4280-967B-E23BE9B6F947}">
      <dgm:prSet/>
      <dgm:spPr/>
      <dgm:t>
        <a:bodyPr/>
        <a:lstStyle/>
        <a:p>
          <a:endParaRPr lang="en-US" sz="3600"/>
        </a:p>
      </dgm:t>
    </dgm:pt>
    <dgm:pt modelId="{6CDADBD9-D4DD-4B19-8C21-823098B0F5CF}">
      <dgm:prSet phldrT="[Text]" custT="1"/>
      <dgm:spPr/>
      <dgm:t>
        <a:bodyPr/>
        <a:lstStyle/>
        <a:p>
          <a:r>
            <a:rPr lang="en-US" sz="1600" dirty="0" err="1"/>
            <a:t>ငွေကြေး</a:t>
          </a:r>
          <a:endParaRPr lang="en-US" sz="1600" dirty="0"/>
        </a:p>
      </dgm:t>
    </dgm:pt>
    <dgm:pt modelId="{9BB8D2A8-77D9-44E2-BFCD-0B8114770D6B}" type="parTrans" cxnId="{801775B8-69C4-4C81-AD1D-3E8B1827EB93}">
      <dgm:prSet/>
      <dgm:spPr/>
      <dgm:t>
        <a:bodyPr/>
        <a:lstStyle/>
        <a:p>
          <a:endParaRPr lang="en-US" sz="3600"/>
        </a:p>
      </dgm:t>
    </dgm:pt>
    <dgm:pt modelId="{256F4DB3-A3F7-49B4-8737-AB54DD3C43D3}" type="sibTrans" cxnId="{801775B8-69C4-4C81-AD1D-3E8B1827EB93}">
      <dgm:prSet/>
      <dgm:spPr/>
      <dgm:t>
        <a:bodyPr/>
        <a:lstStyle/>
        <a:p>
          <a:endParaRPr lang="en-US" sz="3600"/>
        </a:p>
      </dgm:t>
    </dgm:pt>
    <dgm:pt modelId="{C726FB32-B62D-43D4-9BCD-C31FFE8B214A}">
      <dgm:prSet phldrT="[Text]" custT="1"/>
      <dgm:spPr/>
      <dgm:t>
        <a:bodyPr/>
        <a:lstStyle/>
        <a:p>
          <a:r>
            <a:rPr lang="en-US" sz="1600" dirty="0" err="1"/>
            <a:t>ပညာရေး</a:t>
          </a:r>
          <a:endParaRPr lang="en-US" sz="1600" dirty="0"/>
        </a:p>
      </dgm:t>
    </dgm:pt>
    <dgm:pt modelId="{5F007107-D619-4AB7-BF83-1D50C68AA4C2}" type="parTrans" cxnId="{41B46B7B-67B9-4FE4-934F-5A73282DC3E2}">
      <dgm:prSet/>
      <dgm:spPr/>
      <dgm:t>
        <a:bodyPr/>
        <a:lstStyle/>
        <a:p>
          <a:endParaRPr lang="en-US" sz="3600"/>
        </a:p>
      </dgm:t>
    </dgm:pt>
    <dgm:pt modelId="{F7363AB2-C741-47EB-826D-0722B7AA1588}" type="sibTrans" cxnId="{41B46B7B-67B9-4FE4-934F-5A73282DC3E2}">
      <dgm:prSet/>
      <dgm:spPr/>
      <dgm:t>
        <a:bodyPr/>
        <a:lstStyle/>
        <a:p>
          <a:endParaRPr lang="en-US" sz="3600"/>
        </a:p>
      </dgm:t>
    </dgm:pt>
    <dgm:pt modelId="{12B27D59-7C4B-49ED-9173-1759CFF8BBDF}">
      <dgm:prSet phldrT="[Text]" custT="1"/>
      <dgm:spPr/>
      <dgm:t>
        <a:bodyPr/>
        <a:lstStyle/>
        <a:p>
          <a:r>
            <a:rPr lang="en-US" sz="1600" dirty="0" err="1"/>
            <a:t>အလုပ်အကိုင</a:t>
          </a:r>
          <a:r>
            <a:rPr lang="en-US" sz="1600" dirty="0"/>
            <a:t>်</a:t>
          </a:r>
        </a:p>
      </dgm:t>
    </dgm:pt>
    <dgm:pt modelId="{3FB3E530-69BD-459F-8C66-9F0C3A02EEB8}" type="parTrans" cxnId="{C61BAFFE-32F2-4DEF-96FF-61671B713071}">
      <dgm:prSet/>
      <dgm:spPr/>
      <dgm:t>
        <a:bodyPr/>
        <a:lstStyle/>
        <a:p>
          <a:endParaRPr lang="en-US" sz="3600"/>
        </a:p>
      </dgm:t>
    </dgm:pt>
    <dgm:pt modelId="{A8D5B54E-50E0-4602-BCD0-8FFE470CF408}" type="sibTrans" cxnId="{C61BAFFE-32F2-4DEF-96FF-61671B713071}">
      <dgm:prSet/>
      <dgm:spPr/>
      <dgm:t>
        <a:bodyPr/>
        <a:lstStyle/>
        <a:p>
          <a:endParaRPr lang="en-US" sz="3600"/>
        </a:p>
      </dgm:t>
    </dgm:pt>
    <dgm:pt modelId="{430CBC08-519E-41C5-BAAB-3E830A433B34}">
      <dgm:prSet phldrT="[Text]" custT="1"/>
      <dgm:spPr/>
      <dgm:t>
        <a:bodyPr/>
        <a:lstStyle/>
        <a:p>
          <a:r>
            <a:rPr lang="en-US" sz="1600" dirty="0" err="1"/>
            <a:t>အချစ်ရေး</a:t>
          </a:r>
          <a:r>
            <a:rPr lang="en-US" sz="1600" dirty="0"/>
            <a:t>/ </a:t>
          </a:r>
          <a:r>
            <a:rPr lang="en-US" sz="1600" dirty="0" err="1"/>
            <a:t>အိမ်ထောင်ရေး</a:t>
          </a:r>
          <a:endParaRPr lang="en-US" sz="1600" dirty="0"/>
        </a:p>
      </dgm:t>
    </dgm:pt>
    <dgm:pt modelId="{029A8FB9-109B-4FF7-AF1D-491DA73A1558}" type="parTrans" cxnId="{1AFE6A45-E8B2-4391-A331-95B0FDA24716}">
      <dgm:prSet/>
      <dgm:spPr/>
      <dgm:t>
        <a:bodyPr/>
        <a:lstStyle/>
        <a:p>
          <a:endParaRPr lang="en-US" sz="3600"/>
        </a:p>
      </dgm:t>
    </dgm:pt>
    <dgm:pt modelId="{2FDC0C36-08BC-454A-9116-4F8A81B81965}" type="sibTrans" cxnId="{1AFE6A45-E8B2-4391-A331-95B0FDA24716}">
      <dgm:prSet/>
      <dgm:spPr/>
      <dgm:t>
        <a:bodyPr/>
        <a:lstStyle/>
        <a:p>
          <a:endParaRPr lang="en-US" sz="3600"/>
        </a:p>
      </dgm:t>
    </dgm:pt>
    <dgm:pt modelId="{30B64301-6A1B-4213-A9A5-57713B47439F}">
      <dgm:prSet phldrT="[Text]" custT="1"/>
      <dgm:spPr/>
      <dgm:t>
        <a:bodyPr/>
        <a:lstStyle/>
        <a:p>
          <a:endParaRPr lang="en-US" sz="1200"/>
        </a:p>
      </dgm:t>
    </dgm:pt>
    <dgm:pt modelId="{566386B8-D7CE-4413-A6DF-BD3D40020B9A}" type="parTrans" cxnId="{1747688C-697A-4B66-BF1B-5E305F5C1DCE}">
      <dgm:prSet/>
      <dgm:spPr/>
      <dgm:t>
        <a:bodyPr/>
        <a:lstStyle/>
        <a:p>
          <a:endParaRPr lang="en-US" sz="3600"/>
        </a:p>
      </dgm:t>
    </dgm:pt>
    <dgm:pt modelId="{54BF2EC7-20E3-4CAB-9114-82C31DDEECB6}" type="sibTrans" cxnId="{1747688C-697A-4B66-BF1B-5E305F5C1DCE}">
      <dgm:prSet/>
      <dgm:spPr/>
      <dgm:t>
        <a:bodyPr/>
        <a:lstStyle/>
        <a:p>
          <a:endParaRPr lang="en-US" sz="3600"/>
        </a:p>
      </dgm:t>
    </dgm:pt>
    <dgm:pt modelId="{46A73A0B-031B-4FFD-A449-9284CF12FA7E}" type="pres">
      <dgm:prSet presAssocID="{2A7837BF-F3EE-4868-9325-E9AA15D588E8}" presName="Name0" presStyleCnt="0">
        <dgm:presLayoutVars>
          <dgm:chMax val="1"/>
          <dgm:chPref val="1"/>
          <dgm:dir/>
          <dgm:animOne val="branch"/>
          <dgm:animLvl val="lvl"/>
        </dgm:presLayoutVars>
      </dgm:prSet>
      <dgm:spPr/>
    </dgm:pt>
    <dgm:pt modelId="{1DEF1DDA-9D51-4A51-AE73-B367E45A9138}" type="pres">
      <dgm:prSet presAssocID="{123E2F27-A4C9-42C0-AE8D-E788DC7AB064}" presName="Parent" presStyleLbl="node0" presStyleIdx="0" presStyleCnt="1">
        <dgm:presLayoutVars>
          <dgm:chMax val="6"/>
          <dgm:chPref val="6"/>
        </dgm:presLayoutVars>
      </dgm:prSet>
      <dgm:spPr/>
    </dgm:pt>
    <dgm:pt modelId="{0C2BC7A7-96D6-473D-88EC-E4470A9418A3}" type="pres">
      <dgm:prSet presAssocID="{44DDB606-8F97-4B4D-8DB3-D51DD39DE499}" presName="Accent1" presStyleCnt="0"/>
      <dgm:spPr/>
    </dgm:pt>
    <dgm:pt modelId="{32D93A91-C99C-455E-912D-A44647A21457}" type="pres">
      <dgm:prSet presAssocID="{44DDB606-8F97-4B4D-8DB3-D51DD39DE499}" presName="Accent" presStyleLbl="bgShp" presStyleIdx="0" presStyleCnt="6"/>
      <dgm:spPr/>
    </dgm:pt>
    <dgm:pt modelId="{9890A04A-BC2F-4EFD-AD44-D41B1A5C546B}" type="pres">
      <dgm:prSet presAssocID="{44DDB606-8F97-4B4D-8DB3-D51DD39DE499}" presName="Child1" presStyleLbl="node1" presStyleIdx="0" presStyleCnt="6">
        <dgm:presLayoutVars>
          <dgm:chMax val="0"/>
          <dgm:chPref val="0"/>
          <dgm:bulletEnabled val="1"/>
        </dgm:presLayoutVars>
      </dgm:prSet>
      <dgm:spPr/>
    </dgm:pt>
    <dgm:pt modelId="{00033304-3F38-4115-9073-E45EECF69F59}" type="pres">
      <dgm:prSet presAssocID="{0DBEF16C-5BF4-4689-B2B3-6DE9B6A1ABC7}" presName="Accent2" presStyleCnt="0"/>
      <dgm:spPr/>
    </dgm:pt>
    <dgm:pt modelId="{9451B779-416F-4F45-865F-F210EAA7D795}" type="pres">
      <dgm:prSet presAssocID="{0DBEF16C-5BF4-4689-B2B3-6DE9B6A1ABC7}" presName="Accent" presStyleLbl="bgShp" presStyleIdx="1" presStyleCnt="6"/>
      <dgm:spPr/>
    </dgm:pt>
    <dgm:pt modelId="{951DC3A1-CAFE-440E-B279-3BBD63C7E168}" type="pres">
      <dgm:prSet presAssocID="{0DBEF16C-5BF4-4689-B2B3-6DE9B6A1ABC7}" presName="Child2" presStyleLbl="node1" presStyleIdx="1" presStyleCnt="6">
        <dgm:presLayoutVars>
          <dgm:chMax val="0"/>
          <dgm:chPref val="0"/>
          <dgm:bulletEnabled val="1"/>
        </dgm:presLayoutVars>
      </dgm:prSet>
      <dgm:spPr/>
    </dgm:pt>
    <dgm:pt modelId="{53E36BD8-8200-480C-9F8A-E5DAB412BCDC}" type="pres">
      <dgm:prSet presAssocID="{6CDADBD9-D4DD-4B19-8C21-823098B0F5CF}" presName="Accent3" presStyleCnt="0"/>
      <dgm:spPr/>
    </dgm:pt>
    <dgm:pt modelId="{C4DCDE57-5DC5-40EB-882F-0E392A3C5735}" type="pres">
      <dgm:prSet presAssocID="{6CDADBD9-D4DD-4B19-8C21-823098B0F5CF}" presName="Accent" presStyleLbl="bgShp" presStyleIdx="2" presStyleCnt="6"/>
      <dgm:spPr/>
    </dgm:pt>
    <dgm:pt modelId="{62ED901B-BF0A-4DE4-8CE3-6D8F9469F4D2}" type="pres">
      <dgm:prSet presAssocID="{6CDADBD9-D4DD-4B19-8C21-823098B0F5CF}" presName="Child3" presStyleLbl="node1" presStyleIdx="2" presStyleCnt="6">
        <dgm:presLayoutVars>
          <dgm:chMax val="0"/>
          <dgm:chPref val="0"/>
          <dgm:bulletEnabled val="1"/>
        </dgm:presLayoutVars>
      </dgm:prSet>
      <dgm:spPr/>
    </dgm:pt>
    <dgm:pt modelId="{DC88F92D-4052-4FEE-A1F4-4FB0882B5338}" type="pres">
      <dgm:prSet presAssocID="{C726FB32-B62D-43D4-9BCD-C31FFE8B214A}" presName="Accent4" presStyleCnt="0"/>
      <dgm:spPr/>
    </dgm:pt>
    <dgm:pt modelId="{2517D9F3-73C9-490F-B3C3-6D690781BAE1}" type="pres">
      <dgm:prSet presAssocID="{C726FB32-B62D-43D4-9BCD-C31FFE8B214A}" presName="Accent" presStyleLbl="bgShp" presStyleIdx="3" presStyleCnt="6"/>
      <dgm:spPr/>
    </dgm:pt>
    <dgm:pt modelId="{C3768BC0-43ED-484E-9358-110353A9CBC3}" type="pres">
      <dgm:prSet presAssocID="{C726FB32-B62D-43D4-9BCD-C31FFE8B214A}" presName="Child4" presStyleLbl="node1" presStyleIdx="3" presStyleCnt="6">
        <dgm:presLayoutVars>
          <dgm:chMax val="0"/>
          <dgm:chPref val="0"/>
          <dgm:bulletEnabled val="1"/>
        </dgm:presLayoutVars>
      </dgm:prSet>
      <dgm:spPr/>
    </dgm:pt>
    <dgm:pt modelId="{6E4CFD9A-F4E4-45FF-B3BC-D4CC7597BA65}" type="pres">
      <dgm:prSet presAssocID="{12B27D59-7C4B-49ED-9173-1759CFF8BBDF}" presName="Accent5" presStyleCnt="0"/>
      <dgm:spPr/>
    </dgm:pt>
    <dgm:pt modelId="{3ADC3158-D8EF-479F-98DD-BA0F71F6E4B6}" type="pres">
      <dgm:prSet presAssocID="{12B27D59-7C4B-49ED-9173-1759CFF8BBDF}" presName="Accent" presStyleLbl="bgShp" presStyleIdx="4" presStyleCnt="6"/>
      <dgm:spPr/>
    </dgm:pt>
    <dgm:pt modelId="{182265BA-02EF-472F-B80B-540181AB021E}" type="pres">
      <dgm:prSet presAssocID="{12B27D59-7C4B-49ED-9173-1759CFF8BBDF}" presName="Child5" presStyleLbl="node1" presStyleIdx="4" presStyleCnt="6">
        <dgm:presLayoutVars>
          <dgm:chMax val="0"/>
          <dgm:chPref val="0"/>
          <dgm:bulletEnabled val="1"/>
        </dgm:presLayoutVars>
      </dgm:prSet>
      <dgm:spPr/>
    </dgm:pt>
    <dgm:pt modelId="{0459170B-C41F-4E88-9B04-FBCDF5826E90}" type="pres">
      <dgm:prSet presAssocID="{430CBC08-519E-41C5-BAAB-3E830A433B34}" presName="Accent6" presStyleCnt="0"/>
      <dgm:spPr/>
    </dgm:pt>
    <dgm:pt modelId="{4E42754B-5B9E-495D-903B-5D6B1A8D07CE}" type="pres">
      <dgm:prSet presAssocID="{430CBC08-519E-41C5-BAAB-3E830A433B34}" presName="Accent" presStyleLbl="bgShp" presStyleIdx="5" presStyleCnt="6"/>
      <dgm:spPr/>
    </dgm:pt>
    <dgm:pt modelId="{40D6DA4C-9D4F-47F1-8A40-20E10E35E144}" type="pres">
      <dgm:prSet presAssocID="{430CBC08-519E-41C5-BAAB-3E830A433B34}" presName="Child6" presStyleLbl="node1" presStyleIdx="5" presStyleCnt="6">
        <dgm:presLayoutVars>
          <dgm:chMax val="0"/>
          <dgm:chPref val="0"/>
          <dgm:bulletEnabled val="1"/>
        </dgm:presLayoutVars>
      </dgm:prSet>
      <dgm:spPr/>
    </dgm:pt>
  </dgm:ptLst>
  <dgm:cxnLst>
    <dgm:cxn modelId="{9341FF22-5EF0-4315-9693-1BAC67A543EC}" type="presOf" srcId="{430CBC08-519E-41C5-BAAB-3E830A433B34}" destId="{40D6DA4C-9D4F-47F1-8A40-20E10E35E144}" srcOrd="0" destOrd="0" presId="urn:microsoft.com/office/officeart/2011/layout/HexagonRadial"/>
    <dgm:cxn modelId="{E908393B-FF1F-4A2F-A4E6-BF142C3A5E1B}" type="presOf" srcId="{44DDB606-8F97-4B4D-8DB3-D51DD39DE499}" destId="{9890A04A-BC2F-4EFD-AD44-D41B1A5C546B}" srcOrd="0" destOrd="0" presId="urn:microsoft.com/office/officeart/2011/layout/HexagonRadial"/>
    <dgm:cxn modelId="{4E3ECB3F-B622-4939-964D-42B23A261A50}" type="presOf" srcId="{12B27D59-7C4B-49ED-9173-1759CFF8BBDF}" destId="{182265BA-02EF-472F-B80B-540181AB021E}" srcOrd="0" destOrd="0" presId="urn:microsoft.com/office/officeart/2011/layout/HexagonRadial"/>
    <dgm:cxn modelId="{1AFE6A45-E8B2-4391-A331-95B0FDA24716}" srcId="{123E2F27-A4C9-42C0-AE8D-E788DC7AB064}" destId="{430CBC08-519E-41C5-BAAB-3E830A433B34}" srcOrd="5" destOrd="0" parTransId="{029A8FB9-109B-4FF7-AF1D-491DA73A1558}" sibTransId="{2FDC0C36-08BC-454A-9116-4F8A81B81965}"/>
    <dgm:cxn modelId="{B5B85146-FE96-451C-AA8F-A08D984520E9}" srcId="{123E2F27-A4C9-42C0-AE8D-E788DC7AB064}" destId="{44DDB606-8F97-4B4D-8DB3-D51DD39DE499}" srcOrd="0" destOrd="0" parTransId="{2C3ACD8E-10C5-4F1F-AC31-49DCA75E2B49}" sibTransId="{44FAF484-F7F1-4405-B6BA-5D353ED041DD}"/>
    <dgm:cxn modelId="{06518554-0612-4280-967B-E23BE9B6F947}" srcId="{123E2F27-A4C9-42C0-AE8D-E788DC7AB064}" destId="{0DBEF16C-5BF4-4689-B2B3-6DE9B6A1ABC7}" srcOrd="1" destOrd="0" parTransId="{ABFD47B8-0259-4F8C-86A1-CF6CDF7B7795}" sibTransId="{C96BD59F-0E78-4DF0-B0E9-9872961BD673}"/>
    <dgm:cxn modelId="{193BA978-3809-4E31-9F0D-C068D6B68AEB}" type="presOf" srcId="{6CDADBD9-D4DD-4B19-8C21-823098B0F5CF}" destId="{62ED901B-BF0A-4DE4-8CE3-6D8F9469F4D2}" srcOrd="0" destOrd="0" presId="urn:microsoft.com/office/officeart/2011/layout/HexagonRadial"/>
    <dgm:cxn modelId="{41B46B7B-67B9-4FE4-934F-5A73282DC3E2}" srcId="{123E2F27-A4C9-42C0-AE8D-E788DC7AB064}" destId="{C726FB32-B62D-43D4-9BCD-C31FFE8B214A}" srcOrd="3" destOrd="0" parTransId="{5F007107-D619-4AB7-BF83-1D50C68AA4C2}" sibTransId="{F7363AB2-C741-47EB-826D-0722B7AA1588}"/>
    <dgm:cxn modelId="{C4227088-C576-48BE-BC6A-2218E5A7072F}" type="presOf" srcId="{C726FB32-B62D-43D4-9BCD-C31FFE8B214A}" destId="{C3768BC0-43ED-484E-9358-110353A9CBC3}" srcOrd="0" destOrd="0" presId="urn:microsoft.com/office/officeart/2011/layout/HexagonRadial"/>
    <dgm:cxn modelId="{1747688C-697A-4B66-BF1B-5E305F5C1DCE}" srcId="{123E2F27-A4C9-42C0-AE8D-E788DC7AB064}" destId="{30B64301-6A1B-4213-A9A5-57713B47439F}" srcOrd="6" destOrd="0" parTransId="{566386B8-D7CE-4413-A6DF-BD3D40020B9A}" sibTransId="{54BF2EC7-20E3-4CAB-9114-82C31DDEECB6}"/>
    <dgm:cxn modelId="{780A8EA5-30B1-4C14-899F-8D9B8DE1CF17}" srcId="{2A7837BF-F3EE-4868-9325-E9AA15D588E8}" destId="{123E2F27-A4C9-42C0-AE8D-E788DC7AB064}" srcOrd="0" destOrd="0" parTransId="{C7FB77C5-A2D5-472A-AD42-2C89A81256A3}" sibTransId="{A6407E1C-54BB-4371-9A60-1A575E19F3E3}"/>
    <dgm:cxn modelId="{B5DF76A8-DB37-46F2-8C5B-BEB4B3FFA558}" type="presOf" srcId="{123E2F27-A4C9-42C0-AE8D-E788DC7AB064}" destId="{1DEF1DDA-9D51-4A51-AE73-B367E45A9138}" srcOrd="0" destOrd="0" presId="urn:microsoft.com/office/officeart/2011/layout/HexagonRadial"/>
    <dgm:cxn modelId="{801775B8-69C4-4C81-AD1D-3E8B1827EB93}" srcId="{123E2F27-A4C9-42C0-AE8D-E788DC7AB064}" destId="{6CDADBD9-D4DD-4B19-8C21-823098B0F5CF}" srcOrd="2" destOrd="0" parTransId="{9BB8D2A8-77D9-44E2-BFCD-0B8114770D6B}" sibTransId="{256F4DB3-A3F7-49B4-8737-AB54DD3C43D3}"/>
    <dgm:cxn modelId="{7EFFD6BE-4D33-4FE9-8147-9C191EE917FF}" type="presOf" srcId="{0DBEF16C-5BF4-4689-B2B3-6DE9B6A1ABC7}" destId="{951DC3A1-CAFE-440E-B279-3BBD63C7E168}" srcOrd="0" destOrd="0" presId="urn:microsoft.com/office/officeart/2011/layout/HexagonRadial"/>
    <dgm:cxn modelId="{EE9348F7-0C8D-4F96-A5B5-D9438BB22FF9}" type="presOf" srcId="{2A7837BF-F3EE-4868-9325-E9AA15D588E8}" destId="{46A73A0B-031B-4FFD-A449-9284CF12FA7E}" srcOrd="0" destOrd="0" presId="urn:microsoft.com/office/officeart/2011/layout/HexagonRadial"/>
    <dgm:cxn modelId="{C61BAFFE-32F2-4DEF-96FF-61671B713071}" srcId="{123E2F27-A4C9-42C0-AE8D-E788DC7AB064}" destId="{12B27D59-7C4B-49ED-9173-1759CFF8BBDF}" srcOrd="4" destOrd="0" parTransId="{3FB3E530-69BD-459F-8C66-9F0C3A02EEB8}" sibTransId="{A8D5B54E-50E0-4602-BCD0-8FFE470CF408}"/>
    <dgm:cxn modelId="{B5579308-8EF6-4FA8-B127-51694E46DB11}" type="presParOf" srcId="{46A73A0B-031B-4FFD-A449-9284CF12FA7E}" destId="{1DEF1DDA-9D51-4A51-AE73-B367E45A9138}" srcOrd="0" destOrd="0" presId="urn:microsoft.com/office/officeart/2011/layout/HexagonRadial"/>
    <dgm:cxn modelId="{377EDEE9-EB38-448F-87D1-0EBC917F68CA}" type="presParOf" srcId="{46A73A0B-031B-4FFD-A449-9284CF12FA7E}" destId="{0C2BC7A7-96D6-473D-88EC-E4470A9418A3}" srcOrd="1" destOrd="0" presId="urn:microsoft.com/office/officeart/2011/layout/HexagonRadial"/>
    <dgm:cxn modelId="{5182BD9C-F843-4AFA-8599-F79AC3DB4B86}" type="presParOf" srcId="{0C2BC7A7-96D6-473D-88EC-E4470A9418A3}" destId="{32D93A91-C99C-455E-912D-A44647A21457}" srcOrd="0" destOrd="0" presId="urn:microsoft.com/office/officeart/2011/layout/HexagonRadial"/>
    <dgm:cxn modelId="{47AD3C6D-70D7-42FF-94B4-A89358844251}" type="presParOf" srcId="{46A73A0B-031B-4FFD-A449-9284CF12FA7E}" destId="{9890A04A-BC2F-4EFD-AD44-D41B1A5C546B}" srcOrd="2" destOrd="0" presId="urn:microsoft.com/office/officeart/2011/layout/HexagonRadial"/>
    <dgm:cxn modelId="{BB3E7C29-25BE-4E7B-B85D-60F35C9AE61A}" type="presParOf" srcId="{46A73A0B-031B-4FFD-A449-9284CF12FA7E}" destId="{00033304-3F38-4115-9073-E45EECF69F59}" srcOrd="3" destOrd="0" presId="urn:microsoft.com/office/officeart/2011/layout/HexagonRadial"/>
    <dgm:cxn modelId="{2FE3F57A-DD6A-472F-B655-4EB15AAEB154}" type="presParOf" srcId="{00033304-3F38-4115-9073-E45EECF69F59}" destId="{9451B779-416F-4F45-865F-F210EAA7D795}" srcOrd="0" destOrd="0" presId="urn:microsoft.com/office/officeart/2011/layout/HexagonRadial"/>
    <dgm:cxn modelId="{D0336AEB-B1F3-41DB-B8EE-0C02BC8E5412}" type="presParOf" srcId="{46A73A0B-031B-4FFD-A449-9284CF12FA7E}" destId="{951DC3A1-CAFE-440E-B279-3BBD63C7E168}" srcOrd="4" destOrd="0" presId="urn:microsoft.com/office/officeart/2011/layout/HexagonRadial"/>
    <dgm:cxn modelId="{3B88B024-BCCE-4FA1-9E59-DE99B9640FBD}" type="presParOf" srcId="{46A73A0B-031B-4FFD-A449-9284CF12FA7E}" destId="{53E36BD8-8200-480C-9F8A-E5DAB412BCDC}" srcOrd="5" destOrd="0" presId="urn:microsoft.com/office/officeart/2011/layout/HexagonRadial"/>
    <dgm:cxn modelId="{5CE7AE27-A42D-4817-8BB1-249B50D627A9}" type="presParOf" srcId="{53E36BD8-8200-480C-9F8A-E5DAB412BCDC}" destId="{C4DCDE57-5DC5-40EB-882F-0E392A3C5735}" srcOrd="0" destOrd="0" presId="urn:microsoft.com/office/officeart/2011/layout/HexagonRadial"/>
    <dgm:cxn modelId="{4975FDBD-3F17-4A30-810B-309BA2E01362}" type="presParOf" srcId="{46A73A0B-031B-4FFD-A449-9284CF12FA7E}" destId="{62ED901B-BF0A-4DE4-8CE3-6D8F9469F4D2}" srcOrd="6" destOrd="0" presId="urn:microsoft.com/office/officeart/2011/layout/HexagonRadial"/>
    <dgm:cxn modelId="{E1DE0CB5-F2E7-4FEF-8871-5941053C95D0}" type="presParOf" srcId="{46A73A0B-031B-4FFD-A449-9284CF12FA7E}" destId="{DC88F92D-4052-4FEE-A1F4-4FB0882B5338}" srcOrd="7" destOrd="0" presId="urn:microsoft.com/office/officeart/2011/layout/HexagonRadial"/>
    <dgm:cxn modelId="{55FC3423-0711-4DF9-8A22-11A7BC063C0C}" type="presParOf" srcId="{DC88F92D-4052-4FEE-A1F4-4FB0882B5338}" destId="{2517D9F3-73C9-490F-B3C3-6D690781BAE1}" srcOrd="0" destOrd="0" presId="urn:microsoft.com/office/officeart/2011/layout/HexagonRadial"/>
    <dgm:cxn modelId="{FAA73121-0176-4EB8-B926-75563DCF3325}" type="presParOf" srcId="{46A73A0B-031B-4FFD-A449-9284CF12FA7E}" destId="{C3768BC0-43ED-484E-9358-110353A9CBC3}" srcOrd="8" destOrd="0" presId="urn:microsoft.com/office/officeart/2011/layout/HexagonRadial"/>
    <dgm:cxn modelId="{9760ADC8-C3B8-415E-AE2D-294A1FE8F2FA}" type="presParOf" srcId="{46A73A0B-031B-4FFD-A449-9284CF12FA7E}" destId="{6E4CFD9A-F4E4-45FF-B3BC-D4CC7597BA65}" srcOrd="9" destOrd="0" presId="urn:microsoft.com/office/officeart/2011/layout/HexagonRadial"/>
    <dgm:cxn modelId="{652978E3-0A09-48F1-900C-9133DE5E6A97}" type="presParOf" srcId="{6E4CFD9A-F4E4-45FF-B3BC-D4CC7597BA65}" destId="{3ADC3158-D8EF-479F-98DD-BA0F71F6E4B6}" srcOrd="0" destOrd="0" presId="urn:microsoft.com/office/officeart/2011/layout/HexagonRadial"/>
    <dgm:cxn modelId="{949C9BBD-234B-48D0-ABA0-6251135BD4E3}" type="presParOf" srcId="{46A73A0B-031B-4FFD-A449-9284CF12FA7E}" destId="{182265BA-02EF-472F-B80B-540181AB021E}" srcOrd="10" destOrd="0" presId="urn:microsoft.com/office/officeart/2011/layout/HexagonRadial"/>
    <dgm:cxn modelId="{44534AF8-950E-4450-BC01-62F681B59DC7}" type="presParOf" srcId="{46A73A0B-031B-4FFD-A449-9284CF12FA7E}" destId="{0459170B-C41F-4E88-9B04-FBCDF5826E90}" srcOrd="11" destOrd="0" presId="urn:microsoft.com/office/officeart/2011/layout/HexagonRadial"/>
    <dgm:cxn modelId="{867B34C7-C1B6-407E-9ACC-AF07B7ABE82A}" type="presParOf" srcId="{0459170B-C41F-4E88-9B04-FBCDF5826E90}" destId="{4E42754B-5B9E-495D-903B-5D6B1A8D07CE}" srcOrd="0" destOrd="0" presId="urn:microsoft.com/office/officeart/2011/layout/HexagonRadial"/>
    <dgm:cxn modelId="{4D34148E-A449-4E15-8412-F60161FF3ED5}" type="presParOf" srcId="{46A73A0B-031B-4FFD-A449-9284CF12FA7E}" destId="{40D6DA4C-9D4F-47F1-8A40-20E10E35E144}"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854C06-EA3D-4271-B2AC-6FE727A2C90F}">
      <dsp:nvSpPr>
        <dsp:cNvPr id="0" name=""/>
        <dsp:cNvSpPr/>
      </dsp:nvSpPr>
      <dsp:spPr>
        <a:xfrm>
          <a:off x="3128427" y="497"/>
          <a:ext cx="5842686" cy="1939841"/>
        </a:xfrm>
        <a:prstGeom prst="rightArrow">
          <a:avLst>
            <a:gd name="adj1" fmla="val 75000"/>
            <a:gd name="adj2" fmla="val 50000"/>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2700" tIns="12700" rIns="12700" bIns="12700" numCol="1" spcCol="1270" anchor="t" anchorCtr="0">
          <a:noAutofit/>
        </a:bodyPr>
        <a:lstStyle/>
        <a:p>
          <a:pPr marL="228600" lvl="1" indent="-228600" algn="l" defTabSz="889000">
            <a:lnSpc>
              <a:spcPct val="90000"/>
            </a:lnSpc>
            <a:spcBef>
              <a:spcPct val="0"/>
            </a:spcBef>
            <a:spcAft>
              <a:spcPct val="15000"/>
            </a:spcAft>
            <a:buChar char="•"/>
          </a:pPr>
          <a:r>
            <a:rPr lang="en-US" sz="2000" kern="1200" dirty="0" err="1"/>
            <a:t>အလုပ်ဖြစ်ဖို</a:t>
          </a:r>
          <a:r>
            <a:rPr lang="en-US" sz="2000" kern="1200" dirty="0"/>
            <a:t>့၊ </a:t>
          </a:r>
          <a:r>
            <a:rPr lang="en-US" sz="2000" kern="1200" dirty="0" err="1"/>
            <a:t>ရလဒ်ကောင်းတွေရဖို</a:t>
          </a:r>
          <a:r>
            <a:rPr lang="en-US" sz="2000" kern="1200" dirty="0"/>
            <a:t>့ </a:t>
          </a:r>
          <a:r>
            <a:rPr lang="en-US" sz="2000" kern="1200" dirty="0" err="1"/>
            <a:t>တွန်းအားဖြစ်စေ</a:t>
          </a:r>
          <a:endParaRPr lang="en-US" sz="2000" kern="1200" dirty="0"/>
        </a:p>
      </dsp:txBody>
      <dsp:txXfrm>
        <a:off x="3128427" y="242977"/>
        <a:ext cx="5115246" cy="1454881"/>
      </dsp:txXfrm>
    </dsp:sp>
    <dsp:sp modelId="{F85AC5A2-A86F-4E45-98DD-D510DFEF241C}">
      <dsp:nvSpPr>
        <dsp:cNvPr id="0" name=""/>
        <dsp:cNvSpPr/>
      </dsp:nvSpPr>
      <dsp:spPr>
        <a:xfrm>
          <a:off x="766696" y="497"/>
          <a:ext cx="2361730" cy="1939841"/>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err="1"/>
            <a:t>အကျိုးဖြစ်တဲ</a:t>
          </a:r>
          <a:r>
            <a:rPr lang="en-US" sz="2400" kern="1200" dirty="0"/>
            <a:t>့ </a:t>
          </a:r>
          <a:r>
            <a:rPr lang="en-US" sz="2400" kern="1200" dirty="0" err="1"/>
            <a:t>စိတ်ဖိးစီးမှု</a:t>
          </a:r>
          <a:endParaRPr lang="en-US" sz="2400" kern="1200" dirty="0"/>
        </a:p>
      </dsp:txBody>
      <dsp:txXfrm>
        <a:off x="861391" y="95192"/>
        <a:ext cx="2172340" cy="1750451"/>
      </dsp:txXfrm>
    </dsp:sp>
    <dsp:sp modelId="{58CD19A9-58B5-41F7-8C1D-99CB7F2AC68B}">
      <dsp:nvSpPr>
        <dsp:cNvPr id="0" name=""/>
        <dsp:cNvSpPr/>
      </dsp:nvSpPr>
      <dsp:spPr>
        <a:xfrm>
          <a:off x="3128427" y="2134323"/>
          <a:ext cx="5842686" cy="1939841"/>
        </a:xfrm>
        <a:prstGeom prst="rightArrow">
          <a:avLst>
            <a:gd name="adj1" fmla="val 75000"/>
            <a:gd name="adj2" fmla="val 50000"/>
          </a:avLst>
        </a:prstGeom>
        <a:solidFill>
          <a:schemeClr val="accent3">
            <a:tint val="40000"/>
            <a:alpha val="90000"/>
            <a:hueOff val="0"/>
            <a:satOff val="0"/>
            <a:lumOff val="0"/>
            <a:alphaOff val="0"/>
          </a:schemeClr>
        </a:solidFill>
        <a:ln w="6350" cap="flat" cmpd="sng" algn="ctr">
          <a:solidFill>
            <a:schemeClr val="accent3">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en-US" sz="1600" kern="1200" dirty="0" err="1"/>
            <a:t>စိတ်တွေညစ်ညူးမယ</a:t>
          </a:r>
          <a:r>
            <a:rPr lang="en-US" sz="1600" kern="1200" dirty="0"/>
            <a:t>်</a:t>
          </a:r>
        </a:p>
        <a:p>
          <a:pPr marL="171450" lvl="1" indent="-171450" algn="l" defTabSz="711200">
            <a:lnSpc>
              <a:spcPct val="90000"/>
            </a:lnSpc>
            <a:spcBef>
              <a:spcPct val="0"/>
            </a:spcBef>
            <a:spcAft>
              <a:spcPct val="15000"/>
            </a:spcAft>
            <a:buChar char="•"/>
          </a:pPr>
          <a:r>
            <a:rPr lang="en-US" sz="1600" kern="1200" dirty="0" err="1"/>
            <a:t>ကိုယ်လုပ်ရမယ</a:t>
          </a:r>
          <a:r>
            <a:rPr lang="en-US" sz="1600" kern="1200" dirty="0"/>
            <a:t>့်</a:t>
          </a:r>
          <a:r>
            <a:rPr lang="en-US" sz="1600" kern="1200" dirty="0" err="1"/>
            <a:t>အလုပ်တွေ</a:t>
          </a:r>
          <a:r>
            <a:rPr lang="en-US" sz="1600" kern="1200" dirty="0"/>
            <a:t> </a:t>
          </a:r>
          <a:r>
            <a:rPr lang="en-US" sz="1600" kern="1200" dirty="0" err="1"/>
            <a:t>ပြီးမြောက်ဖို</a:t>
          </a:r>
          <a:r>
            <a:rPr lang="en-US" sz="1600" kern="1200" dirty="0"/>
            <a:t>့ </a:t>
          </a:r>
          <a:r>
            <a:rPr lang="en-US" sz="1600" kern="1200" dirty="0" err="1"/>
            <a:t>အတားအဆီးဖြစ်စေ</a:t>
          </a:r>
          <a:endParaRPr lang="en-US" sz="1600" kern="1200" dirty="0"/>
        </a:p>
        <a:p>
          <a:pPr marL="171450" lvl="1" indent="-171450" algn="l" defTabSz="711200">
            <a:lnSpc>
              <a:spcPct val="90000"/>
            </a:lnSpc>
            <a:spcBef>
              <a:spcPct val="0"/>
            </a:spcBef>
            <a:spcAft>
              <a:spcPct val="15000"/>
            </a:spcAft>
            <a:buChar char="•"/>
          </a:pPr>
          <a:r>
            <a:rPr lang="en-US" sz="1600" kern="1200" dirty="0" err="1"/>
            <a:t>မကောင်းတဲ</a:t>
          </a:r>
          <a:r>
            <a:rPr lang="en-US" sz="1600" kern="1200" dirty="0"/>
            <a:t>့ </a:t>
          </a:r>
          <a:r>
            <a:rPr lang="en-US" sz="1600" kern="1200" dirty="0" err="1"/>
            <a:t>အပြောအဆို</a:t>
          </a:r>
          <a:r>
            <a:rPr lang="en-US" sz="1600" kern="1200" dirty="0"/>
            <a:t> </a:t>
          </a:r>
          <a:r>
            <a:rPr lang="en-US" sz="1600" kern="1200" dirty="0" err="1"/>
            <a:t>အပြုအမူတွေ</a:t>
          </a:r>
          <a:r>
            <a:rPr lang="en-US" sz="1600" kern="1200" dirty="0"/>
            <a:t> </a:t>
          </a:r>
          <a:r>
            <a:rPr lang="en-US" sz="1600" kern="1200" dirty="0" err="1"/>
            <a:t>လုပ်ဖြစ</a:t>
          </a:r>
          <a:r>
            <a:rPr lang="en-US" sz="1600" kern="1200" dirty="0"/>
            <a:t>် </a:t>
          </a:r>
          <a:r>
            <a:rPr lang="en-US" sz="1600" kern="1200" dirty="0" err="1"/>
            <a:t>တွန်းအားဖြစ်စေ</a:t>
          </a:r>
          <a:endParaRPr lang="en-US" sz="1600" kern="1200" dirty="0"/>
        </a:p>
      </dsp:txBody>
      <dsp:txXfrm>
        <a:off x="3128427" y="2376803"/>
        <a:ext cx="5115246" cy="1454881"/>
      </dsp:txXfrm>
    </dsp:sp>
    <dsp:sp modelId="{C90A76E6-F241-4395-A781-A1265E4699ED}">
      <dsp:nvSpPr>
        <dsp:cNvPr id="0" name=""/>
        <dsp:cNvSpPr/>
      </dsp:nvSpPr>
      <dsp:spPr>
        <a:xfrm>
          <a:off x="766696" y="2134323"/>
          <a:ext cx="2361730" cy="193984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n-US" sz="2400" kern="1200" dirty="0" err="1"/>
            <a:t>အကျိုးမဖြစ်တဲ</a:t>
          </a:r>
          <a:r>
            <a:rPr lang="en-US" sz="2400" kern="1200" dirty="0"/>
            <a:t>့ </a:t>
          </a:r>
          <a:r>
            <a:rPr lang="en-US" sz="2400" kern="1200" dirty="0" err="1"/>
            <a:t>စိတ်ဖိစီးမှု</a:t>
          </a:r>
          <a:endParaRPr lang="en-US" sz="2400" kern="1200" dirty="0"/>
        </a:p>
      </dsp:txBody>
      <dsp:txXfrm>
        <a:off x="861391" y="2229018"/>
        <a:ext cx="2172340" cy="17504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EF1DDA-9D51-4A51-AE73-B367E45A9138}">
      <dsp:nvSpPr>
        <dsp:cNvPr id="0" name=""/>
        <dsp:cNvSpPr/>
      </dsp:nvSpPr>
      <dsp:spPr>
        <a:xfrm>
          <a:off x="3519989" y="1666983"/>
          <a:ext cx="2118808" cy="1832854"/>
        </a:xfrm>
        <a:prstGeom prst="hexagon">
          <a:avLst>
            <a:gd name="adj" fmla="val 28570"/>
            <a:gd name="vf" fmla="val 1154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kern="1200"/>
            <a:t>စိတ်ဖိစီးမှု</a:t>
          </a:r>
          <a:endParaRPr lang="en-US" sz="2400" kern="1200" dirty="0"/>
        </a:p>
      </dsp:txBody>
      <dsp:txXfrm>
        <a:off x="3871105" y="1970713"/>
        <a:ext cx="1416576" cy="1225394"/>
      </dsp:txXfrm>
    </dsp:sp>
    <dsp:sp modelId="{9451B779-416F-4F45-865F-F210EAA7D795}">
      <dsp:nvSpPr>
        <dsp:cNvPr id="0" name=""/>
        <dsp:cNvSpPr/>
      </dsp:nvSpPr>
      <dsp:spPr>
        <a:xfrm>
          <a:off x="4846770" y="790085"/>
          <a:ext cx="799420" cy="688806"/>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90A04A-BC2F-4EFD-AD44-D41B1A5C546B}">
      <dsp:nvSpPr>
        <dsp:cNvPr id="0" name=""/>
        <dsp:cNvSpPr/>
      </dsp:nvSpPr>
      <dsp:spPr>
        <a:xfrm>
          <a:off x="3715162" y="0"/>
          <a:ext cx="1736348" cy="1502145"/>
        </a:xfrm>
        <a:prstGeom prst="hexagon">
          <a:avLst>
            <a:gd name="adj" fmla="val 2857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err="1"/>
            <a:t>ကျန်းမာရေး</a:t>
          </a:r>
          <a:endParaRPr lang="en-US" sz="1600" kern="1200" dirty="0"/>
        </a:p>
      </dsp:txBody>
      <dsp:txXfrm>
        <a:off x="4002912" y="248938"/>
        <a:ext cx="1160848" cy="1004269"/>
      </dsp:txXfrm>
    </dsp:sp>
    <dsp:sp modelId="{C4DCDE57-5DC5-40EB-882F-0E392A3C5735}">
      <dsp:nvSpPr>
        <dsp:cNvPr id="0" name=""/>
        <dsp:cNvSpPr/>
      </dsp:nvSpPr>
      <dsp:spPr>
        <a:xfrm>
          <a:off x="5779756" y="2077786"/>
          <a:ext cx="799420" cy="688806"/>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1DC3A1-CAFE-440E-B279-3BBD63C7E168}">
      <dsp:nvSpPr>
        <dsp:cNvPr id="0" name=""/>
        <dsp:cNvSpPr/>
      </dsp:nvSpPr>
      <dsp:spPr>
        <a:xfrm>
          <a:off x="5307595" y="923920"/>
          <a:ext cx="1736348" cy="1502145"/>
        </a:xfrm>
        <a:prstGeom prst="hexagon">
          <a:avLst>
            <a:gd name="adj" fmla="val 28570"/>
            <a:gd name="vf" fmla="val 11547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err="1"/>
            <a:t>မိသားစု</a:t>
          </a:r>
          <a:endParaRPr lang="en-US" sz="1600" kern="1200" dirty="0"/>
        </a:p>
      </dsp:txBody>
      <dsp:txXfrm>
        <a:off x="5595345" y="1172858"/>
        <a:ext cx="1160848" cy="1004269"/>
      </dsp:txXfrm>
    </dsp:sp>
    <dsp:sp modelId="{2517D9F3-73C9-490F-B3C3-6D690781BAE1}">
      <dsp:nvSpPr>
        <dsp:cNvPr id="0" name=""/>
        <dsp:cNvSpPr/>
      </dsp:nvSpPr>
      <dsp:spPr>
        <a:xfrm>
          <a:off x="5131644" y="3531358"/>
          <a:ext cx="799420" cy="688806"/>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ED901B-BF0A-4DE4-8CE3-6D8F9469F4D2}">
      <dsp:nvSpPr>
        <dsp:cNvPr id="0" name=""/>
        <dsp:cNvSpPr/>
      </dsp:nvSpPr>
      <dsp:spPr>
        <a:xfrm>
          <a:off x="5307595" y="2740239"/>
          <a:ext cx="1736348" cy="1502145"/>
        </a:xfrm>
        <a:prstGeom prst="hexagon">
          <a:avLst>
            <a:gd name="adj" fmla="val 28570"/>
            <a:gd name="vf" fmla="val 11547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err="1"/>
            <a:t>ငွေကြေး</a:t>
          </a:r>
          <a:endParaRPr lang="en-US" sz="1600" kern="1200" dirty="0"/>
        </a:p>
      </dsp:txBody>
      <dsp:txXfrm>
        <a:off x="5595345" y="2989177"/>
        <a:ext cx="1160848" cy="1004269"/>
      </dsp:txXfrm>
    </dsp:sp>
    <dsp:sp modelId="{3ADC3158-D8EF-479F-98DD-BA0F71F6E4B6}">
      <dsp:nvSpPr>
        <dsp:cNvPr id="0" name=""/>
        <dsp:cNvSpPr/>
      </dsp:nvSpPr>
      <dsp:spPr>
        <a:xfrm>
          <a:off x="3523932" y="3682245"/>
          <a:ext cx="799420" cy="688806"/>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768BC0-43ED-484E-9358-110353A9CBC3}">
      <dsp:nvSpPr>
        <dsp:cNvPr id="0" name=""/>
        <dsp:cNvSpPr/>
      </dsp:nvSpPr>
      <dsp:spPr>
        <a:xfrm>
          <a:off x="3715162" y="3665192"/>
          <a:ext cx="1736348" cy="1502145"/>
        </a:xfrm>
        <a:prstGeom prst="hexagon">
          <a:avLst>
            <a:gd name="adj" fmla="val 28570"/>
            <a:gd name="vf" fmla="val 1154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err="1"/>
            <a:t>ပညာရေး</a:t>
          </a:r>
          <a:endParaRPr lang="en-US" sz="1600" kern="1200" dirty="0"/>
        </a:p>
      </dsp:txBody>
      <dsp:txXfrm>
        <a:off x="4002912" y="3914130"/>
        <a:ext cx="1160848" cy="1004269"/>
      </dsp:txXfrm>
    </dsp:sp>
    <dsp:sp modelId="{4E42754B-5B9E-495D-903B-5D6B1A8D07CE}">
      <dsp:nvSpPr>
        <dsp:cNvPr id="0" name=""/>
        <dsp:cNvSpPr/>
      </dsp:nvSpPr>
      <dsp:spPr>
        <a:xfrm>
          <a:off x="2575668" y="2395061"/>
          <a:ext cx="799420" cy="688806"/>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2265BA-02EF-472F-B80B-540181AB021E}">
      <dsp:nvSpPr>
        <dsp:cNvPr id="0" name=""/>
        <dsp:cNvSpPr/>
      </dsp:nvSpPr>
      <dsp:spPr>
        <a:xfrm>
          <a:off x="2115337" y="2741272"/>
          <a:ext cx="1736348" cy="1502145"/>
        </a:xfrm>
        <a:prstGeom prst="hexagon">
          <a:avLst>
            <a:gd name="adj" fmla="val 28570"/>
            <a:gd name="vf" fmla="val 11547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err="1"/>
            <a:t>အလုပ်အကိုင</a:t>
          </a:r>
          <a:r>
            <a:rPr lang="en-US" sz="1600" kern="1200" dirty="0"/>
            <a:t>်</a:t>
          </a:r>
        </a:p>
      </dsp:txBody>
      <dsp:txXfrm>
        <a:off x="2403087" y="2990210"/>
        <a:ext cx="1160848" cy="1004269"/>
      </dsp:txXfrm>
    </dsp:sp>
    <dsp:sp modelId="{40D6DA4C-9D4F-47F1-8A40-20E10E35E144}">
      <dsp:nvSpPr>
        <dsp:cNvPr id="0" name=""/>
        <dsp:cNvSpPr/>
      </dsp:nvSpPr>
      <dsp:spPr>
        <a:xfrm>
          <a:off x="2115337" y="921853"/>
          <a:ext cx="1736348" cy="1502145"/>
        </a:xfrm>
        <a:prstGeom prst="hexagon">
          <a:avLst>
            <a:gd name="adj" fmla="val 28570"/>
            <a:gd name="vf" fmla="val 11547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dirty="0" err="1"/>
            <a:t>အချစ်ရေး</a:t>
          </a:r>
          <a:r>
            <a:rPr lang="en-US" sz="1600" kern="1200" dirty="0"/>
            <a:t>/ </a:t>
          </a:r>
          <a:r>
            <a:rPr lang="en-US" sz="1600" kern="1200" dirty="0" err="1"/>
            <a:t>အိမ်ထောင်ရေး</a:t>
          </a:r>
          <a:endParaRPr lang="en-US" sz="1600" kern="1200" dirty="0"/>
        </a:p>
      </dsp:txBody>
      <dsp:txXfrm>
        <a:off x="2403087" y="1170791"/>
        <a:ext cx="1160848" cy="1004269"/>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E0D6A37-291F-4E46-BB73-3B99CE153558}" type="datetimeFigureOut">
              <a:rPr lang="en-US" smtClean="0"/>
              <a:t>7/25/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B6E366-02D8-9240-8F65-12E2F8F2864D}" type="slidenum">
              <a:rPr lang="en-US" smtClean="0"/>
              <a:t>‹#›</a:t>
            </a:fld>
            <a:endParaRPr lang="en-US"/>
          </a:p>
        </p:txBody>
      </p:sp>
    </p:spTree>
    <p:extLst>
      <p:ext uri="{BB962C8B-B14F-4D97-AF65-F5344CB8AC3E}">
        <p14:creationId xmlns:p14="http://schemas.microsoft.com/office/powerpoint/2010/main" val="27867992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6CCCD24-79A0-1B45-AEA8-F931F4D6188E}" type="datetimeFigureOut">
              <a:rPr lang="en-US" smtClean="0"/>
              <a:t>7/25/202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3FFFF08-BA74-3E4E-B67B-CFCBDE5D9836}" type="slidenum">
              <a:rPr lang="en-US" smtClean="0"/>
              <a:t>‹#›</a:t>
            </a:fld>
            <a:endParaRPr lang="en-US"/>
          </a:p>
        </p:txBody>
      </p:sp>
    </p:spTree>
    <p:extLst>
      <p:ext uri="{BB962C8B-B14F-4D97-AF65-F5344CB8AC3E}">
        <p14:creationId xmlns:p14="http://schemas.microsoft.com/office/powerpoint/2010/main" val="155473884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dirty="0"/>
              <a:t>PFA</a:t>
            </a:r>
            <a:endParaRPr kumimoji="1" lang="ja-JP" altLang="en-US" dirty="0"/>
          </a:p>
        </p:txBody>
      </p:sp>
      <p:sp>
        <p:nvSpPr>
          <p:cNvPr id="4" name="スライド番号プレースホルダー 3"/>
          <p:cNvSpPr>
            <a:spLocks noGrp="1"/>
          </p:cNvSpPr>
          <p:nvPr>
            <p:ph type="sldNum" sz="quarter" idx="10"/>
          </p:nvPr>
        </p:nvSpPr>
        <p:spPr/>
        <p:txBody>
          <a:bodyPr/>
          <a:lstStyle/>
          <a:p>
            <a:fld id="{23FFFF08-BA74-3E4E-B67B-CFCBDE5D9836}" type="slidenum">
              <a:rPr lang="en-US" smtClean="0"/>
              <a:t>2</a:t>
            </a:fld>
            <a:endParaRPr lang="en-US"/>
          </a:p>
        </p:txBody>
      </p:sp>
    </p:spTree>
    <p:extLst>
      <p:ext uri="{BB962C8B-B14F-4D97-AF65-F5344CB8AC3E}">
        <p14:creationId xmlns:p14="http://schemas.microsoft.com/office/powerpoint/2010/main" val="19447380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C36CC4-2514-45B5-9F6D-DA825C5B98B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10309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48650">
              <a:defRPr/>
            </a:pPr>
            <a:r>
              <a:rPr lang="en-US" b="1" dirty="0">
                <a:solidFill>
                  <a:prstClr val="black"/>
                </a:solidFill>
              </a:rPr>
              <a:t>Now let’s look at</a:t>
            </a:r>
            <a:r>
              <a:rPr lang="en-US" b="1" baseline="0" dirty="0">
                <a:solidFill>
                  <a:prstClr val="black"/>
                </a:solidFill>
              </a:rPr>
              <a:t> the different steps in case management, before we consider </a:t>
            </a:r>
            <a:r>
              <a:rPr lang="en-US" b="1" dirty="0">
                <a:solidFill>
                  <a:prstClr val="black"/>
                </a:solidFill>
              </a:rPr>
              <a:t>the role of service</a:t>
            </a:r>
            <a:r>
              <a:rPr lang="en-US" b="1" baseline="0" dirty="0">
                <a:solidFill>
                  <a:prstClr val="black"/>
                </a:solidFill>
              </a:rPr>
              <a:t> providers in case management;  </a:t>
            </a:r>
          </a:p>
          <a:p>
            <a:pPr defTabSz="448650">
              <a:defRPr/>
            </a:pPr>
            <a:endParaRPr lang="en-US" b="1" dirty="0">
              <a:solidFill>
                <a:prstClr val="black"/>
              </a:solidFill>
            </a:endParaRPr>
          </a:p>
          <a:p>
            <a:r>
              <a:rPr lang="en-GB" dirty="0"/>
              <a:t>Show this slide </a:t>
            </a:r>
            <a:r>
              <a:rPr lang="en-GB" baseline="0" dirty="0"/>
              <a:t>:</a:t>
            </a:r>
          </a:p>
          <a:p>
            <a:pPr marL="224325" indent="-224325">
              <a:buFont typeface="+mj-lt"/>
              <a:buAutoNum type="arabicPeriod"/>
            </a:pPr>
            <a:r>
              <a:rPr lang="en-GB" baseline="0" dirty="0"/>
              <a:t>Identification</a:t>
            </a:r>
          </a:p>
          <a:p>
            <a:pPr marL="224325" indent="-224325">
              <a:buFont typeface="+mj-lt"/>
              <a:buAutoNum type="arabicPeriod"/>
            </a:pPr>
            <a:r>
              <a:rPr lang="en-GB" baseline="0" dirty="0"/>
              <a:t>Assessment</a:t>
            </a:r>
          </a:p>
          <a:p>
            <a:pPr marL="224325" indent="-224325">
              <a:buFont typeface="+mj-lt"/>
              <a:buAutoNum type="arabicPeriod"/>
            </a:pPr>
            <a:r>
              <a:rPr lang="en-GB" baseline="0" dirty="0"/>
              <a:t>Case Planning</a:t>
            </a:r>
          </a:p>
          <a:p>
            <a:pPr marL="224325" indent="-224325">
              <a:buFont typeface="+mj-lt"/>
              <a:buAutoNum type="arabicPeriod"/>
            </a:pPr>
            <a:r>
              <a:rPr lang="en-GB" baseline="0" dirty="0"/>
              <a:t>Implementation</a:t>
            </a:r>
          </a:p>
          <a:p>
            <a:pPr marL="224325" indent="-224325">
              <a:buFont typeface="+mj-lt"/>
              <a:buAutoNum type="arabicPeriod"/>
            </a:pPr>
            <a:r>
              <a:rPr lang="en-GB" baseline="0" dirty="0"/>
              <a:t>Review</a:t>
            </a:r>
          </a:p>
          <a:p>
            <a:pPr marL="224325" indent="-224325">
              <a:buFont typeface="+mj-lt"/>
              <a:buAutoNum type="arabicPeriod"/>
            </a:pPr>
            <a:r>
              <a:rPr lang="en-GB" baseline="0" dirty="0"/>
              <a:t>Case Closure</a:t>
            </a:r>
          </a:p>
          <a:p>
            <a:endParaRPr lang="en-GB" dirty="0"/>
          </a:p>
          <a:p>
            <a:r>
              <a:rPr lang="en-GB" dirty="0"/>
              <a:t>We will guide you through</a:t>
            </a:r>
            <a:r>
              <a:rPr lang="en-GB" baseline="0" dirty="0"/>
              <a:t> these different steps, and consider how case management works</a:t>
            </a:r>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13340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Discuss in plenary. If these are identified it is significant</a:t>
            </a:r>
            <a:r>
              <a:rPr kumimoji="1" lang="en-US" altLang="ja-JP" baseline="0" dirty="0"/>
              <a:t> for health workers to safely refer the child by using PFA skills! </a:t>
            </a:r>
            <a:endParaRPr kumimoji="1" lang="ja-JP" altLang="en-US" dirty="0"/>
          </a:p>
        </p:txBody>
      </p:sp>
      <p:sp>
        <p:nvSpPr>
          <p:cNvPr id="4" name="スライド番号プレースホルダー 3"/>
          <p:cNvSpPr>
            <a:spLocks noGrp="1"/>
          </p:cNvSpPr>
          <p:nvPr>
            <p:ph type="sldNum" sz="quarter" idx="10"/>
          </p:nvPr>
        </p:nvSpPr>
        <p:spPr/>
        <p:txBody>
          <a:bodyPr/>
          <a:lstStyle/>
          <a:p>
            <a:fld id="{23FFFF08-BA74-3E4E-B67B-CFCBDE5D9836}" type="slidenum">
              <a:rPr lang="en-US" smtClean="0"/>
              <a:t>38</a:t>
            </a:fld>
            <a:endParaRPr lang="en-US"/>
          </a:p>
        </p:txBody>
      </p:sp>
    </p:spTree>
    <p:extLst>
      <p:ext uri="{BB962C8B-B14F-4D97-AF65-F5344CB8AC3E}">
        <p14:creationId xmlns:p14="http://schemas.microsoft.com/office/powerpoint/2010/main" val="37630019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6445B76-2513-4F79-BF2B-BC82F97450F3}"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1718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If these are identified it is significant</a:t>
            </a:r>
            <a:r>
              <a:rPr kumimoji="1" lang="en-US" altLang="ja-JP" baseline="0" dirty="0"/>
              <a:t> for health workers to safely refer the child by using PFA skills! </a:t>
            </a: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5746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84422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Health workers will</a:t>
            </a:r>
            <a:r>
              <a:rPr kumimoji="1" lang="en-US" altLang="ja-JP" baseline="0" dirty="0"/>
              <a:t> also know why and how it happened – but health workers do not need to ask probing questions – focus on helping the child to receive appropriate support in a safe and timely manner</a:t>
            </a: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687236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48650">
              <a:defRPr/>
            </a:pPr>
            <a:endParaRPr lang="sv-SE" b="1"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9636A0-9D28-4BC5-98A3-88F8207B6F7E}"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25176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48650">
              <a:defRPr/>
            </a:pPr>
            <a:r>
              <a:rPr lang="sv-SE" b="1" baseline="0" dirty="0"/>
              <a:t>Speaker </a:t>
            </a:r>
            <a:r>
              <a:rPr lang="sv-SE" b="1" baseline="0" dirty="0" err="1"/>
              <a:t>notes</a:t>
            </a:r>
            <a:endParaRPr lang="sv-SE" b="1" baseline="0" dirty="0"/>
          </a:p>
          <a:p>
            <a:r>
              <a:rPr lang="en-GB" dirty="0"/>
              <a:t>Explain: What do we mean with ‘informed assent’? </a:t>
            </a:r>
          </a:p>
          <a:p>
            <a:pPr defTabSz="448650">
              <a:defRPr/>
            </a:pPr>
            <a:r>
              <a:rPr lang="en-GB" i="1" dirty="0">
                <a:latin typeface="Gill Sans Infant Std" panose="020B0502020104020203" pitchFamily="34" charset="0"/>
              </a:rPr>
              <a:t>Share content on the slide</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9636A0-9D28-4BC5-98A3-88F8207B6F7E}"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CA"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08977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FFFF08-BA74-3E4E-B67B-CFCBDE5D9836}" type="slidenum">
              <a:rPr lang="en-US" smtClean="0"/>
              <a:t>51</a:t>
            </a:fld>
            <a:endParaRPr lang="en-US"/>
          </a:p>
        </p:txBody>
      </p:sp>
    </p:spTree>
    <p:extLst>
      <p:ext uri="{BB962C8B-B14F-4D97-AF65-F5344CB8AC3E}">
        <p14:creationId xmlns:p14="http://schemas.microsoft.com/office/powerpoint/2010/main" val="2876659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nce self-care associates with being healthy and enhancing wellbeing, let us firstly explore and review about our understandings about health</a:t>
            </a:r>
          </a:p>
        </p:txBody>
      </p:sp>
      <p:sp>
        <p:nvSpPr>
          <p:cNvPr id="4" name="Slide Number Placeholder 3"/>
          <p:cNvSpPr>
            <a:spLocks noGrp="1"/>
          </p:cNvSpPr>
          <p:nvPr>
            <p:ph type="sldNum" sz="quarter" idx="5"/>
          </p:nvPr>
        </p:nvSpPr>
        <p:spPr/>
        <p:txBody>
          <a:bodyPr/>
          <a:lstStyle/>
          <a:p>
            <a:fld id="{BF90108D-5D7E-4268-B087-C6391C62E35E}" type="slidenum">
              <a:rPr lang="en-US" smtClean="0"/>
              <a:t>3</a:t>
            </a:fld>
            <a:endParaRPr lang="en-US"/>
          </a:p>
        </p:txBody>
      </p:sp>
    </p:spTree>
    <p:extLst>
      <p:ext uri="{BB962C8B-B14F-4D97-AF65-F5344CB8AC3E}">
        <p14:creationId xmlns:p14="http://schemas.microsoft.com/office/powerpoint/2010/main" val="853067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26CE726D-7BD9-4DF7-8987-541C1B04875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6803" name="Notes Placeholder 2">
            <a:extLst>
              <a:ext uri="{FF2B5EF4-FFF2-40B4-BE49-F238E27FC236}">
                <a16:creationId xmlns:a16="http://schemas.microsoft.com/office/drawing/2014/main" id="{2CFE28DB-47C7-464B-A780-1E467E0C247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11043390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a:extLst>
              <a:ext uri="{FF2B5EF4-FFF2-40B4-BE49-F238E27FC236}">
                <a16:creationId xmlns:a16="http://schemas.microsoft.com/office/drawing/2014/main" id="{55D1FBB7-1B47-45E9-BCE0-8ACFEC0BDEB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a:extLst>
              <a:ext uri="{FF2B5EF4-FFF2-40B4-BE49-F238E27FC236}">
                <a16:creationId xmlns:a16="http://schemas.microsoft.com/office/drawing/2014/main" id="{552E8E8B-58D1-4F1C-A3A5-A48A300BB4E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41096060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a:extLst>
              <a:ext uri="{FF2B5EF4-FFF2-40B4-BE49-F238E27FC236}">
                <a16:creationId xmlns:a16="http://schemas.microsoft.com/office/drawing/2014/main" id="{B494B9A3-F328-4B25-B688-9391C63CD63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a:extLst>
              <a:ext uri="{FF2B5EF4-FFF2-40B4-BE49-F238E27FC236}">
                <a16:creationId xmlns:a16="http://schemas.microsoft.com/office/drawing/2014/main" id="{131E0E62-8C80-4E3F-93AF-869D0BCAED8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1879747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a:extLst>
              <a:ext uri="{FF2B5EF4-FFF2-40B4-BE49-F238E27FC236}">
                <a16:creationId xmlns:a16="http://schemas.microsoft.com/office/drawing/2014/main" id="{430F7D65-F2D6-428C-B2F0-D61D8D3C72C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a:extLst>
              <a:ext uri="{FF2B5EF4-FFF2-40B4-BE49-F238E27FC236}">
                <a16:creationId xmlns:a16="http://schemas.microsoft.com/office/drawing/2014/main" id="{2C6D7B0F-33EA-43BF-BE5F-6FC8572A92A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61140636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a:extLst>
              <a:ext uri="{FF2B5EF4-FFF2-40B4-BE49-F238E27FC236}">
                <a16:creationId xmlns:a16="http://schemas.microsoft.com/office/drawing/2014/main" id="{BCC60A44-EB7D-4E12-81D3-8400F007D19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a:extLst>
              <a:ext uri="{FF2B5EF4-FFF2-40B4-BE49-F238E27FC236}">
                <a16:creationId xmlns:a16="http://schemas.microsoft.com/office/drawing/2014/main" id="{F9FC03FE-3F37-407A-B74C-55A50FC8032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29946160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a:extLst>
              <a:ext uri="{FF2B5EF4-FFF2-40B4-BE49-F238E27FC236}">
                <a16:creationId xmlns:a16="http://schemas.microsoft.com/office/drawing/2014/main" id="{86B88AE9-AB32-4631-809E-F70F6F4B563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a:extLst>
              <a:ext uri="{FF2B5EF4-FFF2-40B4-BE49-F238E27FC236}">
                <a16:creationId xmlns:a16="http://schemas.microsoft.com/office/drawing/2014/main" id="{E902FD71-7204-4515-8435-FF03079622A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latin typeface="Arial" panose="020B0604020202020204" pitchFamily="34" charset="0"/>
            </a:endParaRPr>
          </a:p>
        </p:txBody>
      </p:sp>
    </p:spTree>
    <p:extLst>
      <p:ext uri="{BB962C8B-B14F-4D97-AF65-F5344CB8AC3E}">
        <p14:creationId xmlns:p14="http://schemas.microsoft.com/office/powerpoint/2010/main" val="3657837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If these are identified it is significant</a:t>
            </a:r>
            <a:r>
              <a:rPr kumimoji="1" lang="en-US" altLang="ja-JP" baseline="0" dirty="0"/>
              <a:t> for health workers to safely refer the child by using PFA skills! </a:t>
            </a: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486984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When</a:t>
            </a:r>
            <a:r>
              <a:rPr kumimoji="1" lang="en-US" altLang="ja-JP" baseline="0" dirty="0"/>
              <a:t> referrals are made as part of case management guiding principles of case management apply!</a:t>
            </a: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6270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71450" indent="-171450">
              <a:buFontTx/>
              <a:buChar char="-"/>
            </a:pPr>
            <a:r>
              <a:rPr kumimoji="1" lang="en-US" altLang="ja-JP" dirty="0"/>
              <a:t>Divid</a:t>
            </a:r>
            <a:r>
              <a:rPr kumimoji="1" lang="en-US" altLang="ja-JP" baseline="0" dirty="0"/>
              <a:t>e into four groups </a:t>
            </a:r>
          </a:p>
          <a:p>
            <a:pPr marL="171450" indent="-171450">
              <a:buFontTx/>
              <a:buChar char="-"/>
            </a:pPr>
            <a:r>
              <a:rPr kumimoji="1" lang="en-US" altLang="ja-JP" baseline="0" dirty="0"/>
              <a:t>Each group will focus on 1) safe for children, 2) timely, 3) gender sensitive and inclusive, 4) keeps confidentiality, and 5) respects the child’s opinions. </a:t>
            </a:r>
          </a:p>
          <a:p>
            <a:pPr marL="171450" indent="-171450">
              <a:buFontTx/>
              <a:buChar char="-"/>
            </a:pPr>
            <a:r>
              <a:rPr kumimoji="1" lang="en-US" altLang="ja-JP" dirty="0"/>
              <a:t>In each group, discuss </a:t>
            </a:r>
          </a:p>
          <a:p>
            <a:pPr marL="628650" lvl="1" indent="-171450">
              <a:buFont typeface="Courier New" panose="02070309020205020404" pitchFamily="49" charset="0"/>
              <a:buChar char="o"/>
            </a:pPr>
            <a:r>
              <a:rPr kumimoji="1" lang="en-US" altLang="ja-JP" dirty="0"/>
              <a:t>What does this mean?</a:t>
            </a:r>
          </a:p>
          <a:p>
            <a:pPr marL="628650" lvl="1" indent="-171450">
              <a:buFont typeface="Courier New" panose="02070309020205020404" pitchFamily="49" charset="0"/>
              <a:buChar char="o"/>
            </a:pPr>
            <a:r>
              <a:rPr kumimoji="1" lang="en-US" altLang="ja-JP" dirty="0"/>
              <a:t>Why does it matter?</a:t>
            </a:r>
          </a:p>
          <a:p>
            <a:pPr marL="628650" lvl="1" indent="-171450">
              <a:buFont typeface="Courier New" panose="02070309020205020404" pitchFamily="49" charset="0"/>
              <a:buChar char="o"/>
            </a:pPr>
            <a:r>
              <a:rPr kumimoji="1" lang="en-US" altLang="ja-JP" dirty="0"/>
              <a:t>What</a:t>
            </a:r>
            <a:r>
              <a:rPr kumimoji="1" lang="en-US" altLang="ja-JP" baseline="0" dirty="0"/>
              <a:t> can we do to take this fully into consideration?</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kumimoji="1" lang="en-US" altLang="ja-JP" dirty="0"/>
              <a:t>All</a:t>
            </a:r>
            <a:r>
              <a:rPr kumimoji="1" lang="en-US" altLang="ja-JP" baseline="0" dirty="0"/>
              <a:t> groups make a presentation and share feedback to each other.</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kumimoji="1" lang="en-US" altLang="ja-JP" baseline="0" dirty="0"/>
              <a:t>The facilitator will give feedback in accordance with the following slides</a:t>
            </a:r>
            <a:r>
              <a:rPr kumimoji="1" lang="en-US" altLang="ja-JP" dirty="0"/>
              <a:t> </a:t>
            </a:r>
          </a:p>
          <a:p>
            <a:pPr marL="457200" lvl="1" indent="0">
              <a:buFont typeface="Courier New" panose="02070309020205020404" pitchFamily="49" charset="0"/>
              <a:buNone/>
            </a:pPr>
            <a:r>
              <a:rPr kumimoji="1" lang="en-US" altLang="ja-JP" baseline="0" dirty="0"/>
              <a:t> </a:t>
            </a:r>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8776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3588" cy="3429000"/>
          </a:xfrm>
        </p:spPr>
      </p:sp>
      <p:sp>
        <p:nvSpPr>
          <p:cNvPr id="3" name="Notes Placeholder 2"/>
          <p:cNvSpPr>
            <a:spLocks noGrp="1"/>
          </p:cNvSpPr>
          <p:nvPr>
            <p:ph type="body" idx="1"/>
          </p:nvPr>
        </p:nvSpPr>
        <p:spPr/>
        <p:txBody>
          <a:bodyPr/>
          <a:lstStyle/>
          <a:p>
            <a:r>
              <a:rPr lang="en-US" dirty="0"/>
              <a:t>NOTE: The term ‘child safeguarding’ is increasing in use worldwide, as it helps to sharpen focus on the actions, policies and guidelines that </a:t>
            </a:r>
            <a:r>
              <a:rPr lang="en-US" dirty="0" err="1"/>
              <a:t>organisations</a:t>
            </a:r>
            <a:r>
              <a:rPr lang="en-US" dirty="0"/>
              <a:t> (NGOs, UN agencies, faith-based institutions, schools, etc.) use to prevent abuse of the children they work with by their own staff and volunteer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5FB2746-9D4D-4BC1-9887-6E8EDB0D44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A22B39B7-D468-4988-BD7E-F3F244727CA7}"/>
              </a:ext>
            </a:extLst>
          </p:cNvPr>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ave the Children GEC Child Safeguarding Training 2018</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Header Placeholder 5">
            <a:extLst>
              <a:ext uri="{FF2B5EF4-FFF2-40B4-BE49-F238E27FC236}">
                <a16:creationId xmlns:a16="http://schemas.microsoft.com/office/drawing/2014/main" id="{8D45124B-7572-4C8A-8468-BFB7F81B8DFF}"/>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6139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E609CFF1-7F8B-4BE0-9B20-7A6A1A6929C9}"/>
              </a:ext>
            </a:extLst>
          </p:cNvPr>
          <p:cNvSpPr>
            <a:spLocks noGrp="1" noRot="1" noChangeAspect="1" noTextEdit="1"/>
          </p:cNvSpPr>
          <p:nvPr>
            <p:ph type="sldImg"/>
          </p:nvPr>
        </p:nvSpPr>
        <p:spPr bwMode="auto">
          <a:xfrm>
            <a:off x="973138" y="765175"/>
            <a:ext cx="5094287" cy="38211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a:extLst>
              <a:ext uri="{FF2B5EF4-FFF2-40B4-BE49-F238E27FC236}">
                <a16:creationId xmlns:a16="http://schemas.microsoft.com/office/drawing/2014/main" id="{5F290D9C-1412-4517-B1D6-30C42B862F97}"/>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kumimoji="1" lang="en-US" altLang="ja-JP">
                <a:latin typeface="Arial" panose="020B0604020202020204" pitchFamily="34" charset="0"/>
              </a:rPr>
              <a:t>[Yuko]</a:t>
            </a:r>
            <a:endParaRPr kumimoji="1" lang="ja-JP" altLang="en-US">
              <a:latin typeface="Arial" panose="020B0604020202020204" pitchFamily="34" charset="0"/>
            </a:endParaRPr>
          </a:p>
          <a:p>
            <a:pPr eaLnBrk="1" hangingPunct="1"/>
            <a:r>
              <a:rPr lang="en-US" altLang="en-US">
                <a:latin typeface="Arial" panose="020B0604020202020204" pitchFamily="34" charset="0"/>
              </a:rPr>
              <a:t>This Ecological model is closely linked to the concept of psychosocial well-being. It emphasizes the importance of interaction between inner (psychological) and outer (social) world. </a:t>
            </a:r>
          </a:p>
          <a:p>
            <a:pPr eaLnBrk="1" hangingPunct="1"/>
            <a:endParaRPr lang="nl-NL" altLang="en-US">
              <a:latin typeface="Arial" panose="020B0604020202020204" pitchFamily="34" charset="0"/>
            </a:endParaRPr>
          </a:p>
          <a:p>
            <a:r>
              <a:rPr lang="en-US" altLang="da-DK" b="1">
                <a:latin typeface="Arial" panose="020B0604020202020204" pitchFamily="34" charset="0"/>
              </a:rPr>
              <a:t>The child</a:t>
            </a:r>
            <a:r>
              <a:rPr lang="en-US" altLang="da-DK">
                <a:latin typeface="Arial" panose="020B0604020202020204" pitchFamily="34" charset="0"/>
              </a:rPr>
              <a:t>: children have their own personality, temperament, talents and limitations. Their development never takes place in isolation. The environment influences children, and they influence their environment.</a:t>
            </a:r>
            <a:endParaRPr lang="da-DK" altLang="da-DK">
              <a:latin typeface="Arial" panose="020B0604020202020204" pitchFamily="34" charset="0"/>
            </a:endParaRPr>
          </a:p>
          <a:p>
            <a:r>
              <a:rPr lang="en-US" altLang="da-DK" b="1">
                <a:latin typeface="Arial" panose="020B0604020202020204" pitchFamily="34" charset="0"/>
              </a:rPr>
              <a:t>The immediate family</a:t>
            </a:r>
            <a:r>
              <a:rPr lang="en-US" altLang="da-DK">
                <a:latin typeface="Arial" panose="020B0604020202020204" pitchFamily="34" charset="0"/>
              </a:rPr>
              <a:t>: the biggest influence on children’s psychosocial development is the interaction with the immediate family (parents, siblings, grandparents visiting regularly) in their daily life. </a:t>
            </a:r>
            <a:endParaRPr lang="da-DK" altLang="da-DK">
              <a:latin typeface="Arial" panose="020B0604020202020204" pitchFamily="34" charset="0"/>
            </a:endParaRPr>
          </a:p>
          <a:p>
            <a:pPr eaLnBrk="1" hangingPunct="1"/>
            <a:r>
              <a:rPr lang="en-GB" altLang="en-US" b="1">
                <a:latin typeface="Arial" panose="020B0604020202020204" pitchFamily="34" charset="0"/>
              </a:rPr>
              <a:t>The extended family and close social networks</a:t>
            </a:r>
            <a:r>
              <a:rPr lang="en-GB" altLang="en-US">
                <a:latin typeface="Arial" panose="020B0604020202020204" pitchFamily="34" charset="0"/>
              </a:rPr>
              <a:t>:</a:t>
            </a:r>
            <a:r>
              <a:rPr lang="en-GB" altLang="en-US" b="1">
                <a:latin typeface="Arial" panose="020B0604020202020204" pitchFamily="34" charset="0"/>
              </a:rPr>
              <a:t> </a:t>
            </a:r>
            <a:r>
              <a:rPr lang="en-GB" altLang="en-US">
                <a:latin typeface="Arial" panose="020B0604020202020204" pitchFamily="34" charset="0"/>
              </a:rPr>
              <a:t>other secondary family members, neighbours, </a:t>
            </a:r>
            <a:r>
              <a:rPr lang="en-GB" altLang="en-US">
                <a:solidFill>
                  <a:srgbClr val="FF0000"/>
                </a:solidFill>
                <a:latin typeface="Arial" panose="020B0604020202020204" pitchFamily="34" charset="0"/>
              </a:rPr>
              <a:t>peers/friends</a:t>
            </a:r>
            <a:r>
              <a:rPr lang="en-GB" altLang="en-US">
                <a:latin typeface="Arial" panose="020B0604020202020204" pitchFamily="34" charset="0"/>
              </a:rPr>
              <a:t>, cultural groups and </a:t>
            </a:r>
            <a:r>
              <a:rPr lang="en-GB" altLang="en-US">
                <a:solidFill>
                  <a:srgbClr val="FF0000"/>
                </a:solidFill>
                <a:latin typeface="Arial" panose="020B0604020202020204" pitchFamily="34" charset="0"/>
              </a:rPr>
              <a:t>other adults </a:t>
            </a:r>
            <a:r>
              <a:rPr lang="en-GB" altLang="en-US">
                <a:latin typeface="Arial" panose="020B0604020202020204" pitchFamily="34" charset="0"/>
              </a:rPr>
              <a:t>interacting with children.</a:t>
            </a:r>
            <a:endParaRPr lang="nl-NL" altLang="en-US">
              <a:latin typeface="Arial" panose="020B0604020202020204" pitchFamily="34" charset="0"/>
            </a:endParaRPr>
          </a:p>
          <a:p>
            <a:pPr eaLnBrk="1" hangingPunct="1"/>
            <a:r>
              <a:rPr lang="en-GB" altLang="en-US" b="1">
                <a:latin typeface="Arial" panose="020B0604020202020204" pitchFamily="34" charset="0"/>
              </a:rPr>
              <a:t>Community support: </a:t>
            </a:r>
            <a:r>
              <a:rPr lang="en-GB" altLang="en-US">
                <a:latin typeface="Arial" panose="020B0604020202020204" pitchFamily="34" charset="0"/>
              </a:rPr>
              <a:t>the </a:t>
            </a:r>
            <a:r>
              <a:rPr lang="en-GB" altLang="en-US">
                <a:solidFill>
                  <a:srgbClr val="FF0000"/>
                </a:solidFill>
                <a:latin typeface="Arial" panose="020B0604020202020204" pitchFamily="34" charset="0"/>
              </a:rPr>
              <a:t>community </a:t>
            </a:r>
            <a:r>
              <a:rPr lang="en-GB" altLang="en-US">
                <a:latin typeface="Arial" panose="020B0604020202020204" pitchFamily="34" charset="0"/>
              </a:rPr>
              <a:t>including school, playgrounds, parks, child social and health services, employment opportunities and municipality decisions and services.</a:t>
            </a:r>
            <a:endParaRPr lang="nl-NL" altLang="en-US">
              <a:latin typeface="Arial" panose="020B0604020202020204" pitchFamily="34" charset="0"/>
            </a:endParaRPr>
          </a:p>
          <a:p>
            <a:pPr eaLnBrk="1" hangingPunct="1"/>
            <a:r>
              <a:rPr lang="en-GB" altLang="en-US" b="1">
                <a:latin typeface="Arial" panose="020B0604020202020204" pitchFamily="34" charset="0"/>
              </a:rPr>
              <a:t>Society</a:t>
            </a:r>
            <a:r>
              <a:rPr lang="en-GB" altLang="en-US">
                <a:latin typeface="Arial" panose="020B0604020202020204" pitchFamily="34" charset="0"/>
              </a:rPr>
              <a:t>: </a:t>
            </a:r>
            <a:r>
              <a:rPr lang="en-GB" altLang="en-US">
                <a:solidFill>
                  <a:srgbClr val="FF0000"/>
                </a:solidFill>
                <a:latin typeface="Arial" panose="020B0604020202020204" pitchFamily="34" charset="0"/>
              </a:rPr>
              <a:t>society </a:t>
            </a:r>
            <a:r>
              <a:rPr lang="en-GB" altLang="en-US">
                <a:latin typeface="Arial" panose="020B0604020202020204" pitchFamily="34" charset="0"/>
              </a:rPr>
              <a:t>involves the broader economic, political, cultural and social context, including big events like financial crisis, conflict, poverty as well as the legal frameworks, policies etc. (enabling systems). </a:t>
            </a:r>
            <a:endParaRPr lang="nl-NL" altLang="en-US">
              <a:latin typeface="Arial" panose="020B0604020202020204" pitchFamily="34" charset="0"/>
            </a:endParaRPr>
          </a:p>
          <a:p>
            <a:pPr eaLnBrk="1" hangingPunct="1"/>
            <a:endParaRPr lang="nl-NL" altLang="en-US">
              <a:latin typeface="Arial" panose="020B0604020202020204" pitchFamily="34" charset="0"/>
            </a:endParaRPr>
          </a:p>
          <a:p>
            <a:endParaRPr lang="en-US" altLang="en-US">
              <a:latin typeface="Arial" panose="020B0604020202020204" pitchFamily="34" charset="0"/>
            </a:endParaRPr>
          </a:p>
        </p:txBody>
      </p:sp>
      <p:sp>
        <p:nvSpPr>
          <p:cNvPr id="45060" name="Slide Number Placeholder 3">
            <a:extLst>
              <a:ext uri="{FF2B5EF4-FFF2-40B4-BE49-F238E27FC236}">
                <a16:creationId xmlns:a16="http://schemas.microsoft.com/office/drawing/2014/main" id="{D69ED58C-9B5D-416E-B920-B62B8AEA4D10}"/>
              </a:ext>
            </a:extLst>
          </p:cNvPr>
          <p:cNvSpPr>
            <a:spLocks noGrp="1" noChangeArrowheads="1"/>
          </p:cNvSpPr>
          <p:nvPr>
            <p:ph type="sldNum" sz="quarter" idx="5"/>
          </p:nvPr>
        </p:nvSpPr>
        <p:spPr bwMode="auto">
          <a:xfrm>
            <a:off x="0" y="0"/>
            <a:ext cx="0" cy="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ill Sans MT" panose="020B0502020104020203" pitchFamily="34" charset="0"/>
                <a:cs typeface="Arial" panose="020B0604020202020204" pitchFamily="34" charset="0"/>
              </a:defRPr>
            </a:lvl1pPr>
            <a:lvl2pPr marL="765175" indent="-293688">
              <a:defRPr>
                <a:solidFill>
                  <a:schemeClr val="tx1"/>
                </a:solidFill>
                <a:latin typeface="Gill Sans MT" panose="020B0502020104020203" pitchFamily="34" charset="0"/>
                <a:cs typeface="Arial" panose="020B0604020202020204" pitchFamily="34" charset="0"/>
              </a:defRPr>
            </a:lvl2pPr>
            <a:lvl3pPr marL="1176338" indent="-234950">
              <a:defRPr>
                <a:solidFill>
                  <a:schemeClr val="tx1"/>
                </a:solidFill>
                <a:latin typeface="Gill Sans MT" panose="020B0502020104020203" pitchFamily="34" charset="0"/>
                <a:cs typeface="Arial" panose="020B0604020202020204" pitchFamily="34" charset="0"/>
              </a:defRPr>
            </a:lvl3pPr>
            <a:lvl4pPr marL="1647825" indent="-234950">
              <a:defRPr>
                <a:solidFill>
                  <a:schemeClr val="tx1"/>
                </a:solidFill>
                <a:latin typeface="Gill Sans MT" panose="020B0502020104020203" pitchFamily="34" charset="0"/>
                <a:cs typeface="Arial" panose="020B0604020202020204" pitchFamily="34" charset="0"/>
              </a:defRPr>
            </a:lvl4pPr>
            <a:lvl5pPr marL="2119313" indent="-234950">
              <a:defRPr>
                <a:solidFill>
                  <a:schemeClr val="tx1"/>
                </a:solidFill>
                <a:latin typeface="Gill Sans MT" panose="020B0502020104020203" pitchFamily="34" charset="0"/>
                <a:cs typeface="Arial" panose="020B0604020202020204" pitchFamily="34" charset="0"/>
              </a:defRPr>
            </a:lvl5pPr>
            <a:lvl6pPr marL="2576513" indent="-23495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3033713" indent="-23495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90913" indent="-23495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948113" indent="-23495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29A2FFA-7904-405B-ABF3-D5D2F1605C44}" type="slidenum">
              <a:rPr kumimoji="0" lang="en-AU" altLang="en-US" sz="1200" b="0" i="0" u="none" strike="noStrike" kern="1200" cap="none" spc="0" normalizeH="0" baseline="0" noProof="0">
                <a:ln>
                  <a:noFill/>
                </a:ln>
                <a:solidFill>
                  <a:srgbClr val="000000"/>
                </a:solidFill>
                <a:effectLst/>
                <a:uLnTx/>
                <a:uFillTx/>
                <a:latin typeface="Arial" panose="020B0604020202020204" pitchFamily="34" charset="0"/>
                <a:ea typeface="SimHei" panose="02010609060101010101" pitchFamily="49" charset="-122"/>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AU" altLang="en-US" sz="1200" b="0" i="0" u="none" strike="noStrike" kern="1200" cap="none" spc="0" normalizeH="0" baseline="0" noProof="0">
              <a:ln>
                <a:noFill/>
              </a:ln>
              <a:solidFill>
                <a:srgbClr val="000000"/>
              </a:solidFill>
              <a:effectLst/>
              <a:uLnTx/>
              <a:uFillTx/>
              <a:latin typeface="Arial" panose="020B0604020202020204" pitchFamily="34" charset="0"/>
              <a:ea typeface="SimHei" panose="02010609060101010101" pitchFamily="49" charset="-122"/>
              <a:cs typeface="Arial" panose="020B060402020202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3588" cy="3429000"/>
          </a:xfrm>
        </p:spPr>
      </p:sp>
      <p:sp>
        <p:nvSpPr>
          <p:cNvPr id="3" name="Notes Placeholder 2"/>
          <p:cNvSpPr>
            <a:spLocks noGrp="1"/>
          </p:cNvSpPr>
          <p:nvPr>
            <p:ph type="body" idx="1"/>
          </p:nvPr>
        </p:nvSpPr>
        <p:spPr/>
        <p:txBody>
          <a:bodyPr/>
          <a:lstStyle/>
          <a:p>
            <a:r>
              <a:rPr lang="en-AU" dirty="0"/>
              <a:t>ASK - if anyone has seen the SCI definition</a:t>
            </a:r>
            <a:r>
              <a:rPr lang="en-AU" baseline="0" dirty="0"/>
              <a:t> of child safeguarding?</a:t>
            </a:r>
          </a:p>
          <a:p>
            <a:endParaRPr lang="en-AU" baseline="0" dirty="0"/>
          </a:p>
          <a:p>
            <a:r>
              <a:rPr lang="en-AU" dirty="0"/>
              <a:t>Go through the slide.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86D49B9-F09A-448F-B608-24956F4C3E2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4084FEA9-5BF4-456F-8D0A-2DE06B10C7B3}"/>
              </a:ext>
            </a:extLst>
          </p:cNvPr>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ave the Children GEC Child Safeguarding Training 2018</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Header Placeholder 5">
            <a:extLst>
              <a:ext uri="{FF2B5EF4-FFF2-40B4-BE49-F238E27FC236}">
                <a16:creationId xmlns:a16="http://schemas.microsoft.com/office/drawing/2014/main" id="{00163915-A3F4-40B1-B6F0-BF2418954EE7}"/>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25001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3588"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We differentiate between child safeguarding</a:t>
            </a:r>
            <a:r>
              <a:rPr lang="en-US" sz="1200" baseline="0" dirty="0"/>
              <a:t> (internal facing) and </a:t>
            </a:r>
            <a:r>
              <a:rPr lang="en-US" sz="1200" dirty="0"/>
              <a:t>Child Protection (external, community facing)</a:t>
            </a:r>
            <a:r>
              <a:rPr lang="en-US" sz="1200" baseline="0" dirty="0"/>
              <a:t> </a:t>
            </a:r>
            <a:r>
              <a:rPr lang="en-US" sz="1200" dirty="0"/>
              <a:t>work.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5FB2746-9D4D-4BC1-9887-6E8EDB0D448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a:extLst>
              <a:ext uri="{FF2B5EF4-FFF2-40B4-BE49-F238E27FC236}">
                <a16:creationId xmlns:a16="http://schemas.microsoft.com/office/drawing/2014/main" id="{D6684B92-0E63-4152-9006-87595451D035}"/>
              </a:ext>
            </a:extLst>
          </p:cNvPr>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ave the Children GEC Child Safeguarding Training 2018</a:t>
            </a: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Header Placeholder 5">
            <a:extLst>
              <a:ext uri="{FF2B5EF4-FFF2-40B4-BE49-F238E27FC236}">
                <a16:creationId xmlns:a16="http://schemas.microsoft.com/office/drawing/2014/main" id="{AC708E1F-A122-4D97-90D4-5997BDB4ACB0}"/>
              </a:ext>
            </a:extLst>
          </p:cNvPr>
          <p:cNvSpPr>
            <a:spLocks noGrp="1"/>
          </p:cNvSpPr>
          <p:nvPr>
            <p:ph type="hdr" sz="quarter"/>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8539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en-GB" dirty="0"/>
              <a:t>Please emphasize the rules.</a:t>
            </a:r>
          </a:p>
          <a:p>
            <a:r>
              <a:rPr lang="en-GB" dirty="0"/>
              <a:t>Explain that these rules apply </a:t>
            </a:r>
            <a:r>
              <a:rPr lang="en-GB" b="1" dirty="0"/>
              <a:t>24/7: both in your professional and private life</a:t>
            </a:r>
          </a:p>
          <a:p>
            <a:pPr>
              <a:defRPr/>
            </a:pPr>
            <a:r>
              <a:rPr lang="en-GB" sz="1200" b="0" dirty="0">
                <a:latin typeface="Calibri" panose="020F0502020204030204" pitchFamily="34" charset="0"/>
                <a:ea typeface="Times New Roman" panose="02020603050405020304" pitchFamily="18" charset="0"/>
                <a:cs typeface="Calibri" panose="020F0502020204030204" pitchFamily="34" charset="0"/>
              </a:rPr>
              <a:t> </a:t>
            </a:r>
          </a:p>
          <a:p>
            <a:pPr marL="285750" indent="-285750">
              <a:buFont typeface="Calibri" panose="020F0502020204030204" pitchFamily="34" charset="0"/>
              <a:buChar char="X"/>
              <a:defRPr/>
            </a:pPr>
            <a:r>
              <a:rPr lang="en-GB" sz="1200" b="0" dirty="0">
                <a:latin typeface="Calibri" panose="020F0502020204030204" pitchFamily="34" charset="0"/>
                <a:ea typeface="Times New Roman" panose="02020603050405020304" pitchFamily="18" charset="0"/>
                <a:cs typeface="Calibri" panose="020F0502020204030204" pitchFamily="34" charset="0"/>
              </a:rPr>
              <a:t>Hit, smack or otherwise physically assault or physically</a:t>
            </a:r>
            <a:r>
              <a:rPr lang="en-GB" sz="1200" b="0" dirty="0">
                <a:solidFill>
                  <a:srgbClr val="FF0000"/>
                </a:solidFill>
                <a:latin typeface="Calibri" panose="020F0502020204030204" pitchFamily="34" charset="0"/>
                <a:ea typeface="Times New Roman" panose="02020603050405020304" pitchFamily="18" charset="0"/>
                <a:cs typeface="Calibri" panose="020F0502020204030204" pitchFamily="34" charset="0"/>
              </a:rPr>
              <a:t> </a:t>
            </a:r>
            <a:r>
              <a:rPr lang="en-GB" sz="1200" dirty="0">
                <a:solidFill>
                  <a:srgbClr val="FF0000"/>
                </a:solidFill>
                <a:latin typeface="Calibri" panose="020F0502020204030204" pitchFamily="34" charset="0"/>
                <a:ea typeface="Times New Roman" panose="02020603050405020304" pitchFamily="18" charset="0"/>
                <a:cs typeface="Calibri" panose="020F0502020204030204" pitchFamily="34" charset="0"/>
              </a:rPr>
              <a:t>abuse </a:t>
            </a:r>
            <a:r>
              <a:rPr lang="en-GB" sz="1200" b="0" dirty="0">
                <a:latin typeface="Calibri" panose="020F0502020204030204" pitchFamily="34" charset="0"/>
                <a:ea typeface="Times New Roman" panose="02020603050405020304" pitchFamily="18" charset="0"/>
                <a:cs typeface="Calibri" panose="020F0502020204030204" pitchFamily="34" charset="0"/>
              </a:rPr>
              <a:t>children. </a:t>
            </a:r>
          </a:p>
          <a:p>
            <a:pPr marL="285750" indent="-285750">
              <a:buFont typeface="Calibri" panose="020F0502020204030204" pitchFamily="34" charset="0"/>
              <a:buChar char="X"/>
              <a:tabLst>
                <a:tab pos="914400" algn="l"/>
              </a:tabLst>
              <a:defRPr/>
            </a:pPr>
            <a:r>
              <a:rPr lang="en-GB" sz="1200" b="0" dirty="0">
                <a:latin typeface="Calibri" panose="020F0502020204030204" pitchFamily="34" charset="0"/>
                <a:ea typeface="Times New Roman" panose="02020603050405020304" pitchFamily="18" charset="0"/>
                <a:cs typeface="Calibri" panose="020F0502020204030204" pitchFamily="34" charset="0"/>
              </a:rPr>
              <a:t>Engage in </a:t>
            </a:r>
            <a:r>
              <a:rPr lang="en-GB" sz="1200" dirty="0">
                <a:solidFill>
                  <a:srgbClr val="FF0000"/>
                </a:solidFill>
                <a:latin typeface="Calibri" panose="020F0502020204030204" pitchFamily="34" charset="0"/>
                <a:ea typeface="Times New Roman" panose="02020603050405020304" pitchFamily="18" charset="0"/>
                <a:cs typeface="Calibri" panose="020F0502020204030204" pitchFamily="34" charset="0"/>
              </a:rPr>
              <a:t>sexual activity </a:t>
            </a:r>
            <a:r>
              <a:rPr lang="en-GB" sz="1200" b="0" dirty="0">
                <a:latin typeface="Calibri" panose="020F0502020204030204" pitchFamily="34" charset="0"/>
                <a:ea typeface="Times New Roman" panose="02020603050405020304" pitchFamily="18" charset="0"/>
                <a:cs typeface="Calibri" panose="020F0502020204030204" pitchFamily="34" charset="0"/>
              </a:rPr>
              <a:t>or have a sexual relationship with anyone under the age of 18 years. Mistaken belief in the age of the child is not a defence. </a:t>
            </a:r>
          </a:p>
          <a:p>
            <a:pPr marL="285750" indent="-285750">
              <a:buFont typeface="Calibri" panose="020F0502020204030204" pitchFamily="34" charset="0"/>
              <a:buChar char="X"/>
              <a:tabLst>
                <a:tab pos="914400" algn="l"/>
              </a:tabLst>
              <a:defRPr/>
            </a:pPr>
            <a:r>
              <a:rPr lang="en-GB" sz="1200" b="0" dirty="0">
                <a:latin typeface="Calibri" panose="020F0502020204030204" pitchFamily="34" charset="0"/>
                <a:ea typeface="Times New Roman" panose="02020603050405020304" pitchFamily="18" charset="0"/>
                <a:cs typeface="Calibri" panose="020F0502020204030204" pitchFamily="34" charset="0"/>
              </a:rPr>
              <a:t>Develop relationships with children or adults that are </a:t>
            </a:r>
            <a:r>
              <a:rPr lang="en-GB" sz="1200" dirty="0">
                <a:solidFill>
                  <a:srgbClr val="FF0000"/>
                </a:solidFill>
                <a:latin typeface="Calibri" panose="020F0502020204030204" pitchFamily="34" charset="0"/>
                <a:ea typeface="Times New Roman" panose="02020603050405020304" pitchFamily="18" charset="0"/>
                <a:cs typeface="Calibri" panose="020F0502020204030204" pitchFamily="34" charset="0"/>
              </a:rPr>
              <a:t>exploitative</a:t>
            </a:r>
            <a:r>
              <a:rPr lang="en-GB" sz="1200" b="0" dirty="0">
                <a:solidFill>
                  <a:srgbClr val="FF0000"/>
                </a:solidFill>
                <a:latin typeface="Calibri" panose="020F0502020204030204" pitchFamily="34" charset="0"/>
                <a:ea typeface="Times New Roman" panose="02020603050405020304" pitchFamily="18" charset="0"/>
                <a:cs typeface="Calibri" panose="020F0502020204030204" pitchFamily="34" charset="0"/>
              </a:rPr>
              <a:t> </a:t>
            </a:r>
            <a:r>
              <a:rPr lang="en-GB" sz="1200" b="0" dirty="0">
                <a:latin typeface="Calibri" panose="020F0502020204030204" pitchFamily="34" charset="0"/>
                <a:ea typeface="Times New Roman" panose="02020603050405020304" pitchFamily="18" charset="0"/>
                <a:cs typeface="Calibri" panose="020F0502020204030204" pitchFamily="34" charset="0"/>
              </a:rPr>
              <a:t>or abusive in any way.</a:t>
            </a:r>
          </a:p>
          <a:p>
            <a:pPr marL="285750" indent="-285750">
              <a:buFont typeface="Calibri" panose="020F0502020204030204" pitchFamily="34" charset="0"/>
              <a:buChar char="X"/>
              <a:tabLst>
                <a:tab pos="914400" algn="l"/>
              </a:tabLst>
              <a:defRPr/>
            </a:pPr>
            <a:r>
              <a:rPr lang="en-GB" sz="1200" b="0" dirty="0">
                <a:latin typeface="Calibri" panose="020F0502020204030204" pitchFamily="34" charset="0"/>
                <a:ea typeface="Times New Roman" panose="02020603050405020304" pitchFamily="18" charset="0"/>
                <a:cs typeface="Calibri" panose="020F0502020204030204" pitchFamily="34" charset="0"/>
              </a:rPr>
              <a:t>Use language or act in ways that may be seen as sexual, inappropriate or  abusive in any way.</a:t>
            </a:r>
          </a:p>
          <a:p>
            <a:pPr marL="285750" indent="-285750">
              <a:buFont typeface="Calibri" panose="020F0502020204030204" pitchFamily="34" charset="0"/>
              <a:buChar char="X"/>
              <a:tabLst>
                <a:tab pos="914400" algn="l"/>
              </a:tabLst>
              <a:defRPr/>
            </a:pPr>
            <a:r>
              <a:rPr lang="en-GB" sz="1200" b="0" dirty="0">
                <a:latin typeface="Calibri" panose="020F0502020204030204" pitchFamily="34" charset="0"/>
                <a:ea typeface="Times New Roman" panose="02020603050405020304" pitchFamily="18" charset="0"/>
                <a:cs typeface="Calibri" panose="020F0502020204030204" pitchFamily="34" charset="0"/>
              </a:rPr>
              <a:t>Have a child/children with whom we are working to </a:t>
            </a:r>
            <a:r>
              <a:rPr lang="en-GB" sz="1200" dirty="0">
                <a:solidFill>
                  <a:srgbClr val="FF0000"/>
                </a:solidFill>
                <a:latin typeface="Calibri" panose="020F0502020204030204" pitchFamily="34" charset="0"/>
                <a:ea typeface="Times New Roman" panose="02020603050405020304" pitchFamily="18" charset="0"/>
                <a:cs typeface="Calibri" panose="020F0502020204030204" pitchFamily="34" charset="0"/>
              </a:rPr>
              <a:t>stay overnight </a:t>
            </a:r>
            <a:r>
              <a:rPr lang="en-GB" sz="1200" b="0" dirty="0">
                <a:latin typeface="Calibri" panose="020F0502020204030204" pitchFamily="34" charset="0"/>
                <a:ea typeface="Times New Roman" panose="02020603050405020304" pitchFamily="18" charset="0"/>
                <a:cs typeface="Calibri" panose="020F0502020204030204" pitchFamily="34" charset="0"/>
              </a:rPr>
              <a:t>at your home unsupervised. </a:t>
            </a:r>
          </a:p>
          <a:p>
            <a:pPr marL="285750" indent="-285750">
              <a:buFont typeface="Calibri" panose="020F0502020204030204" pitchFamily="34" charset="0"/>
              <a:buChar char="X"/>
              <a:tabLst>
                <a:tab pos="914400" algn="l"/>
              </a:tabLst>
              <a:defRPr/>
            </a:pPr>
            <a:r>
              <a:rPr lang="en-GB" sz="1200" dirty="0">
                <a:solidFill>
                  <a:srgbClr val="FF0000"/>
                </a:solidFill>
                <a:latin typeface="Calibri" panose="020F0502020204030204" pitchFamily="34" charset="0"/>
                <a:ea typeface="Times New Roman" panose="02020603050405020304" pitchFamily="18" charset="0"/>
                <a:cs typeface="Calibri" panose="020F0502020204030204" pitchFamily="34" charset="0"/>
              </a:rPr>
              <a:t>Sleep in the same bed or room</a:t>
            </a:r>
            <a:r>
              <a:rPr lang="en-GB" sz="1200" b="0" dirty="0">
                <a:solidFill>
                  <a:srgbClr val="FF0000"/>
                </a:solidFill>
                <a:latin typeface="Calibri" panose="020F0502020204030204" pitchFamily="34" charset="0"/>
                <a:ea typeface="Times New Roman" panose="02020603050405020304" pitchFamily="18" charset="0"/>
                <a:cs typeface="Calibri" panose="020F0502020204030204" pitchFamily="34" charset="0"/>
              </a:rPr>
              <a:t> </a:t>
            </a:r>
            <a:r>
              <a:rPr lang="en-GB" sz="1200" b="0" dirty="0">
                <a:latin typeface="Calibri" panose="020F0502020204030204" pitchFamily="34" charset="0"/>
                <a:ea typeface="Times New Roman" panose="02020603050405020304" pitchFamily="18" charset="0"/>
                <a:cs typeface="Calibri" panose="020F0502020204030204" pitchFamily="34" charset="0"/>
              </a:rPr>
              <a:t>as a child with whom we are working.</a:t>
            </a:r>
          </a:p>
          <a:p>
            <a:pPr marL="285750" indent="-285750">
              <a:buFont typeface="Calibri" panose="020F0502020204030204" pitchFamily="34" charset="0"/>
              <a:buChar char="X"/>
              <a:tabLst>
                <a:tab pos="914400" algn="l"/>
              </a:tabLst>
              <a:defRPr/>
            </a:pPr>
            <a:r>
              <a:rPr lang="en-GB" altLang="en-US" sz="1200" b="0" dirty="0">
                <a:latin typeface="Calibri" panose="020F0502020204030204" pitchFamily="34" charset="0"/>
                <a:ea typeface="Times New Roman" panose="02020603050405020304" pitchFamily="18" charset="0"/>
                <a:cs typeface="Calibri" panose="020F0502020204030204" pitchFamily="34" charset="0"/>
              </a:rPr>
              <a:t>Condone, or participate in, behaviour which is </a:t>
            </a:r>
            <a:r>
              <a:rPr lang="en-GB" altLang="en-US" sz="1200" dirty="0">
                <a:solidFill>
                  <a:srgbClr val="FF0000"/>
                </a:solidFill>
                <a:latin typeface="Calibri" panose="020F0502020204030204" pitchFamily="34" charset="0"/>
                <a:ea typeface="Times New Roman" panose="02020603050405020304" pitchFamily="18" charset="0"/>
                <a:cs typeface="Calibri" panose="020F0502020204030204" pitchFamily="34" charset="0"/>
              </a:rPr>
              <a:t>illegal</a:t>
            </a:r>
            <a:r>
              <a:rPr lang="en-GB" altLang="en-US" sz="1200" dirty="0">
                <a:latin typeface="Calibri" panose="020F0502020204030204" pitchFamily="34" charset="0"/>
                <a:ea typeface="Times New Roman" panose="02020603050405020304" pitchFamily="18" charset="0"/>
                <a:cs typeface="Calibri" panose="020F0502020204030204" pitchFamily="34" charset="0"/>
              </a:rPr>
              <a:t>, </a:t>
            </a:r>
            <a:r>
              <a:rPr lang="en-GB" altLang="en-US" sz="1200" b="0" dirty="0">
                <a:latin typeface="Calibri" panose="020F0502020204030204" pitchFamily="34" charset="0"/>
                <a:ea typeface="Times New Roman" panose="02020603050405020304" pitchFamily="18" charset="0"/>
                <a:cs typeface="Calibri" panose="020F0502020204030204" pitchFamily="34" charset="0"/>
              </a:rPr>
              <a:t>unsafe or abusive. </a:t>
            </a:r>
          </a:p>
          <a:p>
            <a:pPr marL="285750" indent="-285750">
              <a:buFont typeface="Calibri" panose="020F0502020204030204" pitchFamily="34" charset="0"/>
              <a:buChar char="X"/>
              <a:tabLst>
                <a:tab pos="914400" algn="l"/>
              </a:tabLst>
              <a:defRPr/>
            </a:pPr>
            <a:r>
              <a:rPr lang="en-GB" altLang="en-US" sz="1200" b="0" dirty="0">
                <a:latin typeface="Calibri" panose="020F0502020204030204" pitchFamily="34" charset="0"/>
                <a:ea typeface="Times New Roman" panose="02020603050405020304" pitchFamily="18" charset="0"/>
                <a:cs typeface="Calibri" panose="020F0502020204030204" pitchFamily="34" charset="0"/>
              </a:rPr>
              <a:t>Contact the child you work with,  in a non-work related setting – for example, send Messenger and </a:t>
            </a:r>
            <a:r>
              <a:rPr lang="en-GB" altLang="en-US" sz="1200" b="0" dirty="0" err="1">
                <a:latin typeface="Calibri" panose="020F0502020204030204" pitchFamily="34" charset="0"/>
                <a:ea typeface="Times New Roman" panose="02020603050405020304" pitchFamily="18" charset="0"/>
                <a:cs typeface="Calibri" panose="020F0502020204030204" pitchFamily="34" charset="0"/>
              </a:rPr>
              <a:t>viber</a:t>
            </a:r>
            <a:r>
              <a:rPr lang="en-GB" altLang="en-US" sz="1200" b="0" dirty="0">
                <a:latin typeface="Calibri" panose="020F0502020204030204" pitchFamily="34" charset="0"/>
                <a:ea typeface="Times New Roman" panose="02020603050405020304" pitchFamily="18" charset="0"/>
                <a:cs typeface="Calibri" panose="020F0502020204030204" pitchFamily="34" charset="0"/>
              </a:rPr>
              <a:t> message privately</a:t>
            </a:r>
          </a:p>
          <a:p>
            <a:pPr marL="285750" indent="-285750">
              <a:buFont typeface="Calibri" panose="020F0502020204030204" pitchFamily="34" charset="0"/>
              <a:buChar char="X"/>
              <a:tabLst>
                <a:tab pos="914400" algn="l"/>
              </a:tabLst>
              <a:defRPr/>
            </a:pPr>
            <a:r>
              <a:rPr lang="en-GB" altLang="en-US" sz="1200" dirty="0">
                <a:solidFill>
                  <a:srgbClr val="FF0000"/>
                </a:solidFill>
                <a:latin typeface="Calibri" panose="020F0502020204030204" pitchFamily="34" charset="0"/>
                <a:ea typeface="Times New Roman" panose="02020603050405020304" pitchFamily="18" charset="0"/>
                <a:cs typeface="Calibri" panose="020F0502020204030204" pitchFamily="34" charset="0"/>
              </a:rPr>
              <a:t>Take photos </a:t>
            </a:r>
            <a:r>
              <a:rPr lang="en-GB" altLang="en-US" sz="1200" b="0" dirty="0">
                <a:latin typeface="Calibri" panose="020F0502020204030204" pitchFamily="34" charset="0"/>
                <a:ea typeface="Times New Roman" panose="02020603050405020304" pitchFamily="18" charset="0"/>
                <a:cs typeface="Calibri" panose="020F0502020204030204" pitchFamily="34" charset="0"/>
              </a:rPr>
              <a:t>of children unless you are authorised &amp; get informed consent.</a:t>
            </a:r>
          </a:p>
          <a:p>
            <a:pPr>
              <a:tabLst>
                <a:tab pos="914400" algn="l"/>
              </a:tabLst>
              <a:defRPr/>
            </a:pPr>
            <a:endParaRPr lang="en-GB" sz="1200" b="0" dirty="0">
              <a:latin typeface="Calibri" panose="020F0502020204030204" pitchFamily="34" charset="0"/>
              <a:ea typeface="Times New Roman" panose="02020603050405020304" pitchFamily="18" charset="0"/>
              <a:cs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1C575A-FA3C-4170-BDE2-E20A383993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93130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Sexual Violence: no later than 24 hours for provision of lifesaving treatment: legal evidence collection within 48 hours, prevention of HIV within 72 hours, emergency contraception within 120 hours.</a:t>
            </a:r>
          </a:p>
          <a:p>
            <a:endParaRPr kumimoji="1" lang="en-US" altLang="ja-JP" dirty="0"/>
          </a:p>
          <a:p>
            <a:r>
              <a:rPr kumimoji="1" lang="en-US" altLang="ja-JP" dirty="0"/>
              <a:t>Physical Violence respond within 24 hours if Child is significantly harmed or at risk of significant harm or death if left in her/his present circumstances without protective intervention 2. Physical violence respond within 48 to 72 hours child is harmed to some degree if left in her/his present circumstances without protective intervention.</a:t>
            </a:r>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32485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roup work</a:t>
            </a:r>
          </a:p>
        </p:txBody>
      </p:sp>
      <p:sp>
        <p:nvSpPr>
          <p:cNvPr id="4" name="Slide Number Placeholder 3"/>
          <p:cNvSpPr>
            <a:spLocks noGrp="1"/>
          </p:cNvSpPr>
          <p:nvPr>
            <p:ph type="sldNum" sz="quarter" idx="5"/>
          </p:nvPr>
        </p:nvSpPr>
        <p:spPr/>
        <p:txBody>
          <a:bodyPr/>
          <a:lstStyle/>
          <a:p>
            <a:fld id="{ED3781CB-E0A5-C242-A2AD-BE710F2C0EDC}" type="slidenum">
              <a:rPr lang="en-US" smtClean="0"/>
              <a:t>8</a:t>
            </a:fld>
            <a:endParaRPr lang="en-US"/>
          </a:p>
        </p:txBody>
      </p:sp>
    </p:spTree>
    <p:extLst>
      <p:ext uri="{BB962C8B-B14F-4D97-AF65-F5344CB8AC3E}">
        <p14:creationId xmlns:p14="http://schemas.microsoft.com/office/powerpoint/2010/main" val="21862214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a:extLst>
              <a:ext uri="{FF2B5EF4-FFF2-40B4-BE49-F238E27FC236}">
                <a16:creationId xmlns:a16="http://schemas.microsoft.com/office/drawing/2014/main" id="{80A13C82-49D2-1A49-80E1-1E20543AC104}"/>
              </a:ext>
            </a:extLst>
          </p:cNvPr>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8" name="Notes Placeholder 2">
            <a:extLst>
              <a:ext uri="{FF2B5EF4-FFF2-40B4-BE49-F238E27FC236}">
                <a16:creationId xmlns:a16="http://schemas.microsoft.com/office/drawing/2014/main" id="{A73B1040-52C4-1E4C-A23C-C4F07E28221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AU" altLang="en-US">
                <a:latin typeface="Zawgyi-One" panose="020B0604030504040204" pitchFamily="34" charset="0"/>
              </a:rPr>
              <a:t>People affected by crises and disaster have different needs and require different types of support.  </a:t>
            </a:r>
            <a:endParaRPr lang="en-US" altLang="en-US">
              <a:latin typeface="Zawgyi-One" panose="020B0604030504040204" pitchFamily="34" charset="0"/>
            </a:endParaRPr>
          </a:p>
          <a:p>
            <a:endParaRPr lang="en-US" altLang="en-US">
              <a:latin typeface="Zawgyi-One" panose="020B0604030504040204" pitchFamily="34" charset="0"/>
            </a:endParaRPr>
          </a:p>
        </p:txBody>
      </p:sp>
      <p:sp>
        <p:nvSpPr>
          <p:cNvPr id="39939" name="Slide Number Placeholder 3">
            <a:extLst>
              <a:ext uri="{FF2B5EF4-FFF2-40B4-BE49-F238E27FC236}">
                <a16:creationId xmlns:a16="http://schemas.microsoft.com/office/drawing/2014/main" id="{E28A7F21-DAC3-1F43-BE4A-025DCEBE183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97C33D95-B67C-6C46-A90C-84922D060555}" type="slidenum">
              <a:rPr lang="en-US" altLang="en-US">
                <a:solidFill>
                  <a:prstClr val="black"/>
                </a:solidFill>
                <a:latin typeface="Zawgyi-One" panose="020B0604030504040204" pitchFamily="34" charset="0"/>
              </a:rPr>
              <a:pPr/>
              <a:t>9</a:t>
            </a:fld>
            <a:endParaRPr lang="en-US" altLang="en-US">
              <a:solidFill>
                <a:prstClr val="black"/>
              </a:solidFill>
              <a:latin typeface="Zawgyi-One" panose="020B0604030504040204" pitchFamily="34" charset="0"/>
            </a:endParaRPr>
          </a:p>
        </p:txBody>
      </p:sp>
    </p:spTree>
    <p:extLst>
      <p:ext uri="{BB962C8B-B14F-4D97-AF65-F5344CB8AC3E}">
        <p14:creationId xmlns:p14="http://schemas.microsoft.com/office/powerpoint/2010/main" val="2489458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FFFF08-BA74-3E4E-B67B-CFCBDE5D9836}" type="slidenum">
              <a:rPr lang="en-US" smtClean="0"/>
              <a:t>22</a:t>
            </a:fld>
            <a:endParaRPr lang="en-US"/>
          </a:p>
        </p:txBody>
      </p:sp>
    </p:spTree>
    <p:extLst>
      <p:ext uri="{BB962C8B-B14F-4D97-AF65-F5344CB8AC3E}">
        <p14:creationId xmlns:p14="http://schemas.microsoft.com/office/powerpoint/2010/main" val="1375334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If these are identified it is significant</a:t>
            </a:r>
            <a:r>
              <a:rPr kumimoji="1" lang="en-US" altLang="ja-JP" baseline="0" dirty="0"/>
              <a:t> for health workers to safely refer the child by using PFA skills! </a:t>
            </a:r>
            <a:endParaRPr kumimoji="1" lang="ja-JP" altLang="en-US" dirty="0"/>
          </a:p>
        </p:txBody>
      </p:sp>
      <p:sp>
        <p:nvSpPr>
          <p:cNvPr id="4" name="スライド番号プレースホルダー 3"/>
          <p:cNvSpPr>
            <a:spLocks noGrp="1"/>
          </p:cNvSpPr>
          <p:nvPr>
            <p:ph type="sldNum" sz="quarter" idx="10"/>
          </p:nvPr>
        </p:nvSpPr>
        <p:spPr/>
        <p:txBody>
          <a:bodyPr/>
          <a:lstStyle/>
          <a:p>
            <a:fld id="{23FFFF08-BA74-3E4E-B67B-CFCBDE5D9836}" type="slidenum">
              <a:rPr lang="en-US" smtClean="0"/>
              <a:t>33</a:t>
            </a:fld>
            <a:endParaRPr lang="en-US"/>
          </a:p>
        </p:txBody>
      </p:sp>
    </p:spTree>
    <p:extLst>
      <p:ext uri="{BB962C8B-B14F-4D97-AF65-F5344CB8AC3E}">
        <p14:creationId xmlns:p14="http://schemas.microsoft.com/office/powerpoint/2010/main" val="1186281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b="1" dirty="0">
              <a:solidFill>
                <a:srgbClr val="FF0000"/>
              </a:solidFill>
            </a:endParaRPr>
          </a:p>
        </p:txBody>
      </p:sp>
      <p:sp>
        <p:nvSpPr>
          <p:cNvPr id="4" name="スライド番号プレースホルダー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FFFF08-BA74-3E4E-B67B-CFCBDE5D983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34781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2C36CC4-2514-45B5-9F6D-DA825C5B98B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612985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0" y="0"/>
            <a:ext cx="9144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156308" y="149795"/>
            <a:ext cx="8824871"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6532" y="303652"/>
            <a:ext cx="2017673" cy="412389"/>
          </a:xfrm>
          <a:prstGeom prst="rect">
            <a:avLst/>
          </a:prstGeom>
        </p:spPr>
      </p:pic>
      <p:sp>
        <p:nvSpPr>
          <p:cNvPr id="2" name="Title 1"/>
          <p:cNvSpPr>
            <a:spLocks noGrp="1"/>
          </p:cNvSpPr>
          <p:nvPr>
            <p:ph type="ctrTitle" hasCustomPrompt="1"/>
          </p:nvPr>
        </p:nvSpPr>
        <p:spPr>
          <a:xfrm>
            <a:off x="625148" y="866775"/>
            <a:ext cx="8075613" cy="1197787"/>
          </a:xfrm>
        </p:spPr>
        <p:txBody>
          <a:bodyPr anchor="t">
            <a:normAutofit/>
          </a:bodyPr>
          <a:lstStyle>
            <a:lvl1pPr>
              <a:lnSpc>
                <a:spcPct val="95000"/>
              </a:lnSpc>
              <a:defRPr sz="4800" b="0" i="0" cap="none">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sp>
        <p:nvSpPr>
          <p:cNvPr id="11" name="Picture Placeholder 10"/>
          <p:cNvSpPr>
            <a:spLocks noGrp="1"/>
          </p:cNvSpPr>
          <p:nvPr>
            <p:ph type="pic" sz="quarter" idx="10"/>
          </p:nvPr>
        </p:nvSpPr>
        <p:spPr>
          <a:xfrm>
            <a:off x="150813" y="2213627"/>
            <a:ext cx="8829675" cy="4494213"/>
          </a:xfrm>
        </p:spPr>
        <p:txBody>
          <a:bodyPr/>
          <a:lstStyle/>
          <a:p>
            <a:r>
              <a:rPr lang="en-US"/>
              <a:t>Click icon to add picture</a:t>
            </a:r>
          </a:p>
        </p:txBody>
      </p:sp>
      <p:sp>
        <p:nvSpPr>
          <p:cNvPr id="12" name="Date Placeholder 11"/>
          <p:cNvSpPr>
            <a:spLocks noGrp="1"/>
          </p:cNvSpPr>
          <p:nvPr>
            <p:ph type="dt" sz="half" idx="11"/>
          </p:nvPr>
        </p:nvSpPr>
        <p:spPr>
          <a:xfrm>
            <a:off x="7223650" y="344650"/>
            <a:ext cx="1581319" cy="365125"/>
          </a:xfrm>
        </p:spPr>
        <p:txBody>
          <a:bodyPr/>
          <a:lstStyle>
            <a:lvl1pPr algn="r">
              <a:defRPr/>
            </a:lvl1pPr>
          </a:lstStyle>
          <a:p>
            <a:r>
              <a:rPr lang="en-US"/>
              <a:t>26 April 2016</a:t>
            </a:r>
          </a:p>
        </p:txBody>
      </p:sp>
    </p:spTree>
    <p:extLst>
      <p:ext uri="{BB962C8B-B14F-4D97-AF65-F5344CB8AC3E}">
        <p14:creationId xmlns:p14="http://schemas.microsoft.com/office/powerpoint/2010/main" val="6775945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8" name="Rectangle 7"/>
          <p:cNvSpPr/>
          <p:nvPr userDrawn="1"/>
        </p:nvSpPr>
        <p:spPr>
          <a:xfrm>
            <a:off x="0" y="1171574"/>
            <a:ext cx="9144000" cy="568642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userDrawn="1"/>
        </p:nvSpPr>
        <p:spPr>
          <a:xfrm>
            <a:off x="147638" y="147638"/>
            <a:ext cx="8832850" cy="6710362"/>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r>
              <a:rPr lang="en-US"/>
              <a:t>26 April 2016</a:t>
            </a:r>
          </a:p>
        </p:txBody>
      </p:sp>
      <p:sp>
        <p:nvSpPr>
          <p:cNvPr id="3" name="Footer Placeholder 2"/>
          <p:cNvSpPr>
            <a:spLocks noGrp="1"/>
          </p:cNvSpPr>
          <p:nvPr>
            <p:ph type="ftr" sz="quarter" idx="11"/>
          </p:nvPr>
        </p:nvSpPr>
        <p:spPr/>
        <p:txBody>
          <a:bodyPr/>
          <a:lstStyle/>
          <a:p>
            <a:r>
              <a:rPr lang="en-US"/>
              <a:t>Amend presentation name in Footer and Apply to All</a:t>
            </a:r>
          </a:p>
        </p:txBody>
      </p:sp>
      <p:sp>
        <p:nvSpPr>
          <p:cNvPr id="4" name="Slide Number Placeholder 3"/>
          <p:cNvSpPr>
            <a:spLocks noGrp="1"/>
          </p:cNvSpPr>
          <p:nvPr>
            <p:ph type="sldNum" sz="quarter" idx="12"/>
          </p:nvPr>
        </p:nvSpPr>
        <p:spPr/>
        <p:txBody>
          <a:bodyPr/>
          <a:lstStyle/>
          <a:p>
            <a:fld id="{C3FDE51E-0052-334C-A4B2-C567FE9F326F}" type="slidenum">
              <a:rPr lang="en-US" smtClean="0"/>
              <a:pPr/>
              <a:t>‹#›</a:t>
            </a:fld>
            <a:endParaRPr lang="en-US"/>
          </a:p>
        </p:txBody>
      </p:sp>
      <p:pic>
        <p:nvPicPr>
          <p:cNvPr id="9" name="Picture 8"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13" name="Straight Connector 12"/>
          <p:cNvCxnSpPr/>
          <p:nvPr userDrawn="1"/>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60825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2">
    <p:spTree>
      <p:nvGrpSpPr>
        <p:cNvPr id="1" name=""/>
        <p:cNvGrpSpPr/>
        <p:nvPr/>
      </p:nvGrpSpPr>
      <p:grpSpPr>
        <a:xfrm>
          <a:off x="0" y="0"/>
          <a:ext cx="0" cy="0"/>
          <a:chOff x="0" y="0"/>
          <a:chExt cx="0" cy="0"/>
        </a:xfrm>
      </p:grpSpPr>
      <p:sp>
        <p:nvSpPr>
          <p:cNvPr id="13" name="Rectangle 12"/>
          <p:cNvSpPr/>
          <p:nvPr userDrawn="1"/>
        </p:nvSpPr>
        <p:spPr>
          <a:xfrm>
            <a:off x="0" y="0"/>
            <a:ext cx="9144000" cy="630713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r>
              <a:rPr lang="en-US"/>
              <a:t>26 April 2016</a:t>
            </a:r>
          </a:p>
        </p:txBody>
      </p:sp>
      <p:sp>
        <p:nvSpPr>
          <p:cNvPr id="3" name="Footer Placeholder 2"/>
          <p:cNvSpPr>
            <a:spLocks noGrp="1"/>
          </p:cNvSpPr>
          <p:nvPr>
            <p:ph type="ftr" sz="quarter" idx="11"/>
          </p:nvPr>
        </p:nvSpPr>
        <p:spPr/>
        <p:txBody>
          <a:bodyPr/>
          <a:lstStyle/>
          <a:p>
            <a:r>
              <a:rPr lang="en-US"/>
              <a:t>Amend presentation name in Footer and Apply to All</a:t>
            </a:r>
          </a:p>
        </p:txBody>
      </p:sp>
      <p:sp>
        <p:nvSpPr>
          <p:cNvPr id="4" name="Slide Number Placeholder 3"/>
          <p:cNvSpPr>
            <a:spLocks noGrp="1"/>
          </p:cNvSpPr>
          <p:nvPr>
            <p:ph type="sldNum" sz="quarter" idx="12"/>
          </p:nvPr>
        </p:nvSpPr>
        <p:spPr/>
        <p:txBody>
          <a:bodyPr/>
          <a:lstStyle/>
          <a:p>
            <a:fld id="{C3FDE51E-0052-334C-A4B2-C567FE9F326F}" type="slidenum">
              <a:rPr lang="en-US" smtClean="0"/>
              <a:pPr/>
              <a:t>‹#›</a:t>
            </a:fld>
            <a:endParaRPr lang="en-US"/>
          </a:p>
        </p:txBody>
      </p:sp>
      <p:pic>
        <p:nvPicPr>
          <p:cNvPr id="9" name="Picture 8"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spTree>
    <p:extLst>
      <p:ext uri="{BB962C8B-B14F-4D97-AF65-F5344CB8AC3E}">
        <p14:creationId xmlns:p14="http://schemas.microsoft.com/office/powerpoint/2010/main" val="299444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3">
    <p:spTree>
      <p:nvGrpSpPr>
        <p:cNvPr id="1" name=""/>
        <p:cNvGrpSpPr/>
        <p:nvPr/>
      </p:nvGrpSpPr>
      <p:grpSpPr>
        <a:xfrm>
          <a:off x="0" y="0"/>
          <a:ext cx="0" cy="0"/>
          <a:chOff x="0" y="0"/>
          <a:chExt cx="0" cy="0"/>
        </a:xfrm>
      </p:grpSpPr>
      <p:sp>
        <p:nvSpPr>
          <p:cNvPr id="14" name="Rectangle 13"/>
          <p:cNvSpPr/>
          <p:nvPr userDrawn="1"/>
        </p:nvSpPr>
        <p:spPr>
          <a:xfrm>
            <a:off x="0" y="0"/>
            <a:ext cx="9144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Picture Placeholder 5"/>
          <p:cNvSpPr>
            <a:spLocks noGrp="1"/>
          </p:cNvSpPr>
          <p:nvPr>
            <p:ph type="pic" sz="quarter" idx="14"/>
          </p:nvPr>
        </p:nvSpPr>
        <p:spPr>
          <a:xfrm>
            <a:off x="4910667" y="4233416"/>
            <a:ext cx="2253884" cy="625148"/>
          </a:xfrm>
        </p:spPr>
        <p:txBody>
          <a:bodyPr/>
          <a:lstStyle>
            <a:lvl1pPr>
              <a:defRPr>
                <a:solidFill>
                  <a:srgbClr val="222221"/>
                </a:solidFill>
                <a:latin typeface="Gill Sans Infant Std" pitchFamily="34" charset="0"/>
              </a:defRPr>
            </a:lvl1pPr>
          </a:lstStyle>
          <a:p>
            <a:r>
              <a:rPr lang="en-US"/>
              <a:t>Click icon to add picture</a:t>
            </a:r>
          </a:p>
        </p:txBody>
      </p:sp>
    </p:spTree>
    <p:extLst>
      <p:ext uri="{BB962C8B-B14F-4D97-AF65-F5344CB8AC3E}">
        <p14:creationId xmlns:p14="http://schemas.microsoft.com/office/powerpoint/2010/main" val="37991803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6" name="Rectangle 15"/>
          <p:cNvSpPr/>
          <p:nvPr userDrawn="1"/>
        </p:nvSpPr>
        <p:spPr>
          <a:xfrm>
            <a:off x="0" y="0"/>
            <a:ext cx="9144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 name="Picture 1" descr="Thank_you_STC_logo_lockup.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92617" y="2113411"/>
            <a:ext cx="4355592" cy="2023872"/>
          </a:xfrm>
          <a:prstGeom prst="rect">
            <a:avLst/>
          </a:prstGeom>
        </p:spPr>
      </p:pic>
    </p:spTree>
    <p:extLst>
      <p:ext uri="{BB962C8B-B14F-4D97-AF65-F5344CB8AC3E}">
        <p14:creationId xmlns:p14="http://schemas.microsoft.com/office/powerpoint/2010/main" val="2087282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ave the Children header">
    <p:spTree>
      <p:nvGrpSpPr>
        <p:cNvPr id="1" name=""/>
        <p:cNvGrpSpPr/>
        <p:nvPr/>
      </p:nvGrpSpPr>
      <p:grpSpPr>
        <a:xfrm>
          <a:off x="0" y="0"/>
          <a:ext cx="0" cy="0"/>
          <a:chOff x="0" y="0"/>
          <a:chExt cx="0" cy="0"/>
        </a:xfrm>
      </p:grpSpPr>
      <p:sp>
        <p:nvSpPr>
          <p:cNvPr id="16" name="Rectangle 15"/>
          <p:cNvSpPr/>
          <p:nvPr userDrawn="1"/>
        </p:nvSpPr>
        <p:spPr>
          <a:xfrm>
            <a:off x="0" y="0"/>
            <a:ext cx="9144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ounded Rectangle 11"/>
          <p:cNvSpPr/>
          <p:nvPr userDrawn="1"/>
        </p:nvSpPr>
        <p:spPr>
          <a:xfrm>
            <a:off x="1442676" y="2370672"/>
            <a:ext cx="6255472" cy="1583233"/>
          </a:xfrm>
          <a:prstGeom prst="roundRect">
            <a:avLst>
              <a:gd name="adj" fmla="val 8552"/>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200" b="1" i="0">
              <a:solidFill>
                <a:srgbClr val="222221"/>
              </a:solidFill>
              <a:latin typeface="TradeGothic LT CondEighteen"/>
              <a:cs typeface="TradeGothic LT CondEighteen"/>
            </a:endParaRPr>
          </a:p>
        </p:txBody>
      </p:sp>
      <p:pic>
        <p:nvPicPr>
          <p:cNvPr id="13" name="Picture 12"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34139" y="2562159"/>
            <a:ext cx="5872546" cy="1200282"/>
          </a:xfrm>
          <a:prstGeom prst="rect">
            <a:avLst/>
          </a:prstGeom>
        </p:spPr>
      </p:pic>
    </p:spTree>
    <p:extLst>
      <p:ext uri="{BB962C8B-B14F-4D97-AF65-F5344CB8AC3E}">
        <p14:creationId xmlns:p14="http://schemas.microsoft.com/office/powerpoint/2010/main" val="4155495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Content Placeholder 2"/>
          <p:cNvSpPr>
            <a:spLocks noGrp="1"/>
          </p:cNvSpPr>
          <p:nvPr>
            <p:ph idx="1"/>
          </p:nvPr>
        </p:nvSpPr>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r>
              <a:rPr lang="en-US" altLang="ja-JP"/>
              <a:t>26 April 2016</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8" name="Text Placeholder 7"/>
          <p:cNvSpPr>
            <a:spLocks noGrp="1"/>
          </p:cNvSpPr>
          <p:nvPr>
            <p:ph type="body" sz="quarter" idx="13"/>
          </p:nvPr>
        </p:nvSpPr>
        <p:spPr>
          <a:xfrm>
            <a:off x="425286" y="705600"/>
            <a:ext cx="8282151" cy="363537"/>
          </a:xfrm>
        </p:spPr>
        <p:txBody>
          <a:bodyPr>
            <a:no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vl6pPr marL="1588" indent="0">
              <a:buNone/>
              <a:defRPr sz="2500" b="0" i="0">
                <a:latin typeface="Gill Sans Infant MT"/>
                <a:cs typeface="Gill Sans Infant MT"/>
              </a:defRPr>
            </a:lvl6pPr>
          </a:lstStyle>
          <a:p>
            <a:pPr lvl="0"/>
            <a:r>
              <a:rPr lang="da-DK"/>
              <a:t>Rediger typografien i masterens</a:t>
            </a:r>
          </a:p>
        </p:txBody>
      </p:sp>
    </p:spTree>
    <p:extLst>
      <p:ext uri="{BB962C8B-B14F-4D97-AF65-F5344CB8AC3E}">
        <p14:creationId xmlns:p14="http://schemas.microsoft.com/office/powerpoint/2010/main" val="1484865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elslide">
    <p:spTree>
      <p:nvGrpSpPr>
        <p:cNvPr id="1" name=""/>
        <p:cNvGrpSpPr/>
        <p:nvPr/>
      </p:nvGrpSpPr>
      <p:grpSpPr>
        <a:xfrm>
          <a:off x="0" y="0"/>
          <a:ext cx="0" cy="0"/>
          <a:chOff x="0" y="0"/>
          <a:chExt cx="0" cy="0"/>
        </a:xfrm>
      </p:grpSpPr>
      <p:sp>
        <p:nvSpPr>
          <p:cNvPr id="15" name="Rectangle 14"/>
          <p:cNvSpPr/>
          <p:nvPr userDrawn="1"/>
        </p:nvSpPr>
        <p:spPr>
          <a:xfrm>
            <a:off x="0" y="0"/>
            <a:ext cx="9144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156308" y="149795"/>
            <a:ext cx="8824871"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626532" y="303652"/>
            <a:ext cx="2017673" cy="412389"/>
          </a:xfrm>
          <a:prstGeom prst="rect">
            <a:avLst/>
          </a:prstGeom>
        </p:spPr>
      </p:pic>
      <p:sp>
        <p:nvSpPr>
          <p:cNvPr id="2" name="Title 1"/>
          <p:cNvSpPr>
            <a:spLocks noGrp="1"/>
          </p:cNvSpPr>
          <p:nvPr>
            <p:ph type="ctrTitle" hasCustomPrompt="1"/>
          </p:nvPr>
        </p:nvSpPr>
        <p:spPr>
          <a:xfrm>
            <a:off x="625148" y="866775"/>
            <a:ext cx="8075613" cy="1197787"/>
          </a:xfrm>
        </p:spPr>
        <p:txBody>
          <a:bodyPr anchor="t">
            <a:normAutofit/>
          </a:bodyPr>
          <a:lstStyle>
            <a:lvl1pPr>
              <a:lnSpc>
                <a:spcPct val="95000"/>
              </a:lnSpc>
              <a:defRPr sz="4800" b="0" i="0" cap="none">
                <a:latin typeface="Trade Gothic LT Com Cn" panose="020B0806040303020004" pitchFamily="34" charset="0"/>
                <a:cs typeface="Trade Gothic LT Com Cn" panose="020B0806040303020004" pitchFamily="34" charset="0"/>
              </a:defRPr>
            </a:lvl1pPr>
          </a:lstStyle>
          <a:p>
            <a:r>
              <a:rPr lang="en-GB" dirty="0"/>
              <a:t>CLICK TO EDIT MASTER TITLE STYLE</a:t>
            </a:r>
            <a:endParaRPr lang="en-US" dirty="0"/>
          </a:p>
        </p:txBody>
      </p:sp>
      <p:sp>
        <p:nvSpPr>
          <p:cNvPr id="11" name="Picture Placeholder 10"/>
          <p:cNvSpPr>
            <a:spLocks noGrp="1"/>
          </p:cNvSpPr>
          <p:nvPr>
            <p:ph type="pic" sz="quarter" idx="10"/>
          </p:nvPr>
        </p:nvSpPr>
        <p:spPr>
          <a:xfrm>
            <a:off x="150813" y="2213627"/>
            <a:ext cx="8829675" cy="4494213"/>
          </a:xfrm>
        </p:spPr>
        <p:txBody>
          <a:bodyPr/>
          <a:lstStyle/>
          <a:p>
            <a:r>
              <a:rPr lang="da-DK"/>
              <a:t>Klik på ikonet for at tilføje et billede</a:t>
            </a:r>
            <a:endParaRPr lang="en-US" dirty="0"/>
          </a:p>
        </p:txBody>
      </p:sp>
      <p:sp>
        <p:nvSpPr>
          <p:cNvPr id="12" name="Date Placeholder 11"/>
          <p:cNvSpPr>
            <a:spLocks noGrp="1"/>
          </p:cNvSpPr>
          <p:nvPr>
            <p:ph type="dt" sz="half" idx="11"/>
          </p:nvPr>
        </p:nvSpPr>
        <p:spPr>
          <a:xfrm>
            <a:off x="7223650" y="344650"/>
            <a:ext cx="1581319" cy="365125"/>
          </a:xfrm>
        </p:spPr>
        <p:txBody>
          <a:bodyPr/>
          <a:lstStyle>
            <a:lvl1pPr algn="r">
              <a:defRPr/>
            </a:lvl1pPr>
          </a:lstStyle>
          <a:p>
            <a:r>
              <a:rPr lang="en-US" altLang="ja-JP"/>
              <a:t>26 April 2016</a:t>
            </a:r>
            <a:endParaRPr lang="en-US" dirty="0"/>
          </a:p>
        </p:txBody>
      </p:sp>
    </p:spTree>
    <p:extLst>
      <p:ext uri="{BB962C8B-B14F-4D97-AF65-F5344CB8AC3E}">
        <p14:creationId xmlns:p14="http://schemas.microsoft.com/office/powerpoint/2010/main" val="25385668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Divider 1">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ltLang="ja-JP"/>
              <a:t>26 April 2016</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7" name="Rectangle 6"/>
          <p:cNvSpPr/>
          <p:nvPr userDrawn="1"/>
        </p:nvSpPr>
        <p:spPr>
          <a:xfrm>
            <a:off x="4572000" y="0"/>
            <a:ext cx="4572000" cy="630713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470768" y="1171576"/>
            <a:ext cx="3243019" cy="1219798"/>
          </a:xfrm>
        </p:spPr>
        <p:txBody>
          <a:bodyPr anchor="t">
            <a:normAutofit/>
          </a:bodyPr>
          <a:lstStyle>
            <a:lvl1pPr algn="l">
              <a:lnSpc>
                <a:spcPct val="95000"/>
              </a:lnSpc>
              <a:defRPr sz="3200" b="0" i="0" cap="none">
                <a:solidFill>
                  <a:schemeClr val="bg1"/>
                </a:solidFill>
                <a:latin typeface="Trade Gothic LT Com Cn" panose="020B0806040303020004" pitchFamily="34" charset="0"/>
                <a:cs typeface="Trade Gothic LT Com Cn" panose="020B0806040303020004" pitchFamily="34" charset="0"/>
              </a:defRPr>
            </a:lvl1pPr>
          </a:lstStyle>
          <a:p>
            <a:r>
              <a:rPr lang="en-GB" dirty="0"/>
              <a:t>CLICK TO EDIT MASTER TITLE STYLE</a:t>
            </a:r>
            <a:endParaRPr lang="en-US" dirty="0"/>
          </a:p>
        </p:txBody>
      </p:sp>
      <p:sp>
        <p:nvSpPr>
          <p:cNvPr id="3" name="Text Placeholder 2"/>
          <p:cNvSpPr>
            <a:spLocks noGrp="1"/>
          </p:cNvSpPr>
          <p:nvPr>
            <p:ph type="body" idx="1"/>
          </p:nvPr>
        </p:nvSpPr>
        <p:spPr>
          <a:xfrm>
            <a:off x="5470767" y="2395663"/>
            <a:ext cx="3243020" cy="2684219"/>
          </a:xfrm>
        </p:spPr>
        <p:txBody>
          <a:bodyPr anchor="t">
            <a:normAutofit/>
          </a:bodyPr>
          <a:lstStyle>
            <a:lvl1pPr marL="0" indent="0">
              <a:buNone/>
              <a:defRPr sz="1800" b="0" i="0">
                <a:solidFill>
                  <a:srgbClr val="FFFFFF"/>
                </a:solidFill>
                <a:latin typeface="Gill Sans Infant Std"/>
                <a:cs typeface="Gill Sans Infant Std"/>
              </a:defRPr>
            </a:lvl1pPr>
            <a:lvl2pPr marL="0" indent="0">
              <a:buNone/>
              <a:defRPr sz="1800">
                <a:solidFill>
                  <a:schemeClr val="bg1"/>
                </a:solidFill>
              </a:defRPr>
            </a:lvl2pPr>
            <a:lvl3pPr marL="1588" indent="0">
              <a:buNone/>
              <a:defRPr sz="1800">
                <a:solidFill>
                  <a:srgbClr val="FFFFFF"/>
                </a:solidFill>
              </a:defRPr>
            </a:lvl3pPr>
            <a:lvl4pPr marL="0" indent="0">
              <a:buNone/>
              <a:defRPr sz="1800">
                <a:solidFill>
                  <a:srgbClr val="FFFFFF"/>
                </a:solidFill>
              </a:defRPr>
            </a:lvl4pPr>
            <a:lvl5pPr marL="0" indent="0">
              <a:buNone/>
              <a:defRPr sz="1800">
                <a:solidFill>
                  <a:srgbClr val="FFFFFF"/>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Rediger typografien i masterens</a:t>
            </a:r>
          </a:p>
        </p:txBody>
      </p:sp>
      <p:pic>
        <p:nvPicPr>
          <p:cNvPr id="8" name="Picture 7"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9" name="Straight Connector 8"/>
          <p:cNvCxnSpPr/>
          <p:nvPr userDrawn="1"/>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icture Placeholder 11"/>
          <p:cNvSpPr>
            <a:spLocks noGrp="1"/>
          </p:cNvSpPr>
          <p:nvPr>
            <p:ph type="pic" sz="quarter" idx="13"/>
          </p:nvPr>
        </p:nvSpPr>
        <p:spPr>
          <a:xfrm>
            <a:off x="152400" y="155738"/>
            <a:ext cx="5002416" cy="5985852"/>
          </a:xfrm>
        </p:spPr>
        <p:txBody>
          <a:bodyPr/>
          <a:lstStyle/>
          <a:p>
            <a:r>
              <a:rPr lang="da-DK"/>
              <a:t>Klik på ikonet for at tilføje et billede</a:t>
            </a:r>
            <a:endParaRPr lang="en-US"/>
          </a:p>
        </p:txBody>
      </p:sp>
    </p:spTree>
    <p:extLst>
      <p:ext uri="{BB962C8B-B14F-4D97-AF65-F5344CB8AC3E}">
        <p14:creationId xmlns:p14="http://schemas.microsoft.com/office/powerpoint/2010/main" val="5647211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Divider 2">
    <p:spTree>
      <p:nvGrpSpPr>
        <p:cNvPr id="1" name=""/>
        <p:cNvGrpSpPr/>
        <p:nvPr/>
      </p:nvGrpSpPr>
      <p:grpSpPr>
        <a:xfrm>
          <a:off x="0" y="0"/>
          <a:ext cx="0" cy="0"/>
          <a:chOff x="0" y="0"/>
          <a:chExt cx="0" cy="0"/>
        </a:xfrm>
      </p:grpSpPr>
      <p:sp>
        <p:nvSpPr>
          <p:cNvPr id="15" name="Rectangle 14"/>
          <p:cNvSpPr/>
          <p:nvPr userDrawn="1"/>
        </p:nvSpPr>
        <p:spPr>
          <a:xfrm>
            <a:off x="0" y="0"/>
            <a:ext cx="9144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userDrawn="1"/>
        </p:nvSpPr>
        <p:spPr>
          <a:xfrm>
            <a:off x="156308" y="149795"/>
            <a:ext cx="8824871"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r>
              <a:rPr lang="en-US" altLang="ja-JP"/>
              <a:t>26 April 2016</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2" name="Title 1"/>
          <p:cNvSpPr>
            <a:spLocks noGrp="1"/>
          </p:cNvSpPr>
          <p:nvPr>
            <p:ph type="title" hasCustomPrompt="1"/>
          </p:nvPr>
        </p:nvSpPr>
        <p:spPr>
          <a:xfrm>
            <a:off x="424763" y="310836"/>
            <a:ext cx="8282643" cy="1348102"/>
          </a:xfrm>
        </p:spPr>
        <p:txBody>
          <a:bodyPr anchor="t">
            <a:normAutofit/>
          </a:bodyPr>
          <a:lstStyle>
            <a:lvl1pPr algn="l">
              <a:lnSpc>
                <a:spcPct val="85000"/>
              </a:lnSpc>
              <a:defRPr sz="4800" b="0" i="0" cap="none">
                <a:solidFill>
                  <a:schemeClr val="tx1"/>
                </a:solidFill>
                <a:latin typeface="Trade Gothic LT Com Cn" panose="020B0806040303020004" pitchFamily="34" charset="0"/>
                <a:cs typeface="Trade Gothic LT Com Cn" panose="020B0806040303020004" pitchFamily="34" charset="0"/>
              </a:defRPr>
            </a:lvl1pPr>
          </a:lstStyle>
          <a:p>
            <a:r>
              <a:rPr lang="en-GB" dirty="0"/>
              <a:t>CLICK TO EDIT MASTER TITLE STYLE</a:t>
            </a:r>
            <a:endParaRPr lang="en-US" dirty="0"/>
          </a:p>
        </p:txBody>
      </p:sp>
      <p:pic>
        <p:nvPicPr>
          <p:cNvPr id="8" name="Picture 7"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9" name="Straight Connector 8"/>
          <p:cNvCxnSpPr/>
          <p:nvPr userDrawn="1"/>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icture Placeholder 11"/>
          <p:cNvSpPr>
            <a:spLocks noGrp="1"/>
          </p:cNvSpPr>
          <p:nvPr>
            <p:ph type="pic" sz="quarter" idx="13"/>
          </p:nvPr>
        </p:nvSpPr>
        <p:spPr>
          <a:xfrm>
            <a:off x="155738" y="2200274"/>
            <a:ext cx="8824750" cy="4106864"/>
          </a:xfrm>
        </p:spPr>
        <p:txBody>
          <a:bodyPr/>
          <a:lstStyle/>
          <a:p>
            <a:r>
              <a:rPr lang="da-DK"/>
              <a:t>Klik på ikonet for at tilføje et billede</a:t>
            </a:r>
            <a:endParaRPr lang="en-US" dirty="0"/>
          </a:p>
        </p:txBody>
      </p:sp>
    </p:spTree>
    <p:extLst>
      <p:ext uri="{BB962C8B-B14F-4D97-AF65-F5344CB8AC3E}">
        <p14:creationId xmlns:p14="http://schemas.microsoft.com/office/powerpoint/2010/main" val="23773484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x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Content Placeholder 2"/>
          <p:cNvSpPr>
            <a:spLocks noGrp="1"/>
          </p:cNvSpPr>
          <p:nvPr>
            <p:ph idx="1"/>
          </p:nvPr>
        </p:nvSpPr>
        <p:spPr>
          <a:xfrm>
            <a:off x="431147" y="1600200"/>
            <a:ext cx="3997571" cy="470693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r>
              <a:rPr lang="en-US" altLang="ja-JP"/>
              <a:t>26 April 2016</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8" name="Text Placeholder 7"/>
          <p:cNvSpPr>
            <a:spLocks noGrp="1"/>
          </p:cNvSpPr>
          <p:nvPr>
            <p:ph type="body" sz="quarter" idx="13"/>
          </p:nvPr>
        </p:nvSpPr>
        <p:spPr>
          <a:xfrm>
            <a:off x="425286" y="705600"/>
            <a:ext cx="8282151" cy="363537"/>
          </a:xfrm>
        </p:spPr>
        <p:txBody>
          <a:bodyPr>
            <a:norm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stStyle>
          <a:p>
            <a:pPr lvl="0"/>
            <a:r>
              <a:rPr lang="da-DK"/>
              <a:t>Rediger typografien i masterens</a:t>
            </a:r>
          </a:p>
        </p:txBody>
      </p:sp>
      <p:sp>
        <p:nvSpPr>
          <p:cNvPr id="9" name="Content Placeholder 2"/>
          <p:cNvSpPr>
            <a:spLocks noGrp="1"/>
          </p:cNvSpPr>
          <p:nvPr>
            <p:ph idx="14"/>
          </p:nvPr>
        </p:nvSpPr>
        <p:spPr>
          <a:xfrm>
            <a:off x="4709703" y="1600200"/>
            <a:ext cx="3997571" cy="470693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a:p>
        </p:txBody>
      </p:sp>
    </p:spTree>
    <p:extLst>
      <p:ext uri="{BB962C8B-B14F-4D97-AF65-F5344CB8AC3E}">
        <p14:creationId xmlns:p14="http://schemas.microsoft.com/office/powerpoint/2010/main" val="3036039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a:t>26 April 2016</a:t>
            </a:r>
          </a:p>
        </p:txBody>
      </p:sp>
      <p:sp>
        <p:nvSpPr>
          <p:cNvPr id="5" name="Footer Placeholder 4"/>
          <p:cNvSpPr>
            <a:spLocks noGrp="1"/>
          </p:cNvSpPr>
          <p:nvPr>
            <p:ph type="ftr" sz="quarter" idx="11"/>
          </p:nvPr>
        </p:nvSpPr>
        <p:spPr/>
        <p:txBody>
          <a:bodyPr/>
          <a:lstStyle/>
          <a:p>
            <a:r>
              <a:rPr lang="en-US"/>
              <a:t>Amend presentation name in Footer and Apply to All</a:t>
            </a:r>
          </a:p>
        </p:txBody>
      </p:sp>
      <p:sp>
        <p:nvSpPr>
          <p:cNvPr id="6" name="Slide Number Placeholder 5"/>
          <p:cNvSpPr>
            <a:spLocks noGrp="1"/>
          </p:cNvSpPr>
          <p:nvPr>
            <p:ph type="sldNum" sz="quarter" idx="12"/>
          </p:nvPr>
        </p:nvSpPr>
        <p:spPr/>
        <p:txBody>
          <a:bodyPr/>
          <a:lstStyle/>
          <a:p>
            <a:fld id="{C3FDE51E-0052-334C-A4B2-C567FE9F326F}" type="slidenum">
              <a:rPr lang="en-US" smtClean="0"/>
              <a:pPr/>
              <a:t>‹#›</a:t>
            </a:fld>
            <a:endParaRPr lang="en-US"/>
          </a:p>
        </p:txBody>
      </p:sp>
      <p:sp>
        <p:nvSpPr>
          <p:cNvPr id="7" name="Rectangle 6"/>
          <p:cNvSpPr/>
          <p:nvPr userDrawn="1"/>
        </p:nvSpPr>
        <p:spPr>
          <a:xfrm>
            <a:off x="4572000" y="0"/>
            <a:ext cx="4572000" cy="630713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5470768" y="1171576"/>
            <a:ext cx="3243019" cy="1219798"/>
          </a:xfrm>
        </p:spPr>
        <p:txBody>
          <a:bodyPr anchor="t">
            <a:normAutofit/>
          </a:bodyPr>
          <a:lstStyle>
            <a:lvl1pPr algn="l">
              <a:lnSpc>
                <a:spcPct val="95000"/>
              </a:lnSpc>
              <a:defRPr sz="3200" b="0" i="0" cap="none">
                <a:solidFill>
                  <a:schemeClr val="bg1"/>
                </a:solidFill>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sp>
        <p:nvSpPr>
          <p:cNvPr id="3" name="Text Placeholder 2"/>
          <p:cNvSpPr>
            <a:spLocks noGrp="1"/>
          </p:cNvSpPr>
          <p:nvPr>
            <p:ph type="body" idx="1"/>
          </p:nvPr>
        </p:nvSpPr>
        <p:spPr>
          <a:xfrm>
            <a:off x="5470767" y="2395663"/>
            <a:ext cx="3243020" cy="2684219"/>
          </a:xfrm>
        </p:spPr>
        <p:txBody>
          <a:bodyPr anchor="t">
            <a:normAutofit/>
          </a:bodyPr>
          <a:lstStyle>
            <a:lvl1pPr marL="0" indent="0">
              <a:buNone/>
              <a:defRPr sz="1800" b="0" i="0">
                <a:solidFill>
                  <a:srgbClr val="FFFFFF"/>
                </a:solidFill>
                <a:latin typeface="Gill Sans Infant Std"/>
                <a:cs typeface="Gill Sans Infant Std"/>
              </a:defRPr>
            </a:lvl1pPr>
            <a:lvl2pPr marL="0" indent="0">
              <a:buNone/>
              <a:defRPr sz="1800">
                <a:solidFill>
                  <a:schemeClr val="bg1"/>
                </a:solidFill>
              </a:defRPr>
            </a:lvl2pPr>
            <a:lvl3pPr marL="1588" indent="0">
              <a:buNone/>
              <a:defRPr sz="1800">
                <a:solidFill>
                  <a:srgbClr val="FFFFFF"/>
                </a:solidFill>
              </a:defRPr>
            </a:lvl3pPr>
            <a:lvl4pPr marL="0" indent="0">
              <a:buNone/>
              <a:defRPr sz="1800">
                <a:solidFill>
                  <a:srgbClr val="FFFFFF"/>
                </a:solidFill>
              </a:defRPr>
            </a:lvl4pPr>
            <a:lvl5pPr marL="0" indent="0">
              <a:buNone/>
              <a:defRPr sz="1800">
                <a:solidFill>
                  <a:srgbClr val="FFFFFF"/>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pic>
        <p:nvPicPr>
          <p:cNvPr id="8" name="Picture 7"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9" name="Straight Connector 8"/>
          <p:cNvCxnSpPr/>
          <p:nvPr userDrawn="1"/>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icture Placeholder 11"/>
          <p:cNvSpPr>
            <a:spLocks noGrp="1"/>
          </p:cNvSpPr>
          <p:nvPr>
            <p:ph type="pic" sz="quarter" idx="13"/>
          </p:nvPr>
        </p:nvSpPr>
        <p:spPr>
          <a:xfrm>
            <a:off x="152400" y="155738"/>
            <a:ext cx="5002416" cy="5985852"/>
          </a:xfrm>
        </p:spPr>
        <p:txBody>
          <a:bodyPr/>
          <a:lstStyle/>
          <a:p>
            <a:r>
              <a:rPr lang="en-US"/>
              <a:t>Click icon to add picture</a:t>
            </a:r>
          </a:p>
        </p:txBody>
      </p:sp>
    </p:spTree>
    <p:extLst>
      <p:ext uri="{BB962C8B-B14F-4D97-AF65-F5344CB8AC3E}">
        <p14:creationId xmlns:p14="http://schemas.microsoft.com/office/powerpoint/2010/main" val="2829774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4" name="Date Placeholder 3"/>
          <p:cNvSpPr>
            <a:spLocks noGrp="1"/>
          </p:cNvSpPr>
          <p:nvPr>
            <p:ph type="dt" sz="half" idx="10"/>
          </p:nvPr>
        </p:nvSpPr>
        <p:spPr/>
        <p:txBody>
          <a:bodyPr/>
          <a:lstStyle/>
          <a:p>
            <a:r>
              <a:rPr lang="en-US" altLang="ja-JP"/>
              <a:t>26 April 2016</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3FDE51E-0052-334C-A4B2-C567FE9F326F}" type="slidenum">
              <a:rPr lang="en-US" smtClean="0"/>
              <a:t>‹#›</a:t>
            </a:fld>
            <a:endParaRPr lang="en-US"/>
          </a:p>
        </p:txBody>
      </p:sp>
      <p:sp>
        <p:nvSpPr>
          <p:cNvPr id="8" name="Text Placeholder 7"/>
          <p:cNvSpPr>
            <a:spLocks noGrp="1"/>
          </p:cNvSpPr>
          <p:nvPr>
            <p:ph type="body" sz="quarter" idx="13"/>
          </p:nvPr>
        </p:nvSpPr>
        <p:spPr>
          <a:xfrm>
            <a:off x="425286" y="705600"/>
            <a:ext cx="8282151" cy="363537"/>
          </a:xfrm>
        </p:spPr>
        <p:txBody>
          <a:bodyPr>
            <a:norm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stStyle>
          <a:p>
            <a:pPr lvl="0"/>
            <a:r>
              <a:rPr lang="da-DK"/>
              <a:t>Rediger typografien i masterens</a:t>
            </a:r>
          </a:p>
        </p:txBody>
      </p:sp>
    </p:spTree>
    <p:extLst>
      <p:ext uri="{BB962C8B-B14F-4D97-AF65-F5344CB8AC3E}">
        <p14:creationId xmlns:p14="http://schemas.microsoft.com/office/powerpoint/2010/main" val="32276244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ltLang="ja-JP"/>
              <a:t>26 April 2016</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sp>
        <p:nvSpPr>
          <p:cNvPr id="5" name="Rectangle 4"/>
          <p:cNvSpPr/>
          <p:nvPr userDrawn="1"/>
        </p:nvSpPr>
        <p:spPr>
          <a:xfrm>
            <a:off x="345179" y="1081128"/>
            <a:ext cx="8458854"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1063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tatement &amp; imag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ltLang="ja-JP"/>
              <a:t>26 April 2016</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sp>
        <p:nvSpPr>
          <p:cNvPr id="5" name="Rectangle 4"/>
          <p:cNvSpPr/>
          <p:nvPr userDrawn="1"/>
        </p:nvSpPr>
        <p:spPr>
          <a:xfrm>
            <a:off x="345179" y="1081128"/>
            <a:ext cx="8458854"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Picture Placeholder 6"/>
          <p:cNvSpPr>
            <a:spLocks noGrp="1"/>
          </p:cNvSpPr>
          <p:nvPr>
            <p:ph type="pic" sz="quarter" idx="13"/>
          </p:nvPr>
        </p:nvSpPr>
        <p:spPr>
          <a:xfrm>
            <a:off x="147637" y="147638"/>
            <a:ext cx="8837613" cy="6159500"/>
          </a:xfrm>
        </p:spPr>
        <p:txBody>
          <a:bodyPr/>
          <a:lstStyle/>
          <a:p>
            <a:r>
              <a:rPr lang="da-DK"/>
              <a:t>Klik på ikonet for at tilføje et billede</a:t>
            </a:r>
            <a:endParaRPr lang="en-US"/>
          </a:p>
        </p:txBody>
      </p:sp>
    </p:spTree>
    <p:extLst>
      <p:ext uri="{BB962C8B-B14F-4D97-AF65-F5344CB8AC3E}">
        <p14:creationId xmlns:p14="http://schemas.microsoft.com/office/powerpoint/2010/main" val="524379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tatement 1">
    <p:spTree>
      <p:nvGrpSpPr>
        <p:cNvPr id="1" name=""/>
        <p:cNvGrpSpPr/>
        <p:nvPr/>
      </p:nvGrpSpPr>
      <p:grpSpPr>
        <a:xfrm>
          <a:off x="0" y="0"/>
          <a:ext cx="0" cy="0"/>
          <a:chOff x="0" y="0"/>
          <a:chExt cx="0" cy="0"/>
        </a:xfrm>
      </p:grpSpPr>
      <p:sp>
        <p:nvSpPr>
          <p:cNvPr id="8" name="Rectangle 7"/>
          <p:cNvSpPr/>
          <p:nvPr userDrawn="1"/>
        </p:nvSpPr>
        <p:spPr>
          <a:xfrm>
            <a:off x="0" y="1171574"/>
            <a:ext cx="9144000" cy="568642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userDrawn="1"/>
        </p:nvSpPr>
        <p:spPr>
          <a:xfrm>
            <a:off x="147638" y="147638"/>
            <a:ext cx="8832850" cy="6710362"/>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r>
              <a:rPr lang="en-US" altLang="ja-JP"/>
              <a:t>26 April 2016</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pic>
        <p:nvPicPr>
          <p:cNvPr id="9" name="Picture 8"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13" name="Straight Connector 12"/>
          <p:cNvCxnSpPr/>
          <p:nvPr userDrawn="1"/>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59389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tatement 2">
    <p:spTree>
      <p:nvGrpSpPr>
        <p:cNvPr id="1" name=""/>
        <p:cNvGrpSpPr/>
        <p:nvPr/>
      </p:nvGrpSpPr>
      <p:grpSpPr>
        <a:xfrm>
          <a:off x="0" y="0"/>
          <a:ext cx="0" cy="0"/>
          <a:chOff x="0" y="0"/>
          <a:chExt cx="0" cy="0"/>
        </a:xfrm>
      </p:grpSpPr>
      <p:sp>
        <p:nvSpPr>
          <p:cNvPr id="13" name="Rectangle 12"/>
          <p:cNvSpPr/>
          <p:nvPr userDrawn="1"/>
        </p:nvSpPr>
        <p:spPr>
          <a:xfrm>
            <a:off x="0" y="0"/>
            <a:ext cx="9144000" cy="630713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r>
              <a:rPr lang="en-US" altLang="ja-JP"/>
              <a:t>26 April 2016</a:t>
            </a:r>
            <a:endParaRPr lang="en-US" dirty="0"/>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3FDE51E-0052-334C-A4B2-C567FE9F326F}" type="slidenum">
              <a:rPr lang="en-US" smtClean="0"/>
              <a:t>‹#›</a:t>
            </a:fld>
            <a:endParaRPr lang="en-US"/>
          </a:p>
        </p:txBody>
      </p:sp>
      <p:pic>
        <p:nvPicPr>
          <p:cNvPr id="9" name="Picture 8"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spTree>
    <p:extLst>
      <p:ext uri="{BB962C8B-B14F-4D97-AF65-F5344CB8AC3E}">
        <p14:creationId xmlns:p14="http://schemas.microsoft.com/office/powerpoint/2010/main" val="707593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tatement 3">
    <p:spTree>
      <p:nvGrpSpPr>
        <p:cNvPr id="1" name=""/>
        <p:cNvGrpSpPr/>
        <p:nvPr/>
      </p:nvGrpSpPr>
      <p:grpSpPr>
        <a:xfrm>
          <a:off x="0" y="0"/>
          <a:ext cx="0" cy="0"/>
          <a:chOff x="0" y="0"/>
          <a:chExt cx="0" cy="0"/>
        </a:xfrm>
      </p:grpSpPr>
      <p:sp>
        <p:nvSpPr>
          <p:cNvPr id="14" name="Rectangle 13"/>
          <p:cNvSpPr/>
          <p:nvPr userDrawn="1"/>
        </p:nvSpPr>
        <p:spPr>
          <a:xfrm>
            <a:off x="0" y="0"/>
            <a:ext cx="9144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Picture Placeholder 5"/>
          <p:cNvSpPr>
            <a:spLocks noGrp="1"/>
          </p:cNvSpPr>
          <p:nvPr>
            <p:ph type="pic" sz="quarter" idx="14"/>
          </p:nvPr>
        </p:nvSpPr>
        <p:spPr>
          <a:xfrm>
            <a:off x="4910667" y="4233416"/>
            <a:ext cx="2253884" cy="625148"/>
          </a:xfrm>
        </p:spPr>
        <p:txBody>
          <a:bodyPr/>
          <a:lstStyle>
            <a:lvl1pPr>
              <a:defRPr>
                <a:solidFill>
                  <a:srgbClr val="222221"/>
                </a:solidFill>
                <a:latin typeface="Gill Sans Infant Std" pitchFamily="34" charset="0"/>
              </a:defRPr>
            </a:lvl1pPr>
          </a:lstStyle>
          <a:p>
            <a:r>
              <a:rPr lang="da-DK"/>
              <a:t>Klik på ikonet for at tilføje et billede</a:t>
            </a:r>
            <a:endParaRPr lang="en-US" dirty="0"/>
          </a:p>
        </p:txBody>
      </p:sp>
    </p:spTree>
    <p:extLst>
      <p:ext uri="{BB962C8B-B14F-4D97-AF65-F5344CB8AC3E}">
        <p14:creationId xmlns:p14="http://schemas.microsoft.com/office/powerpoint/2010/main" val="14568364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hank you">
    <p:spTree>
      <p:nvGrpSpPr>
        <p:cNvPr id="1" name=""/>
        <p:cNvGrpSpPr/>
        <p:nvPr/>
      </p:nvGrpSpPr>
      <p:grpSpPr>
        <a:xfrm>
          <a:off x="0" y="0"/>
          <a:ext cx="0" cy="0"/>
          <a:chOff x="0" y="0"/>
          <a:chExt cx="0" cy="0"/>
        </a:xfrm>
      </p:grpSpPr>
      <p:sp>
        <p:nvSpPr>
          <p:cNvPr id="16" name="Rectangle 15"/>
          <p:cNvSpPr/>
          <p:nvPr userDrawn="1"/>
        </p:nvSpPr>
        <p:spPr>
          <a:xfrm>
            <a:off x="0" y="0"/>
            <a:ext cx="9144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 name="Picture 1" descr="Thank_you_STC_logo_lockup.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392617" y="2113411"/>
            <a:ext cx="4355592" cy="2023872"/>
          </a:xfrm>
          <a:prstGeom prst="rect">
            <a:avLst/>
          </a:prstGeom>
        </p:spPr>
      </p:pic>
    </p:spTree>
    <p:extLst>
      <p:ext uri="{BB962C8B-B14F-4D97-AF65-F5344CB8AC3E}">
        <p14:creationId xmlns:p14="http://schemas.microsoft.com/office/powerpoint/2010/main" val="6129054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Save the Children header">
    <p:spTree>
      <p:nvGrpSpPr>
        <p:cNvPr id="1" name=""/>
        <p:cNvGrpSpPr/>
        <p:nvPr/>
      </p:nvGrpSpPr>
      <p:grpSpPr>
        <a:xfrm>
          <a:off x="0" y="0"/>
          <a:ext cx="0" cy="0"/>
          <a:chOff x="0" y="0"/>
          <a:chExt cx="0" cy="0"/>
        </a:xfrm>
      </p:grpSpPr>
      <p:sp>
        <p:nvSpPr>
          <p:cNvPr id="16" name="Rectangle 15"/>
          <p:cNvSpPr/>
          <p:nvPr userDrawn="1"/>
        </p:nvSpPr>
        <p:spPr>
          <a:xfrm>
            <a:off x="0" y="0"/>
            <a:ext cx="9144000" cy="6858000"/>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ounded Rectangle 11"/>
          <p:cNvSpPr/>
          <p:nvPr userDrawn="1"/>
        </p:nvSpPr>
        <p:spPr>
          <a:xfrm>
            <a:off x="1442676" y="2370672"/>
            <a:ext cx="6255472" cy="1583233"/>
          </a:xfrm>
          <a:prstGeom prst="roundRect">
            <a:avLst>
              <a:gd name="adj" fmla="val 8552"/>
            </a:avLst>
          </a:prstGeom>
          <a:solidFill>
            <a:srgbClr val="FFFFFF"/>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3200" b="1" i="0" dirty="0">
              <a:solidFill>
                <a:srgbClr val="222221"/>
              </a:solidFill>
              <a:latin typeface="TradeGothic LT CondEighteen"/>
              <a:cs typeface="TradeGothic LT CondEighteen"/>
            </a:endParaRPr>
          </a:p>
        </p:txBody>
      </p:sp>
      <p:pic>
        <p:nvPicPr>
          <p:cNvPr id="13" name="Picture 12"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34139" y="2562159"/>
            <a:ext cx="5872546" cy="1200282"/>
          </a:xfrm>
          <a:prstGeom prst="rect">
            <a:avLst/>
          </a:prstGeom>
        </p:spPr>
      </p:pic>
    </p:spTree>
    <p:extLst>
      <p:ext uri="{BB962C8B-B14F-4D97-AF65-F5344CB8AC3E}">
        <p14:creationId xmlns:p14="http://schemas.microsoft.com/office/powerpoint/2010/main" val="28658874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solidFill>
                  <a:srgbClr val="222221"/>
                </a:solidFill>
              </a:rPr>
              <a:t>26 April 2016</a:t>
            </a:r>
          </a:p>
        </p:txBody>
      </p:sp>
      <p:sp>
        <p:nvSpPr>
          <p:cNvPr id="4" name="Slide Number Placeholder 3"/>
          <p:cNvSpPr>
            <a:spLocks noGrp="1"/>
          </p:cNvSpPr>
          <p:nvPr>
            <p:ph type="sldNum" sz="quarter" idx="12"/>
          </p:nvPr>
        </p:nvSpPr>
        <p:spPr/>
        <p:txBody>
          <a:bodyPr/>
          <a:lstStyle/>
          <a:p>
            <a:fld id="{C3FDE51E-0052-334C-A4B2-C567FE9F326F}" type="slidenum">
              <a:rPr lang="en-US" smtClean="0">
                <a:solidFill>
                  <a:srgbClr val="222221"/>
                </a:solidFill>
              </a:rPr>
              <a:pPr/>
              <a:t>‹#›</a:t>
            </a:fld>
            <a:endParaRPr lang="en-US" dirty="0">
              <a:solidFill>
                <a:srgbClr val="222221"/>
              </a:solidFill>
            </a:endParaRPr>
          </a:p>
        </p:txBody>
      </p:sp>
      <p:sp>
        <p:nvSpPr>
          <p:cNvPr id="5" name="Rectangle 4"/>
          <p:cNvSpPr/>
          <p:nvPr userDrawn="1"/>
        </p:nvSpPr>
        <p:spPr>
          <a:xfrm>
            <a:off x="345179" y="1081128"/>
            <a:ext cx="8458854"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6" name="Footer Placeholder 4">
            <a:extLst>
              <a:ext uri="{FF2B5EF4-FFF2-40B4-BE49-F238E27FC236}">
                <a16:creationId xmlns:a16="http://schemas.microsoft.com/office/drawing/2014/main" id="{B70512D3-FB15-4045-B843-DBC2868D26A0}"/>
              </a:ext>
            </a:extLst>
          </p:cNvPr>
          <p:cNvSpPr>
            <a:spLocks noGrp="1"/>
          </p:cNvSpPr>
          <p:nvPr>
            <p:ph type="ftr" sz="quarter" idx="3"/>
          </p:nvPr>
        </p:nvSpPr>
        <p:spPr>
          <a:xfrm>
            <a:off x="2525022" y="6441019"/>
            <a:ext cx="3824978" cy="365125"/>
          </a:xfrm>
          <a:prstGeom prst="rect">
            <a:avLst/>
          </a:prstGeom>
        </p:spPr>
        <p:txBody>
          <a:bodyPr vert="horz" lIns="91440" tIns="45720" rIns="91440" bIns="45720" rtlCol="0" anchor="ctr"/>
          <a:lstStyle>
            <a:lvl1pPr algn="ctr">
              <a:defRPr sz="1000" b="0" i="0">
                <a:solidFill>
                  <a:schemeClr val="tx1"/>
                </a:solidFill>
                <a:latin typeface="Gill Sans Infant Std"/>
                <a:cs typeface="Gill Sans Infant Std"/>
              </a:defRPr>
            </a:lvl1pPr>
          </a:lstStyle>
          <a:p>
            <a:pPr defTabSz="457200"/>
            <a:r>
              <a:rPr lang="en-US" dirty="0">
                <a:solidFill>
                  <a:srgbClr val="222221"/>
                </a:solidFill>
              </a:rPr>
              <a:t>Community Social Worker Training</a:t>
            </a:r>
          </a:p>
        </p:txBody>
      </p:sp>
    </p:spTree>
    <p:extLst>
      <p:ext uri="{BB962C8B-B14F-4D97-AF65-F5344CB8AC3E}">
        <p14:creationId xmlns:p14="http://schemas.microsoft.com/office/powerpoint/2010/main" val="2104700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425286" y="705600"/>
            <a:ext cx="8282151" cy="363537"/>
          </a:xfrm>
        </p:spPr>
        <p:txBody>
          <a:bodyPr>
            <a:no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vl6pPr marL="1588" indent="0">
              <a:buNone/>
              <a:defRPr sz="2500" b="0" i="0">
                <a:latin typeface="Gill Sans Infant MT"/>
                <a:cs typeface="Gill Sans Infant MT"/>
              </a:defRPr>
            </a:lvl6pPr>
          </a:lstStyle>
          <a:p>
            <a:pPr lvl="0"/>
            <a:r>
              <a:rPr lang="en-US"/>
              <a:t>Edit Master text styles</a:t>
            </a:r>
          </a:p>
        </p:txBody>
      </p:sp>
      <p:sp>
        <p:nvSpPr>
          <p:cNvPr id="5" name="Footer Placeholder 4">
            <a:extLst>
              <a:ext uri="{FF2B5EF4-FFF2-40B4-BE49-F238E27FC236}">
                <a16:creationId xmlns:a16="http://schemas.microsoft.com/office/drawing/2014/main" id="{03B7C9D3-C4F0-4DA6-A8CC-5E7BA81536F5}"/>
              </a:ext>
            </a:extLst>
          </p:cNvPr>
          <p:cNvSpPr>
            <a:spLocks noGrp="1"/>
          </p:cNvSpPr>
          <p:nvPr>
            <p:ph type="ftr" sz="quarter" idx="3"/>
          </p:nvPr>
        </p:nvSpPr>
        <p:spPr>
          <a:xfrm>
            <a:off x="2525022" y="6441019"/>
            <a:ext cx="3824978" cy="365125"/>
          </a:xfrm>
          <a:prstGeom prst="rect">
            <a:avLst/>
          </a:prstGeom>
        </p:spPr>
        <p:txBody>
          <a:bodyPr vert="horz" lIns="91440" tIns="45720" rIns="91440" bIns="45720" rtlCol="0" anchor="ctr"/>
          <a:lstStyle>
            <a:lvl1pPr algn="ctr">
              <a:defRPr sz="1000" b="0" i="0">
                <a:solidFill>
                  <a:schemeClr val="tx1"/>
                </a:solidFill>
                <a:latin typeface="Gill Sans Infant Std"/>
                <a:cs typeface="Gill Sans Infant Std"/>
              </a:defRPr>
            </a:lvl1pPr>
          </a:lstStyle>
          <a:p>
            <a:pPr defTabSz="457200"/>
            <a:r>
              <a:rPr lang="en-US" dirty="0">
                <a:solidFill>
                  <a:srgbClr val="222221"/>
                </a:solidFill>
              </a:rPr>
              <a:t>Community Social Worker Training</a:t>
            </a:r>
          </a:p>
        </p:txBody>
      </p:sp>
    </p:spTree>
    <p:extLst>
      <p:ext uri="{BB962C8B-B14F-4D97-AF65-F5344CB8AC3E}">
        <p14:creationId xmlns:p14="http://schemas.microsoft.com/office/powerpoint/2010/main" val="7679684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15" name="Rectangle 14"/>
          <p:cNvSpPr/>
          <p:nvPr userDrawn="1"/>
        </p:nvSpPr>
        <p:spPr>
          <a:xfrm>
            <a:off x="0" y="0"/>
            <a:ext cx="9144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p:cNvSpPr/>
          <p:nvPr userDrawn="1"/>
        </p:nvSpPr>
        <p:spPr>
          <a:xfrm>
            <a:off x="156308" y="149795"/>
            <a:ext cx="8824871"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r>
              <a:rPr lang="en-US"/>
              <a:t>26 April 2016</a:t>
            </a:r>
          </a:p>
        </p:txBody>
      </p:sp>
      <p:sp>
        <p:nvSpPr>
          <p:cNvPr id="5" name="Footer Placeholder 4"/>
          <p:cNvSpPr>
            <a:spLocks noGrp="1"/>
          </p:cNvSpPr>
          <p:nvPr>
            <p:ph type="ftr" sz="quarter" idx="11"/>
          </p:nvPr>
        </p:nvSpPr>
        <p:spPr/>
        <p:txBody>
          <a:bodyPr/>
          <a:lstStyle/>
          <a:p>
            <a:r>
              <a:rPr lang="en-US"/>
              <a:t>Amend presentation name in Footer and Apply to All</a:t>
            </a:r>
          </a:p>
        </p:txBody>
      </p:sp>
      <p:sp>
        <p:nvSpPr>
          <p:cNvPr id="6" name="Slide Number Placeholder 5"/>
          <p:cNvSpPr>
            <a:spLocks noGrp="1"/>
          </p:cNvSpPr>
          <p:nvPr>
            <p:ph type="sldNum" sz="quarter" idx="12"/>
          </p:nvPr>
        </p:nvSpPr>
        <p:spPr/>
        <p:txBody>
          <a:bodyPr/>
          <a:lstStyle/>
          <a:p>
            <a:fld id="{C3FDE51E-0052-334C-A4B2-C567FE9F326F}" type="slidenum">
              <a:rPr lang="en-US" smtClean="0"/>
              <a:pPr/>
              <a:t>‹#›</a:t>
            </a:fld>
            <a:endParaRPr lang="en-US"/>
          </a:p>
        </p:txBody>
      </p:sp>
      <p:sp>
        <p:nvSpPr>
          <p:cNvPr id="2" name="Title 1"/>
          <p:cNvSpPr>
            <a:spLocks noGrp="1"/>
          </p:cNvSpPr>
          <p:nvPr>
            <p:ph type="title" hasCustomPrompt="1"/>
          </p:nvPr>
        </p:nvSpPr>
        <p:spPr>
          <a:xfrm>
            <a:off x="424763" y="310836"/>
            <a:ext cx="8282643" cy="1348102"/>
          </a:xfrm>
        </p:spPr>
        <p:txBody>
          <a:bodyPr anchor="t">
            <a:normAutofit/>
          </a:bodyPr>
          <a:lstStyle>
            <a:lvl1pPr algn="l">
              <a:lnSpc>
                <a:spcPct val="85000"/>
              </a:lnSpc>
              <a:defRPr sz="4800" b="0" i="0" cap="none">
                <a:solidFill>
                  <a:schemeClr val="tx1"/>
                </a:solidFill>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pic>
        <p:nvPicPr>
          <p:cNvPr id="8" name="Picture 7"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9" name="Straight Connector 8"/>
          <p:cNvCxnSpPr/>
          <p:nvPr userDrawn="1"/>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 name="Picture Placeholder 11"/>
          <p:cNvSpPr>
            <a:spLocks noGrp="1"/>
          </p:cNvSpPr>
          <p:nvPr>
            <p:ph type="pic" sz="quarter" idx="13"/>
          </p:nvPr>
        </p:nvSpPr>
        <p:spPr>
          <a:xfrm>
            <a:off x="155738" y="2200274"/>
            <a:ext cx="8824750" cy="4106864"/>
          </a:xfrm>
        </p:spPr>
        <p:txBody>
          <a:bodyPr/>
          <a:lstStyle/>
          <a:p>
            <a:r>
              <a:rPr lang="en-US"/>
              <a:t>Click icon to add picture</a:t>
            </a:r>
          </a:p>
        </p:txBody>
      </p:sp>
    </p:spTree>
    <p:extLst>
      <p:ext uri="{BB962C8B-B14F-4D97-AF65-F5344CB8AC3E}">
        <p14:creationId xmlns:p14="http://schemas.microsoft.com/office/powerpoint/2010/main" val="3163194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5" name="Rectangle 14"/>
          <p:cNvSpPr/>
          <p:nvPr userDrawn="1"/>
        </p:nvSpPr>
        <p:spPr>
          <a:xfrm>
            <a:off x="0" y="0"/>
            <a:ext cx="9144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sp>
        <p:nvSpPr>
          <p:cNvPr id="8" name="Rectangle 7"/>
          <p:cNvSpPr/>
          <p:nvPr userDrawn="1"/>
        </p:nvSpPr>
        <p:spPr>
          <a:xfrm>
            <a:off x="156308" y="149795"/>
            <a:ext cx="8824871"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srgbClr val="FFFFFF"/>
              </a:solidFill>
            </a:endParaRPr>
          </a:p>
        </p:txBody>
      </p:sp>
      <p:pic>
        <p:nvPicPr>
          <p:cNvPr id="9" name="Picture 8" descr="Save_the_Children_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26532" y="303652"/>
            <a:ext cx="2017673" cy="412389"/>
          </a:xfrm>
          <a:prstGeom prst="rect">
            <a:avLst/>
          </a:prstGeom>
        </p:spPr>
      </p:pic>
      <p:sp>
        <p:nvSpPr>
          <p:cNvPr id="2" name="Title 1"/>
          <p:cNvSpPr>
            <a:spLocks noGrp="1"/>
          </p:cNvSpPr>
          <p:nvPr>
            <p:ph type="ctrTitle" hasCustomPrompt="1"/>
          </p:nvPr>
        </p:nvSpPr>
        <p:spPr>
          <a:xfrm>
            <a:off x="625148" y="866775"/>
            <a:ext cx="8075613" cy="1197787"/>
          </a:xfrm>
        </p:spPr>
        <p:txBody>
          <a:bodyPr anchor="t">
            <a:normAutofit/>
          </a:bodyPr>
          <a:lstStyle>
            <a:lvl1pPr>
              <a:lnSpc>
                <a:spcPct val="95000"/>
              </a:lnSpc>
              <a:defRPr sz="4800" b="0" i="0" cap="none">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sp>
        <p:nvSpPr>
          <p:cNvPr id="11" name="Picture Placeholder 10"/>
          <p:cNvSpPr>
            <a:spLocks noGrp="1"/>
          </p:cNvSpPr>
          <p:nvPr>
            <p:ph type="pic" sz="quarter" idx="10"/>
          </p:nvPr>
        </p:nvSpPr>
        <p:spPr>
          <a:xfrm>
            <a:off x="150813" y="2213627"/>
            <a:ext cx="8829675" cy="4494213"/>
          </a:xfrm>
        </p:spPr>
        <p:txBody>
          <a:bodyPr/>
          <a:lstStyle/>
          <a:p>
            <a:r>
              <a:rPr lang="en-US" dirty="0"/>
              <a:t>Click icon to add picture</a:t>
            </a:r>
          </a:p>
        </p:txBody>
      </p:sp>
      <p:sp>
        <p:nvSpPr>
          <p:cNvPr id="12" name="Date Placeholder 11"/>
          <p:cNvSpPr>
            <a:spLocks noGrp="1"/>
          </p:cNvSpPr>
          <p:nvPr>
            <p:ph type="dt" sz="half" idx="11"/>
          </p:nvPr>
        </p:nvSpPr>
        <p:spPr>
          <a:xfrm>
            <a:off x="7223650" y="344650"/>
            <a:ext cx="1581319" cy="365125"/>
          </a:xfrm>
        </p:spPr>
        <p:txBody>
          <a:bodyPr/>
          <a:lstStyle>
            <a:lvl1pPr algn="r">
              <a:defRPr/>
            </a:lvl1pPr>
          </a:lstStyle>
          <a:p>
            <a:r>
              <a:rPr lang="en-US">
                <a:solidFill>
                  <a:srgbClr val="222221"/>
                </a:solidFill>
              </a:rPr>
              <a:t>February 2019</a:t>
            </a:r>
            <a:endParaRPr lang="en-US" dirty="0">
              <a:solidFill>
                <a:srgbClr val="222221"/>
              </a:solidFill>
            </a:endParaRPr>
          </a:p>
        </p:txBody>
      </p:sp>
    </p:spTree>
    <p:extLst>
      <p:ext uri="{BB962C8B-B14F-4D97-AF65-F5344CB8AC3E}">
        <p14:creationId xmlns:p14="http://schemas.microsoft.com/office/powerpoint/2010/main" val="34096519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425287" y="705602"/>
            <a:ext cx="8282151" cy="363537"/>
          </a:xfrm>
        </p:spPr>
        <p:txBody>
          <a:bodyPr>
            <a:noAutofit/>
          </a:bodyPr>
          <a:lstStyle>
            <a:lvl1pPr>
              <a:defRPr sz="1875" b="0">
                <a:solidFill>
                  <a:srgbClr val="222221"/>
                </a:solidFill>
              </a:defRPr>
            </a:lvl1pPr>
            <a:lvl2pPr>
              <a:defRPr sz="1875"/>
            </a:lvl2pPr>
            <a:lvl3pPr marL="0" indent="0">
              <a:buNone/>
              <a:defRPr sz="1875"/>
            </a:lvl3pPr>
            <a:lvl4pPr marL="0" indent="0">
              <a:buNone/>
              <a:defRPr sz="1875"/>
            </a:lvl4pPr>
            <a:lvl5pPr marL="0" indent="0">
              <a:buNone/>
              <a:defRPr sz="1875"/>
            </a:lvl5pPr>
            <a:lvl6pPr marL="1191" indent="0">
              <a:buNone/>
              <a:defRPr sz="1875" b="0" i="0">
                <a:latin typeface="Gill Sans Infant MT"/>
                <a:cs typeface="Gill Sans Infant MT"/>
              </a:defRPr>
            </a:lvl6pPr>
          </a:lstStyle>
          <a:p>
            <a:pPr lvl="0"/>
            <a:r>
              <a:rPr lang="en-US"/>
              <a:t>Edit Master text styles</a:t>
            </a:r>
          </a:p>
        </p:txBody>
      </p:sp>
    </p:spTree>
    <p:extLst>
      <p:ext uri="{BB962C8B-B14F-4D97-AF65-F5344CB8AC3E}">
        <p14:creationId xmlns:p14="http://schemas.microsoft.com/office/powerpoint/2010/main" val="41347934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1A3980-A444-4E6C-B6D9-D66D007EF76C}"/>
              </a:ext>
            </a:extLst>
          </p:cNvPr>
          <p:cNvSpPr/>
          <p:nvPr userDrawn="1"/>
        </p:nvSpPr>
        <p:spPr>
          <a:xfrm>
            <a:off x="0" y="0"/>
            <a:ext cx="9144000" cy="1171728"/>
          </a:xfrm>
          <a:prstGeom prst="rect">
            <a:avLst/>
          </a:prstGeom>
          <a:solidFill>
            <a:srgbClr val="D1CCBD"/>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040"/>
          </a:p>
        </p:txBody>
      </p:sp>
      <p:sp>
        <p:nvSpPr>
          <p:cNvPr id="3" name="Rectangle 2">
            <a:extLst>
              <a:ext uri="{FF2B5EF4-FFF2-40B4-BE49-F238E27FC236}">
                <a16:creationId xmlns:a16="http://schemas.microsoft.com/office/drawing/2014/main" id="{20501F02-50B7-4E84-843B-C30B611A38E6}"/>
              </a:ext>
            </a:extLst>
          </p:cNvPr>
          <p:cNvSpPr/>
          <p:nvPr userDrawn="1"/>
        </p:nvSpPr>
        <p:spPr>
          <a:xfrm>
            <a:off x="156865" y="149446"/>
            <a:ext cx="8824767" cy="10809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040"/>
          </a:p>
        </p:txBody>
      </p:sp>
      <p:cxnSp>
        <p:nvCxnSpPr>
          <p:cNvPr id="4" name="Straight Connector 3">
            <a:extLst>
              <a:ext uri="{FF2B5EF4-FFF2-40B4-BE49-F238E27FC236}">
                <a16:creationId xmlns:a16="http://schemas.microsoft.com/office/drawing/2014/main" id="{2C8A8452-B520-4A65-A4BF-F9D49B492A3D}"/>
              </a:ext>
            </a:extLst>
          </p:cNvPr>
          <p:cNvCxnSpPr/>
          <p:nvPr userDrawn="1"/>
        </p:nvCxnSpPr>
        <p:spPr>
          <a:xfrm>
            <a:off x="828354" y="1173561"/>
            <a:ext cx="7344188"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559083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Content Slide 05">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0"/>
            <a:ext cx="7326715" cy="6858000"/>
          </a:xfrm>
          <a:prstGeom prst="rect">
            <a:avLst/>
          </a:prstGeom>
        </p:spPr>
      </p:pic>
      <p:sp>
        <p:nvSpPr>
          <p:cNvPr id="8" name="Shape 11"/>
          <p:cNvSpPr>
            <a:spLocks noGrp="1"/>
          </p:cNvSpPr>
          <p:nvPr>
            <p:ph type="sldNum" sz="quarter" idx="2"/>
          </p:nvPr>
        </p:nvSpPr>
        <p:spPr>
          <a:xfrm>
            <a:off x="8628184" y="6408285"/>
            <a:ext cx="323563" cy="208856"/>
          </a:xfrm>
          <a:prstGeom prst="rect">
            <a:avLst/>
          </a:prstGeom>
        </p:spPr>
        <p:txBody>
          <a:bodyPr anchor="ctr"/>
          <a:lstStyle>
            <a:lvl1pPr algn="r">
              <a:defRPr sz="700">
                <a:latin typeface="UNFPA-Text" charset="0"/>
                <a:ea typeface="UNFPA-Text" charset="0"/>
                <a:cs typeface="UNFPA-Text" charset="0"/>
              </a:defRPr>
            </a:lvl1pPr>
          </a:lstStyle>
          <a:p>
            <a:fld id="{86CB4B4D-7CA3-9044-876B-883B54F8677D}" type="slidenum">
              <a:rPr lang="en-US" smtClean="0"/>
              <a:pPr/>
              <a:t>‹#›</a:t>
            </a:fld>
            <a:endParaRPr lang="en-US" dirty="0"/>
          </a:p>
        </p:txBody>
      </p:sp>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76333" y="401684"/>
            <a:ext cx="785471" cy="487011"/>
          </a:xfrm>
          <a:prstGeom prst="rect">
            <a:avLst/>
          </a:prstGeom>
        </p:spPr>
      </p:pic>
      <p:sp>
        <p:nvSpPr>
          <p:cNvPr id="11" name="Shape 190"/>
          <p:cNvSpPr>
            <a:spLocks noGrp="1"/>
          </p:cNvSpPr>
          <p:nvPr>
            <p:ph type="title" hasCustomPrompt="1"/>
          </p:nvPr>
        </p:nvSpPr>
        <p:spPr>
          <a:xfrm>
            <a:off x="2893103" y="829458"/>
            <a:ext cx="4714407" cy="509665"/>
          </a:xfrm>
          <a:prstGeom prst="rect">
            <a:avLst/>
          </a:prstGeom>
        </p:spPr>
        <p:txBody>
          <a:bodyPr anchor="ctr"/>
          <a:lstStyle>
            <a:lvl1pPr algn="l">
              <a:lnSpc>
                <a:spcPct val="100000"/>
              </a:lnSpc>
              <a:defRPr sz="4000" b="1" i="0" spc="-126" baseline="8928">
                <a:solidFill>
                  <a:schemeClr val="tx1">
                    <a:lumMod val="85000"/>
                    <a:lumOff val="15000"/>
                  </a:schemeClr>
                </a:solidFill>
                <a:latin typeface="UNFPA-Bold" charset="0"/>
                <a:ea typeface="UNFPA-Bold" charset="0"/>
                <a:cs typeface="UNFPA-Bold" charset="0"/>
              </a:defRPr>
            </a:lvl1pPr>
          </a:lstStyle>
          <a:p>
            <a:r>
              <a:rPr lang="en-GB" dirty="0"/>
              <a:t>Lorem Ipsum</a:t>
            </a:r>
            <a:endParaRPr dirty="0"/>
          </a:p>
        </p:txBody>
      </p:sp>
      <p:sp>
        <p:nvSpPr>
          <p:cNvPr id="12" name="Shape 191"/>
          <p:cNvSpPr>
            <a:spLocks noGrp="1"/>
          </p:cNvSpPr>
          <p:nvPr>
            <p:ph type="body" sz="quarter" idx="1" hasCustomPrompt="1"/>
          </p:nvPr>
        </p:nvSpPr>
        <p:spPr>
          <a:xfrm>
            <a:off x="2893103" y="1678900"/>
            <a:ext cx="5628341" cy="4502800"/>
          </a:xfrm>
          <a:prstGeom prst="rect">
            <a:avLst/>
          </a:prstGeom>
        </p:spPr>
        <p:txBody>
          <a:bodyPr anchor="t">
            <a:normAutofit/>
          </a:bodyPr>
          <a:lstStyle>
            <a:lvl1pPr>
              <a:defRPr sz="2100">
                <a:solidFill>
                  <a:schemeClr val="tx1"/>
                </a:solidFill>
                <a:latin typeface="UNFPA-Text" charset="0"/>
                <a:ea typeface="UNFPA-Text" charset="0"/>
                <a:cs typeface="UNFPA-Text" charset="0"/>
              </a:defRPr>
            </a:lvl1pPr>
            <a:lvl2pPr>
              <a:defRPr sz="1950">
                <a:latin typeface="UNFPA-Text" charset="0"/>
                <a:ea typeface="UNFPA-Text" charset="0"/>
                <a:cs typeface="UNFPA-Text" charset="0"/>
              </a:defRPr>
            </a:lvl2pPr>
            <a:lvl3pPr>
              <a:defRPr sz="1800">
                <a:latin typeface="UNFPA-Text" charset="0"/>
                <a:ea typeface="UNFPA-Text" charset="0"/>
                <a:cs typeface="UNFPA-Text" charset="0"/>
              </a:defRPr>
            </a:lvl3pPr>
            <a:lvl4pPr>
              <a:defRPr sz="1500">
                <a:latin typeface="UNFPA-Text" charset="0"/>
                <a:ea typeface="UNFPA-Text" charset="0"/>
                <a:cs typeface="UNFPA-Text" charset="0"/>
              </a:defRPr>
            </a:lvl4pPr>
            <a:lvl5pPr>
              <a:defRPr>
                <a:latin typeface="UNFPA-Text" charset="0"/>
                <a:ea typeface="UNFPA-Text" charset="0"/>
                <a:cs typeface="UNFPA-Text" charset="0"/>
              </a:defRPr>
            </a:lvl5pPr>
          </a:lstStyle>
          <a:p>
            <a:pPr lvl="0"/>
            <a:r>
              <a:rPr lang="en-GB" dirty="0"/>
              <a:t>Text here</a:t>
            </a:r>
          </a:p>
          <a:p>
            <a:pPr lvl="1"/>
            <a:r>
              <a:rPr lang="en-GB" dirty="0"/>
              <a:t>Ii</a:t>
            </a:r>
          </a:p>
          <a:p>
            <a:pPr lvl="2"/>
            <a:r>
              <a:rPr lang="en-GB" dirty="0" err="1"/>
              <a:t>Uu</a:t>
            </a:r>
            <a:endParaRPr lang="en-GB" dirty="0"/>
          </a:p>
          <a:p>
            <a:pPr lvl="3"/>
            <a:r>
              <a:rPr lang="en-GB" dirty="0" err="1"/>
              <a:t>uu</a:t>
            </a:r>
            <a:endParaRPr lang="en-GB" dirty="0"/>
          </a:p>
          <a:p>
            <a:pPr lvl="2"/>
            <a:endParaRPr dirty="0"/>
          </a:p>
        </p:txBody>
      </p:sp>
      <p:pic>
        <p:nvPicPr>
          <p:cNvPr id="7" name="Picture 6">
            <a:extLst>
              <a:ext uri="{FF2B5EF4-FFF2-40B4-BE49-F238E27FC236}">
                <a16:creationId xmlns:a16="http://schemas.microsoft.com/office/drawing/2014/main" id="{1A18AE20-7899-634D-94D3-1D94C65ED1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7326715" cy="6858000"/>
          </a:xfrm>
          <a:prstGeom prst="rect">
            <a:avLst/>
          </a:prstGeom>
        </p:spPr>
      </p:pic>
      <p:pic>
        <p:nvPicPr>
          <p:cNvPr id="10" name="Picture 9">
            <a:extLst>
              <a:ext uri="{FF2B5EF4-FFF2-40B4-BE49-F238E27FC236}">
                <a16:creationId xmlns:a16="http://schemas.microsoft.com/office/drawing/2014/main" id="{A3B432F0-0463-7441-B854-66C531B499B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76333" y="401684"/>
            <a:ext cx="785471" cy="487011"/>
          </a:xfrm>
          <a:prstGeom prst="rect">
            <a:avLst/>
          </a:prstGeom>
        </p:spPr>
      </p:pic>
    </p:spTree>
    <p:extLst>
      <p:ext uri="{BB962C8B-B14F-4D97-AF65-F5344CB8AC3E}">
        <p14:creationId xmlns:p14="http://schemas.microsoft.com/office/powerpoint/2010/main" val="84331420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1217" y="103950"/>
            <a:ext cx="8440615" cy="867600"/>
          </a:xfrm>
          <a:solidFill>
            <a:srgbClr val="FFFFFF"/>
          </a:solidFill>
          <a:ln>
            <a:solidFill>
              <a:srgbClr val="FFFFFF"/>
            </a:solidFill>
          </a:ln>
        </p:spPr>
        <p:txBody>
          <a:bodyPr/>
          <a:lstStyle/>
          <a:p>
            <a:r>
              <a:rPr lang="en-US"/>
              <a:t>Click to edit Master title style</a:t>
            </a:r>
          </a:p>
        </p:txBody>
      </p:sp>
    </p:spTree>
    <p:extLst>
      <p:ext uri="{BB962C8B-B14F-4D97-AF65-F5344CB8AC3E}">
        <p14:creationId xmlns:p14="http://schemas.microsoft.com/office/powerpoint/2010/main" val="23975659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cSld name="Two Content">
    <p:spTree>
      <p:nvGrpSpPr>
        <p:cNvPr id="1" name=""/>
        <p:cNvGrpSpPr/>
        <p:nvPr/>
      </p:nvGrpSpPr>
      <p:grpSpPr>
        <a:xfrm>
          <a:off x="0" y="0"/>
          <a:ext cx="0" cy="0"/>
          <a:chOff x="0" y="0"/>
          <a:chExt cx="0" cy="0"/>
        </a:xfrm>
      </p:grpSpPr>
      <p:sp>
        <p:nvSpPr>
          <p:cNvPr id="5" name="bk object 16">
            <a:extLst>
              <a:ext uri="{FF2B5EF4-FFF2-40B4-BE49-F238E27FC236}">
                <a16:creationId xmlns:a16="http://schemas.microsoft.com/office/drawing/2014/main" id="{62A07A57-FD36-44EE-A6FE-2030C54F40BB}"/>
              </a:ext>
            </a:extLst>
          </p:cNvPr>
          <p:cNvSpPr>
            <a:spLocks noChangeArrowheads="1"/>
          </p:cNvSpPr>
          <p:nvPr/>
        </p:nvSpPr>
        <p:spPr bwMode="auto">
          <a:xfrm>
            <a:off x="0" y="0"/>
            <a:ext cx="9144918" cy="5854972"/>
          </a:xfrm>
          <a:prstGeom prst="rect">
            <a:avLst/>
          </a:prstGeom>
          <a:blipFill dpi="0" rotWithShape="1">
            <a:blip r:embed="rId2"/>
            <a:srcRect/>
            <a:stretch>
              <a:fillRect/>
            </a:stretch>
          </a:blipFill>
          <a:ln>
            <a:noFill/>
          </a:ln>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040"/>
          </a:p>
        </p:txBody>
      </p:sp>
      <p:sp>
        <p:nvSpPr>
          <p:cNvPr id="6" name="bk object 17">
            <a:extLst>
              <a:ext uri="{FF2B5EF4-FFF2-40B4-BE49-F238E27FC236}">
                <a16:creationId xmlns:a16="http://schemas.microsoft.com/office/drawing/2014/main" id="{F2A729C3-0B4C-42D4-80B5-77A3DCF276A6}"/>
              </a:ext>
            </a:extLst>
          </p:cNvPr>
          <p:cNvSpPr>
            <a:spLocks noChangeArrowheads="1"/>
          </p:cNvSpPr>
          <p:nvPr/>
        </p:nvSpPr>
        <p:spPr bwMode="auto">
          <a:xfrm>
            <a:off x="0" y="0"/>
            <a:ext cx="9144918" cy="5854972"/>
          </a:xfrm>
          <a:prstGeom prst="rect">
            <a:avLst/>
          </a:prstGeom>
          <a:blipFill dpi="0" rotWithShape="1">
            <a:blip r:embed="rId3"/>
            <a:srcRect/>
            <a:stretch>
              <a:fillRect/>
            </a:stretch>
          </a:blipFill>
          <a:ln>
            <a:noFill/>
          </a:ln>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040"/>
          </a:p>
        </p:txBody>
      </p:sp>
      <p:sp>
        <p:nvSpPr>
          <p:cNvPr id="7" name="bk object 18">
            <a:extLst>
              <a:ext uri="{FF2B5EF4-FFF2-40B4-BE49-F238E27FC236}">
                <a16:creationId xmlns:a16="http://schemas.microsoft.com/office/drawing/2014/main" id="{59B0C828-3864-43FB-AAF1-BDDCAF088148}"/>
              </a:ext>
            </a:extLst>
          </p:cNvPr>
          <p:cNvSpPr>
            <a:spLocks/>
          </p:cNvSpPr>
          <p:nvPr/>
        </p:nvSpPr>
        <p:spPr bwMode="auto">
          <a:xfrm>
            <a:off x="0" y="5795377"/>
            <a:ext cx="9144918" cy="118273"/>
          </a:xfrm>
          <a:custGeom>
            <a:avLst/>
            <a:gdLst>
              <a:gd name="T0" fmla="*/ 0 w 15825596"/>
              <a:gd name="T1" fmla="*/ 0 h 204177"/>
              <a:gd name="T2" fmla="*/ 0 w 15825596"/>
              <a:gd name="T3" fmla="*/ 206628 h 204177"/>
              <a:gd name="T4" fmla="*/ 15826364 w 15825596"/>
              <a:gd name="T5" fmla="*/ 206628 h 204177"/>
              <a:gd name="T6" fmla="*/ 15826364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 name="bk object 19">
            <a:extLst>
              <a:ext uri="{FF2B5EF4-FFF2-40B4-BE49-F238E27FC236}">
                <a16:creationId xmlns:a16="http://schemas.microsoft.com/office/drawing/2014/main" id="{5043777E-DB95-4E24-B226-4878698E3940}"/>
              </a:ext>
            </a:extLst>
          </p:cNvPr>
          <p:cNvSpPr>
            <a:spLocks/>
          </p:cNvSpPr>
          <p:nvPr/>
        </p:nvSpPr>
        <p:spPr bwMode="auto">
          <a:xfrm>
            <a:off x="0" y="5603756"/>
            <a:ext cx="1436547"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 name="bk object 20">
            <a:extLst>
              <a:ext uri="{FF2B5EF4-FFF2-40B4-BE49-F238E27FC236}">
                <a16:creationId xmlns:a16="http://schemas.microsoft.com/office/drawing/2014/main" id="{715E7081-23B5-4CE3-BEA5-0B536A12BF0E}"/>
              </a:ext>
            </a:extLst>
          </p:cNvPr>
          <p:cNvSpPr>
            <a:spLocks/>
          </p:cNvSpPr>
          <p:nvPr/>
        </p:nvSpPr>
        <p:spPr bwMode="auto">
          <a:xfrm>
            <a:off x="0" y="0"/>
            <a:ext cx="9144918"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 name="bk object 21">
            <a:extLst>
              <a:ext uri="{FF2B5EF4-FFF2-40B4-BE49-F238E27FC236}">
                <a16:creationId xmlns:a16="http://schemas.microsoft.com/office/drawing/2014/main" id="{554336A0-936C-4D82-B332-A8139F50F0F3}"/>
              </a:ext>
            </a:extLst>
          </p:cNvPr>
          <p:cNvSpPr>
            <a:spLocks/>
          </p:cNvSpPr>
          <p:nvPr/>
        </p:nvSpPr>
        <p:spPr bwMode="auto">
          <a:xfrm>
            <a:off x="8428478" y="264051"/>
            <a:ext cx="716439"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 name="Holder 2"/>
          <p:cNvSpPr>
            <a:spLocks noGrp="1"/>
          </p:cNvSpPr>
          <p:nvPr>
            <p:ph type="title"/>
          </p:nvPr>
        </p:nvSpPr>
        <p:spPr/>
        <p:txBody>
          <a:bodyPr/>
          <a:lstStyle/>
          <a:p>
            <a:endParaRPr/>
          </a:p>
        </p:txBody>
      </p:sp>
      <p:sp>
        <p:nvSpPr>
          <p:cNvPr id="3" name="Holder 3"/>
          <p:cNvSpPr>
            <a:spLocks noGrp="1"/>
          </p:cNvSpPr>
          <p:nvPr>
            <p:ph sz="half" idx="2"/>
          </p:nvPr>
        </p:nvSpPr>
        <p:spPr>
          <a:xfrm>
            <a:off x="457255" y="1577340"/>
            <a:ext cx="3978118" cy="4526280"/>
          </a:xfrm>
          <a:prstGeom prst="rect">
            <a:avLst/>
          </a:prstGeom>
        </p:spPr>
        <p:txBody>
          <a:bodyPr>
            <a:noAutofit/>
          </a:bodyPr>
          <a:lstStyle/>
          <a:p>
            <a:endParaRPr/>
          </a:p>
        </p:txBody>
      </p:sp>
      <p:sp>
        <p:nvSpPr>
          <p:cNvPr id="4" name="Holder 4"/>
          <p:cNvSpPr>
            <a:spLocks noGrp="1"/>
          </p:cNvSpPr>
          <p:nvPr>
            <p:ph sz="half" idx="3"/>
          </p:nvPr>
        </p:nvSpPr>
        <p:spPr>
          <a:xfrm>
            <a:off x="4709727" y="1577340"/>
            <a:ext cx="3978118" cy="4526280"/>
          </a:xfrm>
          <a:prstGeom prst="rect">
            <a:avLst/>
          </a:prstGeom>
        </p:spPr>
        <p:txBody>
          <a:bodyPr>
            <a:noAutofit/>
          </a:bodyPr>
          <a:lstStyle/>
          <a:p>
            <a:endParaRPr/>
          </a:p>
        </p:txBody>
      </p:sp>
      <p:sp>
        <p:nvSpPr>
          <p:cNvPr id="11" name="Holder 5">
            <a:extLst>
              <a:ext uri="{FF2B5EF4-FFF2-40B4-BE49-F238E27FC236}">
                <a16:creationId xmlns:a16="http://schemas.microsoft.com/office/drawing/2014/main" id="{19F3F930-6DAE-4B4B-88EC-5744236AE2F2}"/>
              </a:ext>
            </a:extLst>
          </p:cNvPr>
          <p:cNvSpPr>
            <a:spLocks noGrp="1"/>
          </p:cNvSpPr>
          <p:nvPr>
            <p:ph type="ftr" sz="quarter" idx="10"/>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p>
        </p:txBody>
      </p:sp>
      <p:sp>
        <p:nvSpPr>
          <p:cNvPr id="12" name="Holder 6">
            <a:extLst>
              <a:ext uri="{FF2B5EF4-FFF2-40B4-BE49-F238E27FC236}">
                <a16:creationId xmlns:a16="http://schemas.microsoft.com/office/drawing/2014/main" id="{B0295A46-8066-4041-9D2B-DB2725221DB7}"/>
              </a:ext>
            </a:extLst>
          </p:cNvPr>
          <p:cNvSpPr>
            <a:spLocks noGrp="1"/>
          </p:cNvSpPr>
          <p:nvPr>
            <p:ph type="dt" sz="half" idx="11"/>
          </p:nvPr>
        </p:nvSpPr>
        <p:spPr/>
        <p:txBody>
          <a:bodyPr/>
          <a:lstStyle>
            <a:lvl1pPr algn="l">
              <a:defRPr>
                <a:solidFill>
                  <a:schemeClr val="tx1">
                    <a:tint val="75000"/>
                  </a:schemeClr>
                </a:solidFill>
              </a:defRPr>
            </a:lvl1pPr>
          </a:lstStyle>
          <a:p>
            <a:pPr>
              <a:defRPr/>
            </a:pPr>
            <a:fld id="{7F082BCA-F5D8-4183-A22F-E895B195DC3F}" type="datetimeFigureOut">
              <a:rPr lang="en-US"/>
              <a:pPr>
                <a:defRPr/>
              </a:pPr>
              <a:t>7/25/2022</a:t>
            </a:fld>
            <a:endParaRPr lang="en-US"/>
          </a:p>
        </p:txBody>
      </p:sp>
      <p:sp>
        <p:nvSpPr>
          <p:cNvPr id="13" name="Holder 7">
            <a:extLst>
              <a:ext uri="{FF2B5EF4-FFF2-40B4-BE49-F238E27FC236}">
                <a16:creationId xmlns:a16="http://schemas.microsoft.com/office/drawing/2014/main" id="{EDCB1376-306D-441A-8088-0725E377FB60}"/>
              </a:ext>
            </a:extLst>
          </p:cNvPr>
          <p:cNvSpPr>
            <a:spLocks noGrp="1"/>
          </p:cNvSpPr>
          <p:nvPr>
            <p:ph type="sldNum" sz="quarter" idx="12"/>
          </p:nvPr>
        </p:nvSpPr>
        <p:spPr/>
        <p:txBody>
          <a:bodyPr/>
          <a:lstStyle>
            <a:lvl1pPr>
              <a:defRPr/>
            </a:lvl1pPr>
          </a:lstStyle>
          <a:p>
            <a:pPr>
              <a:defRPr/>
            </a:pPr>
            <a:fld id="{8E1751C3-27C5-4C4C-AE7D-9B82AAD6B7E2}" type="slidenum">
              <a:rPr lang="en-US" altLang="en-US"/>
              <a:pPr>
                <a:defRPr/>
              </a:pPr>
              <a:t>‹#›</a:t>
            </a:fld>
            <a:endParaRPr lang="en-US" altLang="en-US"/>
          </a:p>
        </p:txBody>
      </p:sp>
    </p:spTree>
    <p:extLst>
      <p:ext uri="{BB962C8B-B14F-4D97-AF65-F5344CB8AC3E}">
        <p14:creationId xmlns:p14="http://schemas.microsoft.com/office/powerpoint/2010/main" val="29984696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1" y="1681163"/>
            <a:ext cx="3868340" cy="823912"/>
          </a:xfrm>
        </p:spPr>
        <p:txBody>
          <a:bodyPr anchor="b"/>
          <a:lstStyle>
            <a:lvl1pPr marL="0" indent="0">
              <a:buNone/>
              <a:defRPr sz="1799" b="1"/>
            </a:lvl1pPr>
            <a:lvl2pPr marL="342689" indent="0">
              <a:buNone/>
              <a:defRPr sz="1499" b="1"/>
            </a:lvl2pPr>
            <a:lvl3pPr marL="685377" indent="0">
              <a:buNone/>
              <a:defRPr sz="1349" b="1"/>
            </a:lvl3pPr>
            <a:lvl4pPr marL="1028066" indent="0">
              <a:buNone/>
              <a:defRPr sz="1199" b="1"/>
            </a:lvl4pPr>
            <a:lvl5pPr marL="1370754" indent="0">
              <a:buNone/>
              <a:defRPr sz="1199" b="1"/>
            </a:lvl5pPr>
            <a:lvl6pPr marL="1713442" indent="0">
              <a:buNone/>
              <a:defRPr sz="1199" b="1"/>
            </a:lvl6pPr>
            <a:lvl7pPr marL="2056130" indent="0">
              <a:buNone/>
              <a:defRPr sz="1199" b="1"/>
            </a:lvl7pPr>
            <a:lvl8pPr marL="2398819" indent="0">
              <a:buNone/>
              <a:defRPr sz="1199" b="1"/>
            </a:lvl8pPr>
            <a:lvl9pPr marL="2741507" indent="0">
              <a:buNone/>
              <a:defRPr sz="1199" b="1"/>
            </a:lvl9pPr>
          </a:lstStyle>
          <a:p>
            <a:pPr lvl="0"/>
            <a:r>
              <a:rPr lang="en-US"/>
              <a:t>Click to edit Master text styles</a:t>
            </a:r>
          </a:p>
        </p:txBody>
      </p:sp>
      <p:sp>
        <p:nvSpPr>
          <p:cNvPr id="4" name="Content Placeholder 3"/>
          <p:cNvSpPr>
            <a:spLocks noGrp="1"/>
          </p:cNvSpPr>
          <p:nvPr>
            <p:ph sz="half" idx="2"/>
          </p:nvPr>
        </p:nvSpPr>
        <p:spPr>
          <a:xfrm>
            <a:off x="629841"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799" b="1"/>
            </a:lvl1pPr>
            <a:lvl2pPr marL="342689" indent="0">
              <a:buNone/>
              <a:defRPr sz="1499" b="1"/>
            </a:lvl2pPr>
            <a:lvl3pPr marL="685377" indent="0">
              <a:buNone/>
              <a:defRPr sz="1349" b="1"/>
            </a:lvl3pPr>
            <a:lvl4pPr marL="1028066" indent="0">
              <a:buNone/>
              <a:defRPr sz="1199" b="1"/>
            </a:lvl4pPr>
            <a:lvl5pPr marL="1370754" indent="0">
              <a:buNone/>
              <a:defRPr sz="1199" b="1"/>
            </a:lvl5pPr>
            <a:lvl6pPr marL="1713442" indent="0">
              <a:buNone/>
              <a:defRPr sz="1199" b="1"/>
            </a:lvl6pPr>
            <a:lvl7pPr marL="2056130" indent="0">
              <a:buNone/>
              <a:defRPr sz="1199" b="1"/>
            </a:lvl7pPr>
            <a:lvl8pPr marL="2398819" indent="0">
              <a:buNone/>
              <a:defRPr sz="1199" b="1"/>
            </a:lvl8pPr>
            <a:lvl9pPr marL="2741507" indent="0">
              <a:buNone/>
              <a:defRPr sz="1199"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6CB04633-DDFE-48E6-8E74-AE9CB315D8D7}"/>
              </a:ext>
            </a:extLst>
          </p:cNvPr>
          <p:cNvSpPr>
            <a:spLocks noGrp="1"/>
          </p:cNvSpPr>
          <p:nvPr>
            <p:ph type="dt" sz="half" idx="10"/>
          </p:nvPr>
        </p:nvSpPr>
        <p:spPr/>
        <p:txBody>
          <a:bodyPr/>
          <a:lstStyle>
            <a:lvl1pPr>
              <a:defRPr/>
            </a:lvl1pPr>
          </a:lstStyle>
          <a:p>
            <a:pPr>
              <a:defRPr/>
            </a:pPr>
            <a:fld id="{1C48F185-0D64-460C-9B15-21A71B16C51F}" type="datetimeFigureOut">
              <a:rPr lang="en-US"/>
              <a:pPr>
                <a:defRPr/>
              </a:pPr>
              <a:t>7/25/2022</a:t>
            </a:fld>
            <a:endParaRPr lang="en-US"/>
          </a:p>
        </p:txBody>
      </p:sp>
      <p:sp>
        <p:nvSpPr>
          <p:cNvPr id="8" name="Footer Placeholder 4">
            <a:extLst>
              <a:ext uri="{FF2B5EF4-FFF2-40B4-BE49-F238E27FC236}">
                <a16:creationId xmlns:a16="http://schemas.microsoft.com/office/drawing/2014/main" id="{9835A2C9-F1EF-4B5E-BDD4-50A05123332A}"/>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9" name="Slide Number Placeholder 5">
            <a:extLst>
              <a:ext uri="{FF2B5EF4-FFF2-40B4-BE49-F238E27FC236}">
                <a16:creationId xmlns:a16="http://schemas.microsoft.com/office/drawing/2014/main" id="{7DCA9D79-2DC7-4336-9ABD-B38AF5ABFE25}"/>
              </a:ext>
            </a:extLst>
          </p:cNvPr>
          <p:cNvSpPr>
            <a:spLocks noGrp="1"/>
          </p:cNvSpPr>
          <p:nvPr>
            <p:ph type="sldNum" sz="quarter" idx="12"/>
          </p:nvPr>
        </p:nvSpPr>
        <p:spPr/>
        <p:txBody>
          <a:bodyPr/>
          <a:lstStyle>
            <a:lvl1pPr>
              <a:defRPr/>
            </a:lvl1pPr>
          </a:lstStyle>
          <a:p>
            <a:pPr>
              <a:defRPr/>
            </a:pPr>
            <a:fld id="{5831B095-ED27-4F0B-A033-D7FC5628C708}" type="slidenum">
              <a:rPr lang="en-US" altLang="en-US"/>
              <a:pPr>
                <a:defRPr/>
              </a:pPr>
              <a:t>‹#›</a:t>
            </a:fld>
            <a:endParaRPr lang="en-US" altLang="en-US"/>
          </a:p>
        </p:txBody>
      </p:sp>
    </p:spTree>
    <p:extLst>
      <p:ext uri="{BB962C8B-B14F-4D97-AF65-F5344CB8AC3E}">
        <p14:creationId xmlns:p14="http://schemas.microsoft.com/office/powerpoint/2010/main" val="9013100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497"/>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1799">
                <a:solidFill>
                  <a:schemeClr val="tx1">
                    <a:tint val="75000"/>
                  </a:schemeClr>
                </a:solidFill>
              </a:defRPr>
            </a:lvl1pPr>
            <a:lvl2pPr marL="342689" indent="0">
              <a:buNone/>
              <a:defRPr sz="1499">
                <a:solidFill>
                  <a:schemeClr val="tx1">
                    <a:tint val="75000"/>
                  </a:schemeClr>
                </a:solidFill>
              </a:defRPr>
            </a:lvl2pPr>
            <a:lvl3pPr marL="685377" indent="0">
              <a:buNone/>
              <a:defRPr sz="1349">
                <a:solidFill>
                  <a:schemeClr val="tx1">
                    <a:tint val="75000"/>
                  </a:schemeClr>
                </a:solidFill>
              </a:defRPr>
            </a:lvl3pPr>
            <a:lvl4pPr marL="1028066" indent="0">
              <a:buNone/>
              <a:defRPr sz="1199">
                <a:solidFill>
                  <a:schemeClr val="tx1">
                    <a:tint val="75000"/>
                  </a:schemeClr>
                </a:solidFill>
              </a:defRPr>
            </a:lvl4pPr>
            <a:lvl5pPr marL="1370754" indent="0">
              <a:buNone/>
              <a:defRPr sz="1199">
                <a:solidFill>
                  <a:schemeClr val="tx1">
                    <a:tint val="75000"/>
                  </a:schemeClr>
                </a:solidFill>
              </a:defRPr>
            </a:lvl5pPr>
            <a:lvl6pPr marL="1713442" indent="0">
              <a:buNone/>
              <a:defRPr sz="1199">
                <a:solidFill>
                  <a:schemeClr val="tx1">
                    <a:tint val="75000"/>
                  </a:schemeClr>
                </a:solidFill>
              </a:defRPr>
            </a:lvl6pPr>
            <a:lvl7pPr marL="2056130" indent="0">
              <a:buNone/>
              <a:defRPr sz="1199">
                <a:solidFill>
                  <a:schemeClr val="tx1">
                    <a:tint val="75000"/>
                  </a:schemeClr>
                </a:solidFill>
              </a:defRPr>
            </a:lvl7pPr>
            <a:lvl8pPr marL="2398819" indent="0">
              <a:buNone/>
              <a:defRPr sz="1199">
                <a:solidFill>
                  <a:schemeClr val="tx1">
                    <a:tint val="75000"/>
                  </a:schemeClr>
                </a:solidFill>
              </a:defRPr>
            </a:lvl8pPr>
            <a:lvl9pPr marL="2741507" indent="0">
              <a:buNone/>
              <a:defRPr sz="1199">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78D0178-06C0-4EAF-B042-658ED6D6A94D}"/>
              </a:ext>
            </a:extLst>
          </p:cNvPr>
          <p:cNvSpPr>
            <a:spLocks noGrp="1"/>
          </p:cNvSpPr>
          <p:nvPr>
            <p:ph type="dt" sz="half" idx="10"/>
          </p:nvPr>
        </p:nvSpPr>
        <p:spPr/>
        <p:txBody>
          <a:bodyPr/>
          <a:lstStyle>
            <a:lvl1pPr>
              <a:defRPr/>
            </a:lvl1pPr>
          </a:lstStyle>
          <a:p>
            <a:pPr>
              <a:defRPr/>
            </a:pPr>
            <a:fld id="{39FF6C61-70C6-42BD-88D3-416ED71AB0EA}" type="datetimeFigureOut">
              <a:rPr lang="en-US"/>
              <a:pPr>
                <a:defRPr/>
              </a:pPr>
              <a:t>7/25/2022</a:t>
            </a:fld>
            <a:endParaRPr lang="en-US"/>
          </a:p>
        </p:txBody>
      </p:sp>
      <p:sp>
        <p:nvSpPr>
          <p:cNvPr id="5" name="Footer Placeholder 4">
            <a:extLst>
              <a:ext uri="{FF2B5EF4-FFF2-40B4-BE49-F238E27FC236}">
                <a16:creationId xmlns:a16="http://schemas.microsoft.com/office/drawing/2014/main" id="{CD647BD0-8197-432A-B816-454CFB435CA0}"/>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FB445B05-2BC7-4F4E-936B-09605AE75883}"/>
              </a:ext>
            </a:extLst>
          </p:cNvPr>
          <p:cNvSpPr>
            <a:spLocks noGrp="1"/>
          </p:cNvSpPr>
          <p:nvPr>
            <p:ph type="sldNum" sz="quarter" idx="12"/>
          </p:nvPr>
        </p:nvSpPr>
        <p:spPr/>
        <p:txBody>
          <a:bodyPr/>
          <a:lstStyle>
            <a:lvl1pPr>
              <a:defRPr/>
            </a:lvl1pPr>
          </a:lstStyle>
          <a:p>
            <a:pPr>
              <a:defRPr/>
            </a:pPr>
            <a:fld id="{6CD34C59-C5F5-4F6C-BDA3-8FBFE252F721}" type="slidenum">
              <a:rPr lang="en-US" altLang="en-US"/>
              <a:pPr>
                <a:defRPr/>
              </a:pPr>
              <a:t>‹#›</a:t>
            </a:fld>
            <a:endParaRPr lang="en-US" altLang="en-US"/>
          </a:p>
        </p:txBody>
      </p:sp>
    </p:spTree>
    <p:extLst>
      <p:ext uri="{BB962C8B-B14F-4D97-AF65-F5344CB8AC3E}">
        <p14:creationId xmlns:p14="http://schemas.microsoft.com/office/powerpoint/2010/main" val="1901318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sv-SE"/>
              <a:t>Klicka här för att ändra format</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6935" indent="0" algn="ctr">
              <a:buNone/>
              <a:defRPr/>
            </a:lvl2pPr>
            <a:lvl3pPr marL="913871" indent="0" algn="ctr">
              <a:buNone/>
              <a:defRPr/>
            </a:lvl3pPr>
            <a:lvl4pPr marL="1370807" indent="0" algn="ctr">
              <a:buNone/>
              <a:defRPr/>
            </a:lvl4pPr>
            <a:lvl5pPr marL="1827742" indent="0" algn="ctr">
              <a:buNone/>
              <a:defRPr/>
            </a:lvl5pPr>
            <a:lvl6pPr marL="2284678" indent="0" algn="ctr">
              <a:buNone/>
              <a:defRPr/>
            </a:lvl6pPr>
            <a:lvl7pPr marL="2741613" indent="0" algn="ctr">
              <a:buNone/>
              <a:defRPr/>
            </a:lvl7pPr>
            <a:lvl8pPr marL="3198548" indent="0" algn="ctr">
              <a:buNone/>
              <a:defRPr/>
            </a:lvl8pPr>
            <a:lvl9pPr marL="3655484" indent="0" algn="ctr">
              <a:buNone/>
              <a:defRPr/>
            </a:lvl9pPr>
          </a:lstStyle>
          <a:p>
            <a:r>
              <a:rPr lang="sv-SE"/>
              <a:t>Klicka här för att ändra format på underrubrik i bakgrunden</a:t>
            </a:r>
            <a:endParaRPr lang="en-GB"/>
          </a:p>
        </p:txBody>
      </p:sp>
      <p:sp>
        <p:nvSpPr>
          <p:cNvPr id="4" name="Rectangle 4">
            <a:extLst>
              <a:ext uri="{FF2B5EF4-FFF2-40B4-BE49-F238E27FC236}">
                <a16:creationId xmlns:a16="http://schemas.microsoft.com/office/drawing/2014/main" id="{372DB1A8-77A4-44D4-8B64-3CD517C96ABF}"/>
              </a:ext>
            </a:extLst>
          </p:cNvPr>
          <p:cNvSpPr>
            <a:spLocks noGrp="1" noChangeArrowheads="1"/>
          </p:cNvSpPr>
          <p:nvPr>
            <p:ph type="dt" sz="half" idx="10"/>
          </p:nvPr>
        </p:nvSpPr>
        <p:spPr>
          <a:ln/>
        </p:spPr>
        <p:txBody>
          <a:bodyPr/>
          <a:lstStyle>
            <a:lvl1pPr>
              <a:defRPr/>
            </a:lvl1pPr>
          </a:lstStyle>
          <a:p>
            <a:pPr>
              <a:defRPr/>
            </a:pPr>
            <a:endParaRPr lang="en-GB"/>
          </a:p>
        </p:txBody>
      </p:sp>
      <p:sp>
        <p:nvSpPr>
          <p:cNvPr id="5" name="Rectangle 5">
            <a:extLst>
              <a:ext uri="{FF2B5EF4-FFF2-40B4-BE49-F238E27FC236}">
                <a16:creationId xmlns:a16="http://schemas.microsoft.com/office/drawing/2014/main" id="{56A972AA-1681-45DF-B06C-A52CF25C5DBA}"/>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5A9FD8BA-2E50-453C-9C66-47E51CB8C280}"/>
              </a:ext>
            </a:extLst>
          </p:cNvPr>
          <p:cNvSpPr>
            <a:spLocks noGrp="1" noChangeArrowheads="1"/>
          </p:cNvSpPr>
          <p:nvPr>
            <p:ph type="sldNum" sz="quarter" idx="12"/>
          </p:nvPr>
        </p:nvSpPr>
        <p:spPr>
          <a:ln/>
        </p:spPr>
        <p:txBody>
          <a:bodyPr/>
          <a:lstStyle>
            <a:lvl1pPr>
              <a:defRPr/>
            </a:lvl1pPr>
          </a:lstStyle>
          <a:p>
            <a:fld id="{BEA64705-BDD4-4162-ACFD-0B94E32B4275}" type="slidenum">
              <a:rPr lang="en-GB" altLang="sv-SE"/>
              <a:pPr/>
              <a:t>‹#›</a:t>
            </a:fld>
            <a:endParaRPr lang="en-GB" altLang="sv-SE"/>
          </a:p>
        </p:txBody>
      </p:sp>
    </p:spTree>
    <p:extLst>
      <p:ext uri="{BB962C8B-B14F-4D97-AF65-F5344CB8AC3E}">
        <p14:creationId xmlns:p14="http://schemas.microsoft.com/office/powerpoint/2010/main" val="7430256"/>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format</a:t>
            </a:r>
            <a:endParaRPr lang="en-GB"/>
          </a:p>
        </p:txBody>
      </p:sp>
      <p:sp>
        <p:nvSpPr>
          <p:cNvPr id="3" name="Content Placeholder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Rectangle 4">
            <a:extLst>
              <a:ext uri="{FF2B5EF4-FFF2-40B4-BE49-F238E27FC236}">
                <a16:creationId xmlns:a16="http://schemas.microsoft.com/office/drawing/2014/main" id="{79C14556-769A-4277-80CE-1BEDA946F44A}"/>
              </a:ext>
            </a:extLst>
          </p:cNvPr>
          <p:cNvSpPr>
            <a:spLocks noGrp="1" noChangeArrowheads="1"/>
          </p:cNvSpPr>
          <p:nvPr>
            <p:ph type="dt" sz="half" idx="10"/>
          </p:nvPr>
        </p:nvSpPr>
        <p:spPr>
          <a:ln/>
        </p:spPr>
        <p:txBody>
          <a:bodyPr/>
          <a:lstStyle>
            <a:lvl1pPr>
              <a:defRPr/>
            </a:lvl1pPr>
          </a:lstStyle>
          <a:p>
            <a:pPr>
              <a:defRPr/>
            </a:pPr>
            <a:endParaRPr lang="en-GB"/>
          </a:p>
        </p:txBody>
      </p:sp>
      <p:sp>
        <p:nvSpPr>
          <p:cNvPr id="5" name="Rectangle 5">
            <a:extLst>
              <a:ext uri="{FF2B5EF4-FFF2-40B4-BE49-F238E27FC236}">
                <a16:creationId xmlns:a16="http://schemas.microsoft.com/office/drawing/2014/main" id="{E4812A58-E263-4820-B6E9-0733F2C3F905}"/>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8079147B-7E07-4041-B68C-CC5E1CDD66D1}"/>
              </a:ext>
            </a:extLst>
          </p:cNvPr>
          <p:cNvSpPr>
            <a:spLocks noGrp="1" noChangeArrowheads="1"/>
          </p:cNvSpPr>
          <p:nvPr>
            <p:ph type="sldNum" sz="quarter" idx="12"/>
          </p:nvPr>
        </p:nvSpPr>
        <p:spPr>
          <a:ln/>
        </p:spPr>
        <p:txBody>
          <a:bodyPr/>
          <a:lstStyle>
            <a:lvl1pPr>
              <a:defRPr/>
            </a:lvl1pPr>
          </a:lstStyle>
          <a:p>
            <a:fld id="{0374F949-F224-4250-AFFC-29ADA8376CE6}" type="slidenum">
              <a:rPr lang="en-GB" altLang="sv-SE"/>
              <a:pPr/>
              <a:t>‹#›</a:t>
            </a:fld>
            <a:endParaRPr lang="en-GB" altLang="sv-SE"/>
          </a:p>
        </p:txBody>
      </p:sp>
    </p:spTree>
    <p:extLst>
      <p:ext uri="{BB962C8B-B14F-4D97-AF65-F5344CB8AC3E}">
        <p14:creationId xmlns:p14="http://schemas.microsoft.com/office/powerpoint/2010/main" val="2505910679"/>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Agenda">
    <p:spTree>
      <p:nvGrpSpPr>
        <p:cNvPr id="1" name=""/>
        <p:cNvGrpSpPr/>
        <p:nvPr/>
      </p:nvGrpSpPr>
      <p:grpSpPr>
        <a:xfrm>
          <a:off x="0" y="0"/>
          <a:ext cx="0" cy="0"/>
          <a:chOff x="0" y="0"/>
          <a:chExt cx="0" cy="0"/>
        </a:xfrm>
      </p:grpSpPr>
      <p:sp>
        <p:nvSpPr>
          <p:cNvPr id="12" name="Rectangle 11"/>
          <p:cNvSpPr/>
          <p:nvPr userDrawn="1"/>
        </p:nvSpPr>
        <p:spPr>
          <a:xfrm>
            <a:off x="0" y="0"/>
            <a:ext cx="9144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userDrawn="1"/>
        </p:nvSpPr>
        <p:spPr>
          <a:xfrm>
            <a:off x="147638" y="1171574"/>
            <a:ext cx="8832850" cy="513556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424634" y="202994"/>
            <a:ext cx="8282640" cy="787605"/>
          </a:xfrm>
        </p:spPr>
        <p:txBody>
          <a:bodyPr>
            <a:noAutofit/>
          </a:bodyPr>
          <a:lstStyle>
            <a:lvl1pPr>
              <a:defRPr sz="4800" b="0" i="0" cap="none">
                <a:solidFill>
                  <a:schemeClr val="bg1"/>
                </a:solidFill>
                <a:latin typeface="Trade Gothic LT Com Cn" panose="020B0806040303020004" pitchFamily="34" charset="0"/>
                <a:cs typeface="Trade Gothic LT Com Cn" panose="020B0806040303020004" pitchFamily="34" charset="0"/>
              </a:defRPr>
            </a:lvl1pPr>
          </a:lstStyle>
          <a:p>
            <a:r>
              <a:rPr lang="en-GB"/>
              <a:t>CLICK TO EDIT MASTER TITLE STYLE</a:t>
            </a:r>
            <a:endParaRPr lang="en-US"/>
          </a:p>
        </p:txBody>
      </p:sp>
      <p:sp>
        <p:nvSpPr>
          <p:cNvPr id="3" name="Content Placeholder 2"/>
          <p:cNvSpPr>
            <a:spLocks noGrp="1"/>
          </p:cNvSpPr>
          <p:nvPr>
            <p:ph idx="1"/>
          </p:nvPr>
        </p:nvSpPr>
        <p:spPr>
          <a:xfrm>
            <a:off x="431147" y="1600200"/>
            <a:ext cx="8276127" cy="4547903"/>
          </a:xfrm>
        </p:spPr>
        <p:txBody>
          <a:bodyPr/>
          <a:lstStyle>
            <a:lvl1pPr>
              <a:defRPr b="0">
                <a:solidFill>
                  <a:schemeClr val="tx1"/>
                </a:solidFill>
              </a:defRPr>
            </a:lvl1pPr>
            <a:lvl2pPr marL="266700" indent="-266700">
              <a:buClr>
                <a:schemeClr val="tx2"/>
              </a:buClr>
              <a:buFont typeface="Arial"/>
              <a:buChar char="•"/>
              <a:defRPr sz="1800"/>
            </a:lvl2pPr>
            <a:lvl3pPr marL="266700" indent="-266700">
              <a:defRPr sz="1800"/>
            </a:lvl3pPr>
            <a:lvl4pPr marL="266700" indent="-266700">
              <a:buClr>
                <a:schemeClr val="tx2"/>
              </a:buClr>
              <a:buFont typeface="Arial"/>
              <a:buChar char="•"/>
              <a:defRPr sz="1800"/>
            </a:lvl4pPr>
            <a:lvl5pPr marL="266700" indent="-266700">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26 April 2016</a:t>
            </a:r>
          </a:p>
        </p:txBody>
      </p:sp>
      <p:sp>
        <p:nvSpPr>
          <p:cNvPr id="5" name="Footer Placeholder 4"/>
          <p:cNvSpPr>
            <a:spLocks noGrp="1"/>
          </p:cNvSpPr>
          <p:nvPr>
            <p:ph type="ftr" sz="quarter" idx="11"/>
          </p:nvPr>
        </p:nvSpPr>
        <p:spPr/>
        <p:txBody>
          <a:bodyPr/>
          <a:lstStyle/>
          <a:p>
            <a:r>
              <a:rPr lang="en-US"/>
              <a:t>Amend presentation name in Footer and Apply to All</a:t>
            </a:r>
          </a:p>
        </p:txBody>
      </p:sp>
      <p:sp>
        <p:nvSpPr>
          <p:cNvPr id="6" name="Slide Number Placeholder 5"/>
          <p:cNvSpPr>
            <a:spLocks noGrp="1"/>
          </p:cNvSpPr>
          <p:nvPr>
            <p:ph type="sldNum" sz="quarter" idx="12"/>
          </p:nvPr>
        </p:nvSpPr>
        <p:spPr/>
        <p:txBody>
          <a:bodyPr/>
          <a:lstStyle/>
          <a:p>
            <a:fld id="{C3FDE51E-0052-334C-A4B2-C567FE9F326F}" type="slidenum">
              <a:rPr lang="en-US" smtClean="0"/>
              <a:pPr/>
              <a:t>‹#›</a:t>
            </a:fld>
            <a:endParaRPr lang="en-US"/>
          </a:p>
        </p:txBody>
      </p:sp>
      <p:pic>
        <p:nvPicPr>
          <p:cNvPr id="8" name="Picture 7" descr="Save_the_Children_logo.pn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10" name="Straight Connector 9"/>
          <p:cNvCxnSpPr/>
          <p:nvPr userDrawn="1"/>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666656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3997" b="1" cap="all"/>
            </a:lvl1pPr>
          </a:lstStyle>
          <a:p>
            <a:r>
              <a:rPr lang="sv-SE"/>
              <a:t>Klicka här för att ändra format</a:t>
            </a:r>
            <a:endParaRPr lang="en-GB"/>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1999"/>
            </a:lvl1pPr>
            <a:lvl2pPr marL="456935" indent="0">
              <a:buNone/>
              <a:defRPr sz="1799"/>
            </a:lvl2pPr>
            <a:lvl3pPr marL="913871" indent="0">
              <a:buNone/>
              <a:defRPr sz="1599"/>
            </a:lvl3pPr>
            <a:lvl4pPr marL="1370807" indent="0">
              <a:buNone/>
              <a:defRPr sz="1399"/>
            </a:lvl4pPr>
            <a:lvl5pPr marL="1827742" indent="0">
              <a:buNone/>
              <a:defRPr sz="1399"/>
            </a:lvl5pPr>
            <a:lvl6pPr marL="2284678" indent="0">
              <a:buNone/>
              <a:defRPr sz="1399"/>
            </a:lvl6pPr>
            <a:lvl7pPr marL="2741613" indent="0">
              <a:buNone/>
              <a:defRPr sz="1399"/>
            </a:lvl7pPr>
            <a:lvl8pPr marL="3198548" indent="0">
              <a:buNone/>
              <a:defRPr sz="1399"/>
            </a:lvl8pPr>
            <a:lvl9pPr marL="3655484" indent="0">
              <a:buNone/>
              <a:defRPr sz="1399"/>
            </a:lvl9pPr>
          </a:lstStyle>
          <a:p>
            <a:pPr lvl="0"/>
            <a:r>
              <a:rPr lang="sv-SE"/>
              <a:t>Klicka här för att ändra format på bakgrundstexten</a:t>
            </a:r>
          </a:p>
        </p:txBody>
      </p:sp>
      <p:sp>
        <p:nvSpPr>
          <p:cNvPr id="4" name="Rectangle 4">
            <a:extLst>
              <a:ext uri="{FF2B5EF4-FFF2-40B4-BE49-F238E27FC236}">
                <a16:creationId xmlns:a16="http://schemas.microsoft.com/office/drawing/2014/main" id="{8F2B336E-5B86-4AF1-94D5-46E19D66214A}"/>
              </a:ext>
            </a:extLst>
          </p:cNvPr>
          <p:cNvSpPr>
            <a:spLocks noGrp="1" noChangeArrowheads="1"/>
          </p:cNvSpPr>
          <p:nvPr>
            <p:ph type="dt" sz="half" idx="10"/>
          </p:nvPr>
        </p:nvSpPr>
        <p:spPr>
          <a:ln/>
        </p:spPr>
        <p:txBody>
          <a:bodyPr/>
          <a:lstStyle>
            <a:lvl1pPr>
              <a:defRPr/>
            </a:lvl1pPr>
          </a:lstStyle>
          <a:p>
            <a:pPr>
              <a:defRPr/>
            </a:pPr>
            <a:endParaRPr lang="en-GB"/>
          </a:p>
        </p:txBody>
      </p:sp>
      <p:sp>
        <p:nvSpPr>
          <p:cNvPr id="5" name="Rectangle 5">
            <a:extLst>
              <a:ext uri="{FF2B5EF4-FFF2-40B4-BE49-F238E27FC236}">
                <a16:creationId xmlns:a16="http://schemas.microsoft.com/office/drawing/2014/main" id="{69E10080-5459-45F1-BADC-EE389BFFA4E6}"/>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9EC1791B-B9F5-4C58-ADFA-2B807464AA26}"/>
              </a:ext>
            </a:extLst>
          </p:cNvPr>
          <p:cNvSpPr>
            <a:spLocks noGrp="1" noChangeArrowheads="1"/>
          </p:cNvSpPr>
          <p:nvPr>
            <p:ph type="sldNum" sz="quarter" idx="12"/>
          </p:nvPr>
        </p:nvSpPr>
        <p:spPr>
          <a:ln/>
        </p:spPr>
        <p:txBody>
          <a:bodyPr/>
          <a:lstStyle>
            <a:lvl1pPr>
              <a:defRPr/>
            </a:lvl1pPr>
          </a:lstStyle>
          <a:p>
            <a:fld id="{AEC3CECA-6814-4573-98A4-0322CB8866B9}" type="slidenum">
              <a:rPr lang="en-GB" altLang="sv-SE"/>
              <a:pPr/>
              <a:t>‹#›</a:t>
            </a:fld>
            <a:endParaRPr lang="en-GB" altLang="sv-SE"/>
          </a:p>
        </p:txBody>
      </p:sp>
    </p:spTree>
    <p:extLst>
      <p:ext uri="{BB962C8B-B14F-4D97-AF65-F5344CB8AC3E}">
        <p14:creationId xmlns:p14="http://schemas.microsoft.com/office/powerpoint/2010/main" val="1844568719"/>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format</a:t>
            </a:r>
            <a:endParaRPr lang="en-GB"/>
          </a:p>
        </p:txBody>
      </p:sp>
      <p:sp>
        <p:nvSpPr>
          <p:cNvPr id="3" name="Content Placeholder 2"/>
          <p:cNvSpPr>
            <a:spLocks noGrp="1"/>
          </p:cNvSpPr>
          <p:nvPr>
            <p:ph sz="half" idx="1"/>
          </p:nvPr>
        </p:nvSpPr>
        <p:spPr>
          <a:xfrm>
            <a:off x="468313" y="1052513"/>
            <a:ext cx="4038600" cy="4525962"/>
          </a:xfrm>
        </p:spPr>
        <p:txBody>
          <a:bodyPr/>
          <a:lstStyle>
            <a:lvl1pPr>
              <a:defRPr sz="2799"/>
            </a:lvl1pPr>
            <a:lvl2pPr>
              <a:defRPr sz="2398"/>
            </a:lvl2pPr>
            <a:lvl3pPr>
              <a:defRPr sz="1999"/>
            </a:lvl3pPr>
            <a:lvl4pPr>
              <a:defRPr sz="1799"/>
            </a:lvl4pPr>
            <a:lvl5pPr>
              <a:defRPr sz="1799"/>
            </a:lvl5pPr>
            <a:lvl6pPr>
              <a:defRPr sz="1799"/>
            </a:lvl6pPr>
            <a:lvl7pPr>
              <a:defRPr sz="1799"/>
            </a:lvl7pPr>
            <a:lvl8pPr>
              <a:defRPr sz="1799"/>
            </a:lvl8pPr>
            <a:lvl9pPr>
              <a:defRPr sz="1799"/>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Content Placeholder 3"/>
          <p:cNvSpPr>
            <a:spLocks noGrp="1"/>
          </p:cNvSpPr>
          <p:nvPr>
            <p:ph sz="half" idx="2"/>
          </p:nvPr>
        </p:nvSpPr>
        <p:spPr>
          <a:xfrm>
            <a:off x="4659313" y="1052513"/>
            <a:ext cx="4038600" cy="4525962"/>
          </a:xfrm>
        </p:spPr>
        <p:txBody>
          <a:bodyPr/>
          <a:lstStyle>
            <a:lvl1pPr>
              <a:defRPr sz="2799"/>
            </a:lvl1pPr>
            <a:lvl2pPr>
              <a:defRPr sz="2398"/>
            </a:lvl2pPr>
            <a:lvl3pPr>
              <a:defRPr sz="1999"/>
            </a:lvl3pPr>
            <a:lvl4pPr>
              <a:defRPr sz="1799"/>
            </a:lvl4pPr>
            <a:lvl5pPr>
              <a:defRPr sz="1799"/>
            </a:lvl5pPr>
            <a:lvl6pPr>
              <a:defRPr sz="1799"/>
            </a:lvl6pPr>
            <a:lvl7pPr>
              <a:defRPr sz="1799"/>
            </a:lvl7pPr>
            <a:lvl8pPr>
              <a:defRPr sz="1799"/>
            </a:lvl8pPr>
            <a:lvl9pPr>
              <a:defRPr sz="1799"/>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Rectangle 4">
            <a:extLst>
              <a:ext uri="{FF2B5EF4-FFF2-40B4-BE49-F238E27FC236}">
                <a16:creationId xmlns:a16="http://schemas.microsoft.com/office/drawing/2014/main" id="{ECA46A88-8DF8-4A30-BB0D-EFCC4CF34FA1}"/>
              </a:ext>
            </a:extLst>
          </p:cNvPr>
          <p:cNvSpPr>
            <a:spLocks noGrp="1" noChangeArrowheads="1"/>
          </p:cNvSpPr>
          <p:nvPr>
            <p:ph type="dt" sz="half" idx="10"/>
          </p:nvPr>
        </p:nvSpPr>
        <p:spPr>
          <a:ln/>
        </p:spPr>
        <p:txBody>
          <a:bodyPr/>
          <a:lstStyle>
            <a:lvl1pPr>
              <a:defRPr/>
            </a:lvl1pPr>
          </a:lstStyle>
          <a:p>
            <a:pPr>
              <a:defRPr/>
            </a:pPr>
            <a:endParaRPr lang="en-GB"/>
          </a:p>
        </p:txBody>
      </p:sp>
      <p:sp>
        <p:nvSpPr>
          <p:cNvPr id="6" name="Rectangle 5">
            <a:extLst>
              <a:ext uri="{FF2B5EF4-FFF2-40B4-BE49-F238E27FC236}">
                <a16:creationId xmlns:a16="http://schemas.microsoft.com/office/drawing/2014/main" id="{EF33BB1D-8CFB-48FD-8C5F-B4D8285D53A7}"/>
              </a:ext>
            </a:extLst>
          </p:cNvPr>
          <p:cNvSpPr>
            <a:spLocks noGrp="1" noChangeArrowheads="1"/>
          </p:cNvSpPr>
          <p:nvPr>
            <p:ph type="ftr" sz="quarter" idx="11"/>
          </p:nvPr>
        </p:nvSpPr>
        <p:spPr>
          <a:ln/>
        </p:spPr>
        <p:txBody>
          <a:bodyPr/>
          <a:lstStyle>
            <a:lvl1pPr>
              <a:defRPr/>
            </a:lvl1pPr>
          </a:lstStyle>
          <a:p>
            <a:pPr>
              <a:defRPr/>
            </a:pPr>
            <a:endParaRPr lang="en-GB"/>
          </a:p>
        </p:txBody>
      </p:sp>
      <p:sp>
        <p:nvSpPr>
          <p:cNvPr id="7" name="Rectangle 6">
            <a:extLst>
              <a:ext uri="{FF2B5EF4-FFF2-40B4-BE49-F238E27FC236}">
                <a16:creationId xmlns:a16="http://schemas.microsoft.com/office/drawing/2014/main" id="{E5FAD0B2-104E-4E13-80FE-6FA0919856CB}"/>
              </a:ext>
            </a:extLst>
          </p:cNvPr>
          <p:cNvSpPr>
            <a:spLocks noGrp="1" noChangeArrowheads="1"/>
          </p:cNvSpPr>
          <p:nvPr>
            <p:ph type="sldNum" sz="quarter" idx="12"/>
          </p:nvPr>
        </p:nvSpPr>
        <p:spPr>
          <a:ln/>
        </p:spPr>
        <p:txBody>
          <a:bodyPr/>
          <a:lstStyle>
            <a:lvl1pPr>
              <a:defRPr/>
            </a:lvl1pPr>
          </a:lstStyle>
          <a:p>
            <a:fld id="{1C994AAF-042D-40C7-83D2-9CBD43A1679F}" type="slidenum">
              <a:rPr lang="en-GB" altLang="sv-SE"/>
              <a:pPr/>
              <a:t>‹#›</a:t>
            </a:fld>
            <a:endParaRPr lang="en-GB" altLang="sv-SE"/>
          </a:p>
        </p:txBody>
      </p:sp>
    </p:spTree>
    <p:extLst>
      <p:ext uri="{BB962C8B-B14F-4D97-AF65-F5344CB8AC3E}">
        <p14:creationId xmlns:p14="http://schemas.microsoft.com/office/powerpoint/2010/main" val="2541393798"/>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sv-SE"/>
              <a:t>Klicka här för att ändra format</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398" b="1"/>
            </a:lvl1pPr>
            <a:lvl2pPr marL="456935" indent="0">
              <a:buNone/>
              <a:defRPr sz="1999" b="1"/>
            </a:lvl2pPr>
            <a:lvl3pPr marL="913871" indent="0">
              <a:buNone/>
              <a:defRPr sz="1799" b="1"/>
            </a:lvl3pPr>
            <a:lvl4pPr marL="1370807" indent="0">
              <a:buNone/>
              <a:defRPr sz="1599" b="1"/>
            </a:lvl4pPr>
            <a:lvl5pPr marL="1827742" indent="0">
              <a:buNone/>
              <a:defRPr sz="1599" b="1"/>
            </a:lvl5pPr>
            <a:lvl6pPr marL="2284678" indent="0">
              <a:buNone/>
              <a:defRPr sz="1599" b="1"/>
            </a:lvl6pPr>
            <a:lvl7pPr marL="2741613" indent="0">
              <a:buNone/>
              <a:defRPr sz="1599" b="1"/>
            </a:lvl7pPr>
            <a:lvl8pPr marL="3198548" indent="0">
              <a:buNone/>
              <a:defRPr sz="1599" b="1"/>
            </a:lvl8pPr>
            <a:lvl9pPr marL="3655484" indent="0">
              <a:buNone/>
              <a:defRPr sz="1599" b="1"/>
            </a:lvl9pPr>
          </a:lstStyle>
          <a:p>
            <a:pPr lvl="0"/>
            <a:r>
              <a:rPr lang="sv-SE"/>
              <a:t>Klicka här för att ändra format på bakgrundstexten</a:t>
            </a:r>
          </a:p>
        </p:txBody>
      </p:sp>
      <p:sp>
        <p:nvSpPr>
          <p:cNvPr id="4" name="Content Placeholder 3"/>
          <p:cNvSpPr>
            <a:spLocks noGrp="1"/>
          </p:cNvSpPr>
          <p:nvPr>
            <p:ph sz="half" idx="2"/>
          </p:nvPr>
        </p:nvSpPr>
        <p:spPr>
          <a:xfrm>
            <a:off x="457200" y="2174875"/>
            <a:ext cx="4040188" cy="3951288"/>
          </a:xfrm>
        </p:spPr>
        <p:txBody>
          <a:bodyPr/>
          <a:lstStyle>
            <a:lvl1pPr>
              <a:defRPr sz="2398"/>
            </a:lvl1pPr>
            <a:lvl2pPr>
              <a:defRPr sz="1999"/>
            </a:lvl2pPr>
            <a:lvl3pPr>
              <a:defRPr sz="1799"/>
            </a:lvl3pPr>
            <a:lvl4pPr>
              <a:defRPr sz="1599"/>
            </a:lvl4pPr>
            <a:lvl5pPr>
              <a:defRPr sz="1599"/>
            </a:lvl5pPr>
            <a:lvl6pPr>
              <a:defRPr sz="1599"/>
            </a:lvl6pPr>
            <a:lvl7pPr>
              <a:defRPr sz="1599"/>
            </a:lvl7pPr>
            <a:lvl8pPr>
              <a:defRPr sz="1599"/>
            </a:lvl8pPr>
            <a:lvl9pPr>
              <a:defRPr sz="1599"/>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398" b="1"/>
            </a:lvl1pPr>
            <a:lvl2pPr marL="456935" indent="0">
              <a:buNone/>
              <a:defRPr sz="1999" b="1"/>
            </a:lvl2pPr>
            <a:lvl3pPr marL="913871" indent="0">
              <a:buNone/>
              <a:defRPr sz="1799" b="1"/>
            </a:lvl3pPr>
            <a:lvl4pPr marL="1370807" indent="0">
              <a:buNone/>
              <a:defRPr sz="1599" b="1"/>
            </a:lvl4pPr>
            <a:lvl5pPr marL="1827742" indent="0">
              <a:buNone/>
              <a:defRPr sz="1599" b="1"/>
            </a:lvl5pPr>
            <a:lvl6pPr marL="2284678" indent="0">
              <a:buNone/>
              <a:defRPr sz="1599" b="1"/>
            </a:lvl6pPr>
            <a:lvl7pPr marL="2741613" indent="0">
              <a:buNone/>
              <a:defRPr sz="1599" b="1"/>
            </a:lvl7pPr>
            <a:lvl8pPr marL="3198548" indent="0">
              <a:buNone/>
              <a:defRPr sz="1599" b="1"/>
            </a:lvl8pPr>
            <a:lvl9pPr marL="3655484" indent="0">
              <a:buNone/>
              <a:defRPr sz="1599" b="1"/>
            </a:lvl9pPr>
          </a:lstStyle>
          <a:p>
            <a:pPr lvl="0"/>
            <a:r>
              <a:rPr lang="sv-SE"/>
              <a:t>Klicka här för att ändra format på bakgrundstexten</a:t>
            </a:r>
          </a:p>
        </p:txBody>
      </p:sp>
      <p:sp>
        <p:nvSpPr>
          <p:cNvPr id="6" name="Content Placeholder 5"/>
          <p:cNvSpPr>
            <a:spLocks noGrp="1"/>
          </p:cNvSpPr>
          <p:nvPr>
            <p:ph sz="quarter" idx="4"/>
          </p:nvPr>
        </p:nvSpPr>
        <p:spPr>
          <a:xfrm>
            <a:off x="4645026" y="2174875"/>
            <a:ext cx="4041775" cy="3951288"/>
          </a:xfrm>
        </p:spPr>
        <p:txBody>
          <a:bodyPr/>
          <a:lstStyle>
            <a:lvl1pPr>
              <a:defRPr sz="2398"/>
            </a:lvl1pPr>
            <a:lvl2pPr>
              <a:defRPr sz="1999"/>
            </a:lvl2pPr>
            <a:lvl3pPr>
              <a:defRPr sz="1799"/>
            </a:lvl3pPr>
            <a:lvl4pPr>
              <a:defRPr sz="1599"/>
            </a:lvl4pPr>
            <a:lvl5pPr>
              <a:defRPr sz="1599"/>
            </a:lvl5pPr>
            <a:lvl6pPr>
              <a:defRPr sz="1599"/>
            </a:lvl6pPr>
            <a:lvl7pPr>
              <a:defRPr sz="1599"/>
            </a:lvl7pPr>
            <a:lvl8pPr>
              <a:defRPr sz="1599"/>
            </a:lvl8pPr>
            <a:lvl9pPr>
              <a:defRPr sz="1599"/>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7" name="Rectangle 4">
            <a:extLst>
              <a:ext uri="{FF2B5EF4-FFF2-40B4-BE49-F238E27FC236}">
                <a16:creationId xmlns:a16="http://schemas.microsoft.com/office/drawing/2014/main" id="{4AC47868-E193-44DE-92E0-40ABDE0E6B5A}"/>
              </a:ext>
            </a:extLst>
          </p:cNvPr>
          <p:cNvSpPr>
            <a:spLocks noGrp="1" noChangeArrowheads="1"/>
          </p:cNvSpPr>
          <p:nvPr>
            <p:ph type="dt" sz="half" idx="10"/>
          </p:nvPr>
        </p:nvSpPr>
        <p:spPr>
          <a:ln/>
        </p:spPr>
        <p:txBody>
          <a:bodyPr/>
          <a:lstStyle>
            <a:lvl1pPr>
              <a:defRPr/>
            </a:lvl1pPr>
          </a:lstStyle>
          <a:p>
            <a:pPr>
              <a:defRPr/>
            </a:pPr>
            <a:endParaRPr lang="en-GB"/>
          </a:p>
        </p:txBody>
      </p:sp>
      <p:sp>
        <p:nvSpPr>
          <p:cNvPr id="8" name="Rectangle 5">
            <a:extLst>
              <a:ext uri="{FF2B5EF4-FFF2-40B4-BE49-F238E27FC236}">
                <a16:creationId xmlns:a16="http://schemas.microsoft.com/office/drawing/2014/main" id="{E364E803-FA44-408D-BBC7-CD61D0CE1229}"/>
              </a:ext>
            </a:extLst>
          </p:cNvPr>
          <p:cNvSpPr>
            <a:spLocks noGrp="1" noChangeArrowheads="1"/>
          </p:cNvSpPr>
          <p:nvPr>
            <p:ph type="ftr" sz="quarter" idx="11"/>
          </p:nvPr>
        </p:nvSpPr>
        <p:spPr>
          <a:ln/>
        </p:spPr>
        <p:txBody>
          <a:bodyPr/>
          <a:lstStyle>
            <a:lvl1pPr>
              <a:defRPr/>
            </a:lvl1pPr>
          </a:lstStyle>
          <a:p>
            <a:pPr>
              <a:defRPr/>
            </a:pPr>
            <a:endParaRPr lang="en-GB"/>
          </a:p>
        </p:txBody>
      </p:sp>
      <p:sp>
        <p:nvSpPr>
          <p:cNvPr id="9" name="Rectangle 6">
            <a:extLst>
              <a:ext uri="{FF2B5EF4-FFF2-40B4-BE49-F238E27FC236}">
                <a16:creationId xmlns:a16="http://schemas.microsoft.com/office/drawing/2014/main" id="{D7E9602E-1568-46A3-896C-733FE7E1112D}"/>
              </a:ext>
            </a:extLst>
          </p:cNvPr>
          <p:cNvSpPr>
            <a:spLocks noGrp="1" noChangeArrowheads="1"/>
          </p:cNvSpPr>
          <p:nvPr>
            <p:ph type="sldNum" sz="quarter" idx="12"/>
          </p:nvPr>
        </p:nvSpPr>
        <p:spPr>
          <a:ln/>
        </p:spPr>
        <p:txBody>
          <a:bodyPr/>
          <a:lstStyle>
            <a:lvl1pPr>
              <a:defRPr/>
            </a:lvl1pPr>
          </a:lstStyle>
          <a:p>
            <a:fld id="{6E912042-9110-42AF-B9CA-BA42C8C88DE6}" type="slidenum">
              <a:rPr lang="en-GB" altLang="sv-SE"/>
              <a:pPr/>
              <a:t>‹#›</a:t>
            </a:fld>
            <a:endParaRPr lang="en-GB" altLang="sv-SE"/>
          </a:p>
        </p:txBody>
      </p:sp>
    </p:spTree>
    <p:extLst>
      <p:ext uri="{BB962C8B-B14F-4D97-AF65-F5344CB8AC3E}">
        <p14:creationId xmlns:p14="http://schemas.microsoft.com/office/powerpoint/2010/main" val="1925583145"/>
      </p:ext>
    </p:extLst>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format</a:t>
            </a:r>
            <a:endParaRPr lang="en-GB"/>
          </a:p>
        </p:txBody>
      </p:sp>
      <p:sp>
        <p:nvSpPr>
          <p:cNvPr id="3" name="Rectangle 4">
            <a:extLst>
              <a:ext uri="{FF2B5EF4-FFF2-40B4-BE49-F238E27FC236}">
                <a16:creationId xmlns:a16="http://schemas.microsoft.com/office/drawing/2014/main" id="{96A9FB3C-D1A3-4B49-831C-77E18C7B770E}"/>
              </a:ext>
            </a:extLst>
          </p:cNvPr>
          <p:cNvSpPr>
            <a:spLocks noGrp="1" noChangeArrowheads="1"/>
          </p:cNvSpPr>
          <p:nvPr>
            <p:ph type="dt" sz="half" idx="10"/>
          </p:nvPr>
        </p:nvSpPr>
        <p:spPr>
          <a:ln/>
        </p:spPr>
        <p:txBody>
          <a:bodyPr/>
          <a:lstStyle>
            <a:lvl1pPr>
              <a:defRPr/>
            </a:lvl1pPr>
          </a:lstStyle>
          <a:p>
            <a:pPr>
              <a:defRPr/>
            </a:pPr>
            <a:endParaRPr lang="en-GB"/>
          </a:p>
        </p:txBody>
      </p:sp>
      <p:sp>
        <p:nvSpPr>
          <p:cNvPr id="4" name="Rectangle 5">
            <a:extLst>
              <a:ext uri="{FF2B5EF4-FFF2-40B4-BE49-F238E27FC236}">
                <a16:creationId xmlns:a16="http://schemas.microsoft.com/office/drawing/2014/main" id="{26830B76-DEEE-46E7-A5BB-55670E2419D2}"/>
              </a:ext>
            </a:extLst>
          </p:cNvPr>
          <p:cNvSpPr>
            <a:spLocks noGrp="1" noChangeArrowheads="1"/>
          </p:cNvSpPr>
          <p:nvPr>
            <p:ph type="ftr" sz="quarter" idx="11"/>
          </p:nvPr>
        </p:nvSpPr>
        <p:spPr>
          <a:ln/>
        </p:spPr>
        <p:txBody>
          <a:bodyPr/>
          <a:lstStyle>
            <a:lvl1pPr>
              <a:defRPr/>
            </a:lvl1pPr>
          </a:lstStyle>
          <a:p>
            <a:pPr>
              <a:defRPr/>
            </a:pPr>
            <a:endParaRPr lang="en-GB"/>
          </a:p>
        </p:txBody>
      </p:sp>
      <p:sp>
        <p:nvSpPr>
          <p:cNvPr id="5" name="Rectangle 6">
            <a:extLst>
              <a:ext uri="{FF2B5EF4-FFF2-40B4-BE49-F238E27FC236}">
                <a16:creationId xmlns:a16="http://schemas.microsoft.com/office/drawing/2014/main" id="{FC6CE3DE-E3A7-49A5-80E4-89EE3C54EB50}"/>
              </a:ext>
            </a:extLst>
          </p:cNvPr>
          <p:cNvSpPr>
            <a:spLocks noGrp="1" noChangeArrowheads="1"/>
          </p:cNvSpPr>
          <p:nvPr>
            <p:ph type="sldNum" sz="quarter" idx="12"/>
          </p:nvPr>
        </p:nvSpPr>
        <p:spPr>
          <a:ln/>
        </p:spPr>
        <p:txBody>
          <a:bodyPr/>
          <a:lstStyle>
            <a:lvl1pPr>
              <a:defRPr/>
            </a:lvl1pPr>
          </a:lstStyle>
          <a:p>
            <a:fld id="{3AE5E80A-6B4D-43E6-B71C-83D2631C32C8}" type="slidenum">
              <a:rPr lang="en-GB" altLang="sv-SE"/>
              <a:pPr/>
              <a:t>‹#›</a:t>
            </a:fld>
            <a:endParaRPr lang="en-GB" altLang="sv-SE"/>
          </a:p>
        </p:txBody>
      </p:sp>
    </p:spTree>
    <p:extLst>
      <p:ext uri="{BB962C8B-B14F-4D97-AF65-F5344CB8AC3E}">
        <p14:creationId xmlns:p14="http://schemas.microsoft.com/office/powerpoint/2010/main" val="3450881161"/>
      </p:ext>
    </p:extLst>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24F0DD74-B4BD-454F-95BD-C6D9C3D5892C}"/>
              </a:ext>
            </a:extLst>
          </p:cNvPr>
          <p:cNvSpPr>
            <a:spLocks noGrp="1" noChangeArrowheads="1"/>
          </p:cNvSpPr>
          <p:nvPr>
            <p:ph type="dt" sz="half" idx="10"/>
          </p:nvPr>
        </p:nvSpPr>
        <p:spPr>
          <a:ln/>
        </p:spPr>
        <p:txBody>
          <a:bodyPr/>
          <a:lstStyle>
            <a:lvl1pPr>
              <a:defRPr/>
            </a:lvl1pPr>
          </a:lstStyle>
          <a:p>
            <a:pPr>
              <a:defRPr/>
            </a:pPr>
            <a:endParaRPr lang="en-GB"/>
          </a:p>
        </p:txBody>
      </p:sp>
      <p:sp>
        <p:nvSpPr>
          <p:cNvPr id="3" name="Rectangle 5">
            <a:extLst>
              <a:ext uri="{FF2B5EF4-FFF2-40B4-BE49-F238E27FC236}">
                <a16:creationId xmlns:a16="http://schemas.microsoft.com/office/drawing/2014/main" id="{F01C6B33-EA69-459D-94F8-E0994C14F282}"/>
              </a:ext>
            </a:extLst>
          </p:cNvPr>
          <p:cNvSpPr>
            <a:spLocks noGrp="1" noChangeArrowheads="1"/>
          </p:cNvSpPr>
          <p:nvPr>
            <p:ph type="ftr" sz="quarter" idx="11"/>
          </p:nvPr>
        </p:nvSpPr>
        <p:spPr>
          <a:ln/>
        </p:spPr>
        <p:txBody>
          <a:bodyPr/>
          <a:lstStyle>
            <a:lvl1pPr>
              <a:defRPr/>
            </a:lvl1pPr>
          </a:lstStyle>
          <a:p>
            <a:pPr>
              <a:defRPr/>
            </a:pPr>
            <a:endParaRPr lang="en-GB"/>
          </a:p>
        </p:txBody>
      </p:sp>
      <p:sp>
        <p:nvSpPr>
          <p:cNvPr id="4" name="Rectangle 6">
            <a:extLst>
              <a:ext uri="{FF2B5EF4-FFF2-40B4-BE49-F238E27FC236}">
                <a16:creationId xmlns:a16="http://schemas.microsoft.com/office/drawing/2014/main" id="{FE0E29F3-DD97-4853-B546-3A063AFF9D0C}"/>
              </a:ext>
            </a:extLst>
          </p:cNvPr>
          <p:cNvSpPr>
            <a:spLocks noGrp="1" noChangeArrowheads="1"/>
          </p:cNvSpPr>
          <p:nvPr>
            <p:ph type="sldNum" sz="quarter" idx="12"/>
          </p:nvPr>
        </p:nvSpPr>
        <p:spPr>
          <a:ln/>
        </p:spPr>
        <p:txBody>
          <a:bodyPr/>
          <a:lstStyle>
            <a:lvl1pPr>
              <a:defRPr/>
            </a:lvl1pPr>
          </a:lstStyle>
          <a:p>
            <a:fld id="{97254D75-1EB7-43FF-B50A-3738AEBD93D3}" type="slidenum">
              <a:rPr lang="en-GB" altLang="sv-SE"/>
              <a:pPr/>
              <a:t>‹#›</a:t>
            </a:fld>
            <a:endParaRPr lang="en-GB" altLang="sv-SE"/>
          </a:p>
        </p:txBody>
      </p:sp>
    </p:spTree>
    <p:extLst>
      <p:ext uri="{BB962C8B-B14F-4D97-AF65-F5344CB8AC3E}">
        <p14:creationId xmlns:p14="http://schemas.microsoft.com/office/powerpoint/2010/main" val="2592295464"/>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999" b="1"/>
            </a:lvl1pPr>
          </a:lstStyle>
          <a:p>
            <a:r>
              <a:rPr lang="sv-SE"/>
              <a:t>Klicka här för att ändra format</a:t>
            </a:r>
            <a:endParaRPr lang="en-GB"/>
          </a:p>
        </p:txBody>
      </p:sp>
      <p:sp>
        <p:nvSpPr>
          <p:cNvPr id="3" name="Content Placeholder 2"/>
          <p:cNvSpPr>
            <a:spLocks noGrp="1"/>
          </p:cNvSpPr>
          <p:nvPr>
            <p:ph idx="1"/>
          </p:nvPr>
        </p:nvSpPr>
        <p:spPr>
          <a:xfrm>
            <a:off x="3575050" y="273051"/>
            <a:ext cx="5111750" cy="5853113"/>
          </a:xfrm>
        </p:spPr>
        <p:txBody>
          <a:bodyPr/>
          <a:lstStyle>
            <a:lvl1pPr>
              <a:defRPr sz="3198"/>
            </a:lvl1pPr>
            <a:lvl2pPr>
              <a:defRPr sz="2799"/>
            </a:lvl2pPr>
            <a:lvl3pPr>
              <a:defRPr sz="2398"/>
            </a:lvl3pPr>
            <a:lvl4pPr>
              <a:defRPr sz="1999"/>
            </a:lvl4pPr>
            <a:lvl5pPr>
              <a:defRPr sz="1999"/>
            </a:lvl5pPr>
            <a:lvl6pPr>
              <a:defRPr sz="1999"/>
            </a:lvl6pPr>
            <a:lvl7pPr>
              <a:defRPr sz="1999"/>
            </a:lvl7pPr>
            <a:lvl8pPr>
              <a:defRPr sz="1999"/>
            </a:lvl8pPr>
            <a:lvl9pPr>
              <a:defRPr sz="1999"/>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399"/>
            </a:lvl1pPr>
            <a:lvl2pPr marL="456935" indent="0">
              <a:buNone/>
              <a:defRPr sz="1199"/>
            </a:lvl2pPr>
            <a:lvl3pPr marL="913871" indent="0">
              <a:buNone/>
              <a:defRPr sz="1000"/>
            </a:lvl3pPr>
            <a:lvl4pPr marL="1370807" indent="0">
              <a:buNone/>
              <a:defRPr sz="900"/>
            </a:lvl4pPr>
            <a:lvl5pPr marL="1827742" indent="0">
              <a:buNone/>
              <a:defRPr sz="900"/>
            </a:lvl5pPr>
            <a:lvl6pPr marL="2284678" indent="0">
              <a:buNone/>
              <a:defRPr sz="900"/>
            </a:lvl6pPr>
            <a:lvl7pPr marL="2741613" indent="0">
              <a:buNone/>
              <a:defRPr sz="900"/>
            </a:lvl7pPr>
            <a:lvl8pPr marL="3198548" indent="0">
              <a:buNone/>
              <a:defRPr sz="900"/>
            </a:lvl8pPr>
            <a:lvl9pPr marL="3655484" indent="0">
              <a:buNone/>
              <a:defRPr sz="900"/>
            </a:lvl9pPr>
          </a:lstStyle>
          <a:p>
            <a:pPr lvl="0"/>
            <a:r>
              <a:rPr lang="sv-SE"/>
              <a:t>Klicka här för att ändra format på bakgrundstexten</a:t>
            </a:r>
          </a:p>
        </p:txBody>
      </p:sp>
      <p:sp>
        <p:nvSpPr>
          <p:cNvPr id="5" name="Rectangle 4">
            <a:extLst>
              <a:ext uri="{FF2B5EF4-FFF2-40B4-BE49-F238E27FC236}">
                <a16:creationId xmlns:a16="http://schemas.microsoft.com/office/drawing/2014/main" id="{12ECD56C-AC58-40FF-9F56-3CCA48F51B21}"/>
              </a:ext>
            </a:extLst>
          </p:cNvPr>
          <p:cNvSpPr>
            <a:spLocks noGrp="1" noChangeArrowheads="1"/>
          </p:cNvSpPr>
          <p:nvPr>
            <p:ph type="dt" sz="half" idx="10"/>
          </p:nvPr>
        </p:nvSpPr>
        <p:spPr>
          <a:ln/>
        </p:spPr>
        <p:txBody>
          <a:bodyPr/>
          <a:lstStyle>
            <a:lvl1pPr>
              <a:defRPr/>
            </a:lvl1pPr>
          </a:lstStyle>
          <a:p>
            <a:pPr>
              <a:defRPr/>
            </a:pPr>
            <a:endParaRPr lang="en-GB"/>
          </a:p>
        </p:txBody>
      </p:sp>
      <p:sp>
        <p:nvSpPr>
          <p:cNvPr id="6" name="Rectangle 5">
            <a:extLst>
              <a:ext uri="{FF2B5EF4-FFF2-40B4-BE49-F238E27FC236}">
                <a16:creationId xmlns:a16="http://schemas.microsoft.com/office/drawing/2014/main" id="{78DDB5C8-B72F-46D1-B7A3-FFE69159418C}"/>
              </a:ext>
            </a:extLst>
          </p:cNvPr>
          <p:cNvSpPr>
            <a:spLocks noGrp="1" noChangeArrowheads="1"/>
          </p:cNvSpPr>
          <p:nvPr>
            <p:ph type="ftr" sz="quarter" idx="11"/>
          </p:nvPr>
        </p:nvSpPr>
        <p:spPr>
          <a:ln/>
        </p:spPr>
        <p:txBody>
          <a:bodyPr/>
          <a:lstStyle>
            <a:lvl1pPr>
              <a:defRPr/>
            </a:lvl1pPr>
          </a:lstStyle>
          <a:p>
            <a:pPr>
              <a:defRPr/>
            </a:pPr>
            <a:endParaRPr lang="en-GB"/>
          </a:p>
        </p:txBody>
      </p:sp>
      <p:sp>
        <p:nvSpPr>
          <p:cNvPr id="7" name="Rectangle 6">
            <a:extLst>
              <a:ext uri="{FF2B5EF4-FFF2-40B4-BE49-F238E27FC236}">
                <a16:creationId xmlns:a16="http://schemas.microsoft.com/office/drawing/2014/main" id="{91E8F209-5C90-4A84-A026-DF6F2EB392D5}"/>
              </a:ext>
            </a:extLst>
          </p:cNvPr>
          <p:cNvSpPr>
            <a:spLocks noGrp="1" noChangeArrowheads="1"/>
          </p:cNvSpPr>
          <p:nvPr>
            <p:ph type="sldNum" sz="quarter" idx="12"/>
          </p:nvPr>
        </p:nvSpPr>
        <p:spPr>
          <a:ln/>
        </p:spPr>
        <p:txBody>
          <a:bodyPr/>
          <a:lstStyle>
            <a:lvl1pPr>
              <a:defRPr/>
            </a:lvl1pPr>
          </a:lstStyle>
          <a:p>
            <a:fld id="{FC374685-C22A-4245-BCBE-C4037F588688}" type="slidenum">
              <a:rPr lang="en-GB" altLang="sv-SE"/>
              <a:pPr/>
              <a:t>‹#›</a:t>
            </a:fld>
            <a:endParaRPr lang="en-GB" altLang="sv-SE"/>
          </a:p>
        </p:txBody>
      </p:sp>
    </p:spTree>
    <p:extLst>
      <p:ext uri="{BB962C8B-B14F-4D97-AF65-F5344CB8AC3E}">
        <p14:creationId xmlns:p14="http://schemas.microsoft.com/office/powerpoint/2010/main" val="3611022762"/>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999" b="1"/>
            </a:lvl1pPr>
          </a:lstStyle>
          <a:p>
            <a:r>
              <a:rPr lang="sv-SE"/>
              <a:t>Klicka här för att ändra format</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198"/>
            </a:lvl1pPr>
            <a:lvl2pPr marL="456935" indent="0">
              <a:buNone/>
              <a:defRPr sz="2799"/>
            </a:lvl2pPr>
            <a:lvl3pPr marL="913871" indent="0">
              <a:buNone/>
              <a:defRPr sz="2398"/>
            </a:lvl3pPr>
            <a:lvl4pPr marL="1370807" indent="0">
              <a:buNone/>
              <a:defRPr sz="1999"/>
            </a:lvl4pPr>
            <a:lvl5pPr marL="1827742" indent="0">
              <a:buNone/>
              <a:defRPr sz="1999"/>
            </a:lvl5pPr>
            <a:lvl6pPr marL="2284678" indent="0">
              <a:buNone/>
              <a:defRPr sz="1999"/>
            </a:lvl6pPr>
            <a:lvl7pPr marL="2741613" indent="0">
              <a:buNone/>
              <a:defRPr sz="1999"/>
            </a:lvl7pPr>
            <a:lvl8pPr marL="3198548" indent="0">
              <a:buNone/>
              <a:defRPr sz="1999"/>
            </a:lvl8pPr>
            <a:lvl9pPr marL="3655484" indent="0">
              <a:buNone/>
              <a:defRPr sz="1999"/>
            </a:lvl9pPr>
          </a:lstStyle>
          <a:p>
            <a:pPr lvl="0"/>
            <a:r>
              <a:rPr lang="sv-SE" noProof="0"/>
              <a:t>Klicka på ikonen för att lägga till en bild</a:t>
            </a:r>
            <a:endParaRPr lang="en-GB"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399"/>
            </a:lvl1pPr>
            <a:lvl2pPr marL="456935" indent="0">
              <a:buNone/>
              <a:defRPr sz="1199"/>
            </a:lvl2pPr>
            <a:lvl3pPr marL="913871" indent="0">
              <a:buNone/>
              <a:defRPr sz="1000"/>
            </a:lvl3pPr>
            <a:lvl4pPr marL="1370807" indent="0">
              <a:buNone/>
              <a:defRPr sz="900"/>
            </a:lvl4pPr>
            <a:lvl5pPr marL="1827742" indent="0">
              <a:buNone/>
              <a:defRPr sz="900"/>
            </a:lvl5pPr>
            <a:lvl6pPr marL="2284678" indent="0">
              <a:buNone/>
              <a:defRPr sz="900"/>
            </a:lvl6pPr>
            <a:lvl7pPr marL="2741613" indent="0">
              <a:buNone/>
              <a:defRPr sz="900"/>
            </a:lvl7pPr>
            <a:lvl8pPr marL="3198548" indent="0">
              <a:buNone/>
              <a:defRPr sz="900"/>
            </a:lvl8pPr>
            <a:lvl9pPr marL="3655484" indent="0">
              <a:buNone/>
              <a:defRPr sz="900"/>
            </a:lvl9pPr>
          </a:lstStyle>
          <a:p>
            <a:pPr lvl="0"/>
            <a:r>
              <a:rPr lang="sv-SE"/>
              <a:t>Klicka här för att ändra format på bakgrundstexten</a:t>
            </a:r>
          </a:p>
        </p:txBody>
      </p:sp>
      <p:sp>
        <p:nvSpPr>
          <p:cNvPr id="5" name="Rectangle 4">
            <a:extLst>
              <a:ext uri="{FF2B5EF4-FFF2-40B4-BE49-F238E27FC236}">
                <a16:creationId xmlns:a16="http://schemas.microsoft.com/office/drawing/2014/main" id="{05892558-0D1B-4B79-AF44-2222D4BAFC17}"/>
              </a:ext>
            </a:extLst>
          </p:cNvPr>
          <p:cNvSpPr>
            <a:spLocks noGrp="1" noChangeArrowheads="1"/>
          </p:cNvSpPr>
          <p:nvPr>
            <p:ph type="dt" sz="half" idx="10"/>
          </p:nvPr>
        </p:nvSpPr>
        <p:spPr>
          <a:ln/>
        </p:spPr>
        <p:txBody>
          <a:bodyPr/>
          <a:lstStyle>
            <a:lvl1pPr>
              <a:defRPr/>
            </a:lvl1pPr>
          </a:lstStyle>
          <a:p>
            <a:pPr>
              <a:defRPr/>
            </a:pPr>
            <a:endParaRPr lang="en-GB"/>
          </a:p>
        </p:txBody>
      </p:sp>
      <p:sp>
        <p:nvSpPr>
          <p:cNvPr id="6" name="Rectangle 5">
            <a:extLst>
              <a:ext uri="{FF2B5EF4-FFF2-40B4-BE49-F238E27FC236}">
                <a16:creationId xmlns:a16="http://schemas.microsoft.com/office/drawing/2014/main" id="{C65FDFBB-D8D2-4F46-86D4-9FAD4A173AA2}"/>
              </a:ext>
            </a:extLst>
          </p:cNvPr>
          <p:cNvSpPr>
            <a:spLocks noGrp="1" noChangeArrowheads="1"/>
          </p:cNvSpPr>
          <p:nvPr>
            <p:ph type="ftr" sz="quarter" idx="11"/>
          </p:nvPr>
        </p:nvSpPr>
        <p:spPr>
          <a:ln/>
        </p:spPr>
        <p:txBody>
          <a:bodyPr/>
          <a:lstStyle>
            <a:lvl1pPr>
              <a:defRPr/>
            </a:lvl1pPr>
          </a:lstStyle>
          <a:p>
            <a:pPr>
              <a:defRPr/>
            </a:pPr>
            <a:endParaRPr lang="en-GB"/>
          </a:p>
        </p:txBody>
      </p:sp>
      <p:sp>
        <p:nvSpPr>
          <p:cNvPr id="7" name="Rectangle 6">
            <a:extLst>
              <a:ext uri="{FF2B5EF4-FFF2-40B4-BE49-F238E27FC236}">
                <a16:creationId xmlns:a16="http://schemas.microsoft.com/office/drawing/2014/main" id="{DF552487-8457-4659-87DE-B550813DCB24}"/>
              </a:ext>
            </a:extLst>
          </p:cNvPr>
          <p:cNvSpPr>
            <a:spLocks noGrp="1" noChangeArrowheads="1"/>
          </p:cNvSpPr>
          <p:nvPr>
            <p:ph type="sldNum" sz="quarter" idx="12"/>
          </p:nvPr>
        </p:nvSpPr>
        <p:spPr>
          <a:ln/>
        </p:spPr>
        <p:txBody>
          <a:bodyPr/>
          <a:lstStyle>
            <a:lvl1pPr>
              <a:defRPr/>
            </a:lvl1pPr>
          </a:lstStyle>
          <a:p>
            <a:fld id="{B0376C0E-1A7A-49D9-9018-28CAB8D9538A}" type="slidenum">
              <a:rPr lang="en-GB" altLang="sv-SE"/>
              <a:pPr/>
              <a:t>‹#›</a:t>
            </a:fld>
            <a:endParaRPr lang="en-GB" altLang="sv-SE"/>
          </a:p>
        </p:txBody>
      </p:sp>
    </p:spTree>
    <p:extLst>
      <p:ext uri="{BB962C8B-B14F-4D97-AF65-F5344CB8AC3E}">
        <p14:creationId xmlns:p14="http://schemas.microsoft.com/office/powerpoint/2010/main" val="402331049"/>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format</a:t>
            </a:r>
            <a:endParaRPr lang="en-GB"/>
          </a:p>
        </p:txBody>
      </p:sp>
      <p:sp>
        <p:nvSpPr>
          <p:cNvPr id="3" name="Vertical Text Placeholder 2"/>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Rectangle 4">
            <a:extLst>
              <a:ext uri="{FF2B5EF4-FFF2-40B4-BE49-F238E27FC236}">
                <a16:creationId xmlns:a16="http://schemas.microsoft.com/office/drawing/2014/main" id="{A7283BE5-4054-4964-A86D-987825DD8050}"/>
              </a:ext>
            </a:extLst>
          </p:cNvPr>
          <p:cNvSpPr>
            <a:spLocks noGrp="1" noChangeArrowheads="1"/>
          </p:cNvSpPr>
          <p:nvPr>
            <p:ph type="dt" sz="half" idx="10"/>
          </p:nvPr>
        </p:nvSpPr>
        <p:spPr>
          <a:ln/>
        </p:spPr>
        <p:txBody>
          <a:bodyPr/>
          <a:lstStyle>
            <a:lvl1pPr>
              <a:defRPr/>
            </a:lvl1pPr>
          </a:lstStyle>
          <a:p>
            <a:pPr>
              <a:defRPr/>
            </a:pPr>
            <a:endParaRPr lang="en-GB"/>
          </a:p>
        </p:txBody>
      </p:sp>
      <p:sp>
        <p:nvSpPr>
          <p:cNvPr id="5" name="Rectangle 5">
            <a:extLst>
              <a:ext uri="{FF2B5EF4-FFF2-40B4-BE49-F238E27FC236}">
                <a16:creationId xmlns:a16="http://schemas.microsoft.com/office/drawing/2014/main" id="{848D40DB-7B86-470C-A1EE-27EEB28269DB}"/>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D3AC8F7A-5C29-472E-8E72-3A4C99A694E0}"/>
              </a:ext>
            </a:extLst>
          </p:cNvPr>
          <p:cNvSpPr>
            <a:spLocks noGrp="1" noChangeArrowheads="1"/>
          </p:cNvSpPr>
          <p:nvPr>
            <p:ph type="sldNum" sz="quarter" idx="12"/>
          </p:nvPr>
        </p:nvSpPr>
        <p:spPr>
          <a:ln/>
        </p:spPr>
        <p:txBody>
          <a:bodyPr/>
          <a:lstStyle>
            <a:lvl1pPr>
              <a:defRPr/>
            </a:lvl1pPr>
          </a:lstStyle>
          <a:p>
            <a:fld id="{E8A76008-6DF2-4A93-A290-5B348C02F170}" type="slidenum">
              <a:rPr lang="en-GB" altLang="sv-SE"/>
              <a:pPr/>
              <a:t>‹#›</a:t>
            </a:fld>
            <a:endParaRPr lang="en-GB" altLang="sv-SE"/>
          </a:p>
        </p:txBody>
      </p:sp>
    </p:spTree>
    <p:extLst>
      <p:ext uri="{BB962C8B-B14F-4D97-AF65-F5344CB8AC3E}">
        <p14:creationId xmlns:p14="http://schemas.microsoft.com/office/powerpoint/2010/main" val="1203926545"/>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40513" y="260351"/>
            <a:ext cx="2057400" cy="5318125"/>
          </a:xfrm>
        </p:spPr>
        <p:txBody>
          <a:bodyPr vert="eaVert"/>
          <a:lstStyle/>
          <a:p>
            <a:r>
              <a:rPr lang="sv-SE"/>
              <a:t>Klicka här för att ändra format</a:t>
            </a:r>
            <a:endParaRPr lang="en-GB"/>
          </a:p>
        </p:txBody>
      </p:sp>
      <p:sp>
        <p:nvSpPr>
          <p:cNvPr id="3" name="Vertical Text Placeholder 2"/>
          <p:cNvSpPr>
            <a:spLocks noGrp="1"/>
          </p:cNvSpPr>
          <p:nvPr>
            <p:ph type="body" orient="vert" idx="1"/>
          </p:nvPr>
        </p:nvSpPr>
        <p:spPr>
          <a:xfrm>
            <a:off x="468313" y="260351"/>
            <a:ext cx="6019800" cy="5318125"/>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GB"/>
          </a:p>
        </p:txBody>
      </p:sp>
      <p:sp>
        <p:nvSpPr>
          <p:cNvPr id="4" name="Rectangle 4">
            <a:extLst>
              <a:ext uri="{FF2B5EF4-FFF2-40B4-BE49-F238E27FC236}">
                <a16:creationId xmlns:a16="http://schemas.microsoft.com/office/drawing/2014/main" id="{22426E64-D4F9-4150-BB61-49C9ECA821CB}"/>
              </a:ext>
            </a:extLst>
          </p:cNvPr>
          <p:cNvSpPr>
            <a:spLocks noGrp="1" noChangeArrowheads="1"/>
          </p:cNvSpPr>
          <p:nvPr>
            <p:ph type="dt" sz="half" idx="10"/>
          </p:nvPr>
        </p:nvSpPr>
        <p:spPr>
          <a:ln/>
        </p:spPr>
        <p:txBody>
          <a:bodyPr/>
          <a:lstStyle>
            <a:lvl1pPr>
              <a:defRPr/>
            </a:lvl1pPr>
          </a:lstStyle>
          <a:p>
            <a:pPr>
              <a:defRPr/>
            </a:pPr>
            <a:endParaRPr lang="en-GB"/>
          </a:p>
        </p:txBody>
      </p:sp>
      <p:sp>
        <p:nvSpPr>
          <p:cNvPr id="5" name="Rectangle 5">
            <a:extLst>
              <a:ext uri="{FF2B5EF4-FFF2-40B4-BE49-F238E27FC236}">
                <a16:creationId xmlns:a16="http://schemas.microsoft.com/office/drawing/2014/main" id="{7219EA35-ADB0-4CBA-9805-72F0F3FFAB12}"/>
              </a:ext>
            </a:extLst>
          </p:cNvPr>
          <p:cNvSpPr>
            <a:spLocks noGrp="1" noChangeArrowheads="1"/>
          </p:cNvSpPr>
          <p:nvPr>
            <p:ph type="ftr" sz="quarter" idx="11"/>
          </p:nvPr>
        </p:nvSpPr>
        <p:spPr>
          <a:ln/>
        </p:spPr>
        <p:txBody>
          <a:bodyPr/>
          <a:lstStyle>
            <a:lvl1pPr>
              <a:defRPr/>
            </a:lvl1pPr>
          </a:lstStyle>
          <a:p>
            <a:pPr>
              <a:defRPr/>
            </a:pPr>
            <a:endParaRPr lang="en-GB"/>
          </a:p>
        </p:txBody>
      </p:sp>
      <p:sp>
        <p:nvSpPr>
          <p:cNvPr id="6" name="Rectangle 6">
            <a:extLst>
              <a:ext uri="{FF2B5EF4-FFF2-40B4-BE49-F238E27FC236}">
                <a16:creationId xmlns:a16="http://schemas.microsoft.com/office/drawing/2014/main" id="{B5CE2B70-7ED2-4B39-A3DA-1FB70A3D35C7}"/>
              </a:ext>
            </a:extLst>
          </p:cNvPr>
          <p:cNvSpPr>
            <a:spLocks noGrp="1" noChangeArrowheads="1"/>
          </p:cNvSpPr>
          <p:nvPr>
            <p:ph type="sldNum" sz="quarter" idx="12"/>
          </p:nvPr>
        </p:nvSpPr>
        <p:spPr>
          <a:ln/>
        </p:spPr>
        <p:txBody>
          <a:bodyPr/>
          <a:lstStyle>
            <a:lvl1pPr>
              <a:defRPr/>
            </a:lvl1pPr>
          </a:lstStyle>
          <a:p>
            <a:fld id="{2A537F27-71D0-41A0-A05A-EB8573F32D30}" type="slidenum">
              <a:rPr lang="en-GB" altLang="sv-SE"/>
              <a:pPr/>
              <a:t>‹#›</a:t>
            </a:fld>
            <a:endParaRPr lang="en-GB" altLang="sv-SE"/>
          </a:p>
        </p:txBody>
      </p:sp>
    </p:spTree>
    <p:extLst>
      <p:ext uri="{BB962C8B-B14F-4D97-AF65-F5344CB8AC3E}">
        <p14:creationId xmlns:p14="http://schemas.microsoft.com/office/powerpoint/2010/main" val="2805854759"/>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a:extLst>
              <a:ext uri="{FF2B5EF4-FFF2-40B4-BE49-F238E27FC236}">
                <a16:creationId xmlns:a16="http://schemas.microsoft.com/office/drawing/2014/main" id="{26D2DE68-8E62-4106-A938-4C38519FF8C1}"/>
              </a:ext>
            </a:extLst>
          </p:cNvPr>
          <p:cNvSpPr>
            <a:spLocks noGrp="1"/>
          </p:cNvSpPr>
          <p:nvPr>
            <p:ph type="ftr" sz="quarter" idx="10"/>
          </p:nvPr>
        </p:nvSpPr>
        <p:spPr/>
        <p:txBody>
          <a:bodyPr lIns="0" tIns="0" rIns="0" bIns="0"/>
          <a:lstStyle>
            <a:lvl1pPr marL="7334">
              <a:defRPr sz="1213" b="1" spc="-9" dirty="0" smtClean="0">
                <a:solidFill>
                  <a:srgbClr val="FFFFFF"/>
                </a:solidFill>
                <a:latin typeface="Gill Sans"/>
                <a:cs typeface="Gill Sans"/>
              </a:defRPr>
            </a:lvl1pPr>
          </a:lstStyle>
          <a:p>
            <a:pPr>
              <a:defRPr/>
            </a:pPr>
            <a:r>
              <a:rPr lang="en-US"/>
              <a:t>S</a:t>
            </a:r>
            <a:r>
              <a:rPr lang="en-US" spc="0"/>
              <a:t>e</a:t>
            </a:r>
            <a:r>
              <a:rPr lang="en-US" spc="9"/>
              <a:t>c</a:t>
            </a:r>
            <a:r>
              <a:rPr lang="en-US" spc="12"/>
              <a:t>t</a:t>
            </a:r>
            <a:r>
              <a:rPr lang="en-US" spc="-6"/>
              <a:t>i</a:t>
            </a:r>
            <a:r>
              <a:rPr lang="en-US" spc="0"/>
              <a:t>on</a:t>
            </a:r>
            <a:r>
              <a:rPr lang="en-US" spc="3"/>
              <a:t> </a:t>
            </a:r>
            <a:r>
              <a:rPr lang="en-US" spc="9"/>
              <a:t>B</a:t>
            </a:r>
            <a:r>
              <a:rPr lang="en-US" spc="0"/>
              <a:t>:</a:t>
            </a:r>
            <a:endParaRPr lang="en-US" b="0" spc="0">
              <a:solidFill>
                <a:srgbClr val="000000"/>
              </a:solidFill>
            </a:endParaRPr>
          </a:p>
        </p:txBody>
      </p:sp>
      <p:sp>
        <p:nvSpPr>
          <p:cNvPr id="3" name="Holder 3">
            <a:extLst>
              <a:ext uri="{FF2B5EF4-FFF2-40B4-BE49-F238E27FC236}">
                <a16:creationId xmlns:a16="http://schemas.microsoft.com/office/drawing/2014/main" id="{B8833419-1380-41E1-ABFD-A05FE3A8D291}"/>
              </a:ext>
            </a:extLst>
          </p:cNvPr>
          <p:cNvSpPr>
            <a:spLocks noGrp="1"/>
          </p:cNvSpPr>
          <p:nvPr>
            <p:ph type="dt" sz="half" idx="11"/>
          </p:nvPr>
        </p:nvSpPr>
        <p:spPr/>
        <p:txBody>
          <a:bodyPr lIns="0" tIns="0" rIns="0" bIns="0"/>
          <a:lstStyle>
            <a:lvl1pPr algn="l">
              <a:defRPr smtClean="0">
                <a:solidFill>
                  <a:schemeClr val="tx1">
                    <a:tint val="75000"/>
                  </a:schemeClr>
                </a:solidFill>
              </a:defRPr>
            </a:lvl1pPr>
          </a:lstStyle>
          <a:p>
            <a:pPr>
              <a:defRPr/>
            </a:pPr>
            <a:fld id="{4759E58E-0147-4620-9439-C3A8051DD8B9}" type="datetimeFigureOut">
              <a:rPr lang="en-US"/>
              <a:pPr>
                <a:defRPr/>
              </a:pPr>
              <a:t>7/25/2022</a:t>
            </a:fld>
            <a:endParaRPr lang="en-US"/>
          </a:p>
        </p:txBody>
      </p:sp>
      <p:sp>
        <p:nvSpPr>
          <p:cNvPr id="4" name="Holder 4">
            <a:extLst>
              <a:ext uri="{FF2B5EF4-FFF2-40B4-BE49-F238E27FC236}">
                <a16:creationId xmlns:a16="http://schemas.microsoft.com/office/drawing/2014/main" id="{C78F6C9A-24CC-4969-B706-9FA93E92E30B}"/>
              </a:ext>
            </a:extLst>
          </p:cNvPr>
          <p:cNvSpPr>
            <a:spLocks noGrp="1"/>
          </p:cNvSpPr>
          <p:nvPr>
            <p:ph type="sldNum" sz="quarter" idx="12"/>
          </p:nvPr>
        </p:nvSpPr>
        <p:spPr/>
        <p:txBody>
          <a:bodyPr lIns="0" tIns="0" rIns="0" bIns="0"/>
          <a:lstStyle>
            <a:lvl1pPr>
              <a:defRPr>
                <a:solidFill>
                  <a:srgbClr val="898989"/>
                </a:solidFill>
              </a:defRPr>
            </a:lvl1pPr>
          </a:lstStyle>
          <a:p>
            <a:fld id="{831B946E-FDB5-4501-8971-C172C13E21F6}" type="slidenum">
              <a:rPr lang="en-US" altLang="en-US"/>
              <a:pPr/>
              <a:t>‹#›</a:t>
            </a:fld>
            <a:endParaRPr lang="en-US" altLang="en-US"/>
          </a:p>
        </p:txBody>
      </p:sp>
    </p:spTree>
    <p:extLst>
      <p:ext uri="{BB962C8B-B14F-4D97-AF65-F5344CB8AC3E}">
        <p14:creationId xmlns:p14="http://schemas.microsoft.com/office/powerpoint/2010/main" val="3572361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p:nvPr>
        </p:nvSpPr>
        <p:spPr>
          <a:xfrm>
            <a:off x="425286" y="705600"/>
            <a:ext cx="8282151" cy="363537"/>
          </a:xfrm>
        </p:spPr>
        <p:txBody>
          <a:bodyPr>
            <a:no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vl6pPr marL="1588" indent="0">
              <a:buNone/>
              <a:defRPr sz="2500" b="0" i="0">
                <a:latin typeface="Gill Sans Infant MT"/>
                <a:cs typeface="Gill Sans Infant MT"/>
              </a:defRPr>
            </a:lvl6pPr>
          </a:lstStyle>
          <a:p>
            <a:pPr lvl="0"/>
            <a:r>
              <a:rPr lang="en-US"/>
              <a:t>Edit Master text styles</a:t>
            </a:r>
          </a:p>
        </p:txBody>
      </p:sp>
    </p:spTree>
    <p:extLst>
      <p:ext uri="{BB962C8B-B14F-4D97-AF65-F5344CB8AC3E}">
        <p14:creationId xmlns:p14="http://schemas.microsoft.com/office/powerpoint/2010/main" val="33985781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a:extLst>
              <a:ext uri="{FF2B5EF4-FFF2-40B4-BE49-F238E27FC236}">
                <a16:creationId xmlns:a16="http://schemas.microsoft.com/office/drawing/2014/main" id="{0FC39EC1-3561-4B8E-83C2-2C9376D7946A}"/>
              </a:ext>
            </a:extLst>
          </p:cNvPr>
          <p:cNvSpPr>
            <a:spLocks noGrp="1"/>
          </p:cNvSpPr>
          <p:nvPr>
            <p:ph type="ftr" sz="quarter" idx="10"/>
          </p:nvPr>
        </p:nvSpPr>
        <p:spPr/>
        <p:txBody>
          <a:bodyPr lIns="0" tIns="0" rIns="0" bIns="0"/>
          <a:lstStyle>
            <a:lvl1pPr marL="7334">
              <a:defRPr sz="1213" b="1" spc="-9" dirty="0" smtClean="0">
                <a:solidFill>
                  <a:srgbClr val="FFFFFF"/>
                </a:solidFill>
                <a:latin typeface="Gill Sans"/>
                <a:cs typeface="Gill Sans"/>
              </a:defRPr>
            </a:lvl1pPr>
          </a:lstStyle>
          <a:p>
            <a:pPr>
              <a:defRPr/>
            </a:pPr>
            <a:r>
              <a:rPr lang="en-US"/>
              <a:t>S</a:t>
            </a:r>
            <a:r>
              <a:rPr lang="en-US" spc="0"/>
              <a:t>e</a:t>
            </a:r>
            <a:r>
              <a:rPr lang="en-US" spc="9"/>
              <a:t>c</a:t>
            </a:r>
            <a:r>
              <a:rPr lang="en-US" spc="12"/>
              <a:t>t</a:t>
            </a:r>
            <a:r>
              <a:rPr lang="en-US" spc="-6"/>
              <a:t>i</a:t>
            </a:r>
            <a:r>
              <a:rPr lang="en-US" spc="0"/>
              <a:t>on</a:t>
            </a:r>
            <a:r>
              <a:rPr lang="en-US" spc="3"/>
              <a:t> </a:t>
            </a:r>
            <a:r>
              <a:rPr lang="en-US" spc="9"/>
              <a:t>B</a:t>
            </a:r>
            <a:r>
              <a:rPr lang="en-US" spc="0"/>
              <a:t>:</a:t>
            </a:r>
            <a:endParaRPr lang="en-US" b="0" spc="0">
              <a:solidFill>
                <a:srgbClr val="000000"/>
              </a:solidFill>
            </a:endParaRPr>
          </a:p>
        </p:txBody>
      </p:sp>
      <p:sp>
        <p:nvSpPr>
          <p:cNvPr id="4" name="Holder 4">
            <a:extLst>
              <a:ext uri="{FF2B5EF4-FFF2-40B4-BE49-F238E27FC236}">
                <a16:creationId xmlns:a16="http://schemas.microsoft.com/office/drawing/2014/main" id="{627F728F-1405-43C9-B961-BA902FF44B67}"/>
              </a:ext>
            </a:extLst>
          </p:cNvPr>
          <p:cNvSpPr>
            <a:spLocks noGrp="1"/>
          </p:cNvSpPr>
          <p:nvPr>
            <p:ph type="dt" sz="half" idx="11"/>
          </p:nvPr>
        </p:nvSpPr>
        <p:spPr/>
        <p:txBody>
          <a:bodyPr lIns="0" tIns="0" rIns="0" bIns="0"/>
          <a:lstStyle>
            <a:lvl1pPr algn="l">
              <a:defRPr smtClean="0">
                <a:solidFill>
                  <a:schemeClr val="tx1">
                    <a:tint val="75000"/>
                  </a:schemeClr>
                </a:solidFill>
              </a:defRPr>
            </a:lvl1pPr>
          </a:lstStyle>
          <a:p>
            <a:pPr>
              <a:defRPr/>
            </a:pPr>
            <a:fld id="{90F8555D-C3ED-479E-A413-CA933FC8E0A2}" type="datetimeFigureOut">
              <a:rPr lang="en-US"/>
              <a:pPr>
                <a:defRPr/>
              </a:pPr>
              <a:t>7/25/2022</a:t>
            </a:fld>
            <a:endParaRPr lang="en-US"/>
          </a:p>
        </p:txBody>
      </p:sp>
      <p:sp>
        <p:nvSpPr>
          <p:cNvPr id="5" name="Holder 5">
            <a:extLst>
              <a:ext uri="{FF2B5EF4-FFF2-40B4-BE49-F238E27FC236}">
                <a16:creationId xmlns:a16="http://schemas.microsoft.com/office/drawing/2014/main" id="{B54DBE52-AF2E-4055-8DA0-1E2317EDF090}"/>
              </a:ext>
            </a:extLst>
          </p:cNvPr>
          <p:cNvSpPr>
            <a:spLocks noGrp="1"/>
          </p:cNvSpPr>
          <p:nvPr>
            <p:ph type="sldNum" sz="quarter" idx="12"/>
          </p:nvPr>
        </p:nvSpPr>
        <p:spPr/>
        <p:txBody>
          <a:bodyPr lIns="0" tIns="0" rIns="0" bIns="0"/>
          <a:lstStyle>
            <a:lvl1pPr>
              <a:defRPr>
                <a:solidFill>
                  <a:srgbClr val="898989"/>
                </a:solidFill>
              </a:defRPr>
            </a:lvl1pPr>
          </a:lstStyle>
          <a:p>
            <a:fld id="{2B7CBEBF-7D34-4668-94D6-F2F756E0EA01}" type="slidenum">
              <a:rPr lang="en-US" altLang="en-US"/>
              <a:pPr/>
              <a:t>‹#›</a:t>
            </a:fld>
            <a:endParaRPr lang="en-US" altLang="en-US"/>
          </a:p>
        </p:txBody>
      </p:sp>
    </p:spTree>
    <p:extLst>
      <p:ext uri="{BB962C8B-B14F-4D97-AF65-F5344CB8AC3E}">
        <p14:creationId xmlns:p14="http://schemas.microsoft.com/office/powerpoint/2010/main" val="3165819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457255" y="1577340"/>
            <a:ext cx="3978118" cy="4526280"/>
          </a:xfrm>
          <a:prstGeom prst="rect">
            <a:avLst/>
          </a:prstGeom>
        </p:spPr>
        <p:txBody>
          <a:bodyPr lIns="0" tIns="0" rIns="0" bIns="0">
            <a:noAutofit/>
          </a:bodyPr>
          <a:lstStyle/>
          <a:p>
            <a:endParaRPr/>
          </a:p>
        </p:txBody>
      </p:sp>
      <p:sp>
        <p:nvSpPr>
          <p:cNvPr id="4" name="Holder 4"/>
          <p:cNvSpPr>
            <a:spLocks noGrp="1"/>
          </p:cNvSpPr>
          <p:nvPr>
            <p:ph sz="half" idx="3"/>
          </p:nvPr>
        </p:nvSpPr>
        <p:spPr>
          <a:xfrm>
            <a:off x="4709727" y="1577340"/>
            <a:ext cx="3978118" cy="4526280"/>
          </a:xfrm>
          <a:prstGeom prst="rect">
            <a:avLst/>
          </a:prstGeom>
        </p:spPr>
        <p:txBody>
          <a:bodyPr lIns="0" tIns="0" rIns="0" bIns="0">
            <a:noAutofit/>
          </a:bodyPr>
          <a:lstStyle/>
          <a:p>
            <a:endParaRPr/>
          </a:p>
        </p:txBody>
      </p:sp>
      <p:sp>
        <p:nvSpPr>
          <p:cNvPr id="5" name="Holder 5">
            <a:extLst>
              <a:ext uri="{FF2B5EF4-FFF2-40B4-BE49-F238E27FC236}">
                <a16:creationId xmlns:a16="http://schemas.microsoft.com/office/drawing/2014/main" id="{0EAFC01C-B6F0-4572-B72B-0C89D190F4C9}"/>
              </a:ext>
            </a:extLst>
          </p:cNvPr>
          <p:cNvSpPr>
            <a:spLocks noGrp="1"/>
          </p:cNvSpPr>
          <p:nvPr>
            <p:ph type="ftr" sz="quarter" idx="10"/>
          </p:nvPr>
        </p:nvSpPr>
        <p:spPr/>
        <p:txBody>
          <a:bodyPr lIns="0" tIns="0" rIns="0" bIns="0"/>
          <a:lstStyle>
            <a:lvl1pPr marL="7334">
              <a:defRPr sz="1213" b="1" spc="-9" dirty="0" smtClean="0">
                <a:solidFill>
                  <a:srgbClr val="FFFFFF"/>
                </a:solidFill>
                <a:latin typeface="Gill Sans"/>
                <a:cs typeface="Gill Sans"/>
              </a:defRPr>
            </a:lvl1pPr>
          </a:lstStyle>
          <a:p>
            <a:pPr>
              <a:defRPr/>
            </a:pPr>
            <a:r>
              <a:rPr lang="en-US"/>
              <a:t>S</a:t>
            </a:r>
            <a:r>
              <a:rPr lang="en-US" spc="0"/>
              <a:t>e</a:t>
            </a:r>
            <a:r>
              <a:rPr lang="en-US" spc="9"/>
              <a:t>c</a:t>
            </a:r>
            <a:r>
              <a:rPr lang="en-US" spc="12"/>
              <a:t>t</a:t>
            </a:r>
            <a:r>
              <a:rPr lang="en-US" spc="-6"/>
              <a:t>i</a:t>
            </a:r>
            <a:r>
              <a:rPr lang="en-US" spc="0"/>
              <a:t>on</a:t>
            </a:r>
            <a:r>
              <a:rPr lang="en-US" spc="3"/>
              <a:t> </a:t>
            </a:r>
            <a:r>
              <a:rPr lang="en-US" spc="9"/>
              <a:t>B</a:t>
            </a:r>
            <a:r>
              <a:rPr lang="en-US" spc="0"/>
              <a:t>:</a:t>
            </a:r>
            <a:endParaRPr lang="en-US" b="0" spc="0">
              <a:solidFill>
                <a:srgbClr val="000000"/>
              </a:solidFill>
            </a:endParaRPr>
          </a:p>
        </p:txBody>
      </p:sp>
      <p:sp>
        <p:nvSpPr>
          <p:cNvPr id="6" name="Holder 6">
            <a:extLst>
              <a:ext uri="{FF2B5EF4-FFF2-40B4-BE49-F238E27FC236}">
                <a16:creationId xmlns:a16="http://schemas.microsoft.com/office/drawing/2014/main" id="{B1FB8DAA-5518-4E09-863B-E6AB15363BED}"/>
              </a:ext>
            </a:extLst>
          </p:cNvPr>
          <p:cNvSpPr>
            <a:spLocks noGrp="1"/>
          </p:cNvSpPr>
          <p:nvPr>
            <p:ph type="dt" sz="half" idx="11"/>
          </p:nvPr>
        </p:nvSpPr>
        <p:spPr/>
        <p:txBody>
          <a:bodyPr lIns="0" tIns="0" rIns="0" bIns="0"/>
          <a:lstStyle>
            <a:lvl1pPr algn="l">
              <a:defRPr smtClean="0">
                <a:solidFill>
                  <a:schemeClr val="tx1">
                    <a:tint val="75000"/>
                  </a:schemeClr>
                </a:solidFill>
              </a:defRPr>
            </a:lvl1pPr>
          </a:lstStyle>
          <a:p>
            <a:pPr>
              <a:defRPr/>
            </a:pPr>
            <a:fld id="{D00E8767-44C9-4747-BF20-616606F65BF7}" type="datetimeFigureOut">
              <a:rPr lang="en-US"/>
              <a:pPr>
                <a:defRPr/>
              </a:pPr>
              <a:t>7/25/2022</a:t>
            </a:fld>
            <a:endParaRPr lang="en-US"/>
          </a:p>
        </p:txBody>
      </p:sp>
      <p:sp>
        <p:nvSpPr>
          <p:cNvPr id="7" name="Holder 7">
            <a:extLst>
              <a:ext uri="{FF2B5EF4-FFF2-40B4-BE49-F238E27FC236}">
                <a16:creationId xmlns:a16="http://schemas.microsoft.com/office/drawing/2014/main" id="{B558D2FC-FC68-4BCA-8279-708B4A5C45D8}"/>
              </a:ext>
            </a:extLst>
          </p:cNvPr>
          <p:cNvSpPr>
            <a:spLocks noGrp="1"/>
          </p:cNvSpPr>
          <p:nvPr>
            <p:ph type="sldNum" sz="quarter" idx="12"/>
          </p:nvPr>
        </p:nvSpPr>
        <p:spPr/>
        <p:txBody>
          <a:bodyPr lIns="0" tIns="0" rIns="0" bIns="0"/>
          <a:lstStyle>
            <a:lvl1pPr>
              <a:defRPr>
                <a:solidFill>
                  <a:srgbClr val="898989"/>
                </a:solidFill>
              </a:defRPr>
            </a:lvl1pPr>
          </a:lstStyle>
          <a:p>
            <a:fld id="{52257CBC-9744-46D2-B2B4-47DB02CF38DD}" type="slidenum">
              <a:rPr lang="en-US" altLang="en-US"/>
              <a:pPr/>
              <a:t>‹#›</a:t>
            </a:fld>
            <a:endParaRPr lang="en-US" altLang="en-US"/>
          </a:p>
        </p:txBody>
      </p:sp>
    </p:spTree>
    <p:extLst>
      <p:ext uri="{BB962C8B-B14F-4D97-AF65-F5344CB8AC3E}">
        <p14:creationId xmlns:p14="http://schemas.microsoft.com/office/powerpoint/2010/main" val="36039178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1"/>
            <a:ext cx="7772400" cy="1470025"/>
          </a:xfrm>
          <a:prstGeom prst="rect">
            <a:avLst/>
          </a:prstGeom>
        </p:spPr>
        <p:txBody>
          <a:bodyPr lIns="52780" tIns="26390" rIns="52780" bIns="26390"/>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lIns="52780" tIns="26390" rIns="52780" bIns="26390"/>
          <a:lstStyle>
            <a:lvl1pPr marL="0" indent="0" algn="ctr">
              <a:buNone/>
              <a:defRPr/>
            </a:lvl1pPr>
            <a:lvl2pPr marL="421537" indent="0" algn="ctr">
              <a:buNone/>
              <a:defRPr/>
            </a:lvl2pPr>
            <a:lvl3pPr marL="843075" indent="0" algn="ctr">
              <a:buNone/>
              <a:defRPr/>
            </a:lvl3pPr>
            <a:lvl4pPr marL="1264614" indent="0" algn="ctr">
              <a:buNone/>
              <a:defRPr/>
            </a:lvl4pPr>
            <a:lvl5pPr marL="1686151" indent="0" algn="ctr">
              <a:buNone/>
              <a:defRPr/>
            </a:lvl5pPr>
            <a:lvl6pPr marL="2107695" indent="0" algn="ctr">
              <a:buNone/>
              <a:defRPr/>
            </a:lvl6pPr>
            <a:lvl7pPr marL="2529234" indent="0" algn="ctr">
              <a:buNone/>
              <a:defRPr/>
            </a:lvl7pPr>
            <a:lvl8pPr marL="2950768" indent="0" algn="ctr">
              <a:buNone/>
              <a:defRPr/>
            </a:lvl8pPr>
            <a:lvl9pPr marL="3372313" indent="0" algn="ctr">
              <a:buNone/>
              <a:defRPr/>
            </a:lvl9pPr>
          </a:lstStyle>
          <a:p>
            <a:r>
              <a:rPr lang="en-US"/>
              <a:t>Click to edit Master subtitle style</a:t>
            </a:r>
          </a:p>
        </p:txBody>
      </p:sp>
    </p:spTree>
    <p:extLst>
      <p:ext uri="{BB962C8B-B14F-4D97-AF65-F5344CB8AC3E}">
        <p14:creationId xmlns:p14="http://schemas.microsoft.com/office/powerpoint/2010/main" val="21290640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52780" tIns="26390" rIns="52780" bIns="26390"/>
          <a:lstStyle/>
          <a:p>
            <a:r>
              <a:rPr lang="en-US"/>
              <a:t>Click to edit Master title style</a:t>
            </a:r>
          </a:p>
        </p:txBody>
      </p:sp>
      <p:sp>
        <p:nvSpPr>
          <p:cNvPr id="3" name="Content Placeholder 2"/>
          <p:cNvSpPr>
            <a:spLocks noGrp="1"/>
          </p:cNvSpPr>
          <p:nvPr>
            <p:ph idx="1"/>
          </p:nvPr>
        </p:nvSpPr>
        <p:spPr>
          <a:xfrm>
            <a:off x="457200" y="1600216"/>
            <a:ext cx="8229600" cy="4525963"/>
          </a:xfrm>
          <a:prstGeom prst="rect">
            <a:avLst/>
          </a:prstGeom>
        </p:spPr>
        <p:txBody>
          <a:bodyPr lIns="52780" tIns="26390" rIns="52780" bIns="2639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6716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4406900"/>
            <a:ext cx="7772400" cy="1362075"/>
          </a:xfrm>
          <a:prstGeom prst="rect">
            <a:avLst/>
          </a:prstGeom>
        </p:spPr>
        <p:txBody>
          <a:bodyPr lIns="52780" tIns="26390" rIns="52780" bIns="26390" anchor="t"/>
          <a:lstStyle>
            <a:lvl1pPr algn="l">
              <a:defRPr sz="3700" b="1" cap="all"/>
            </a:lvl1pPr>
          </a:lstStyle>
          <a:p>
            <a:r>
              <a:rPr lang="en-US"/>
              <a:t>Click to edit Master title style</a:t>
            </a:r>
          </a:p>
        </p:txBody>
      </p:sp>
      <p:sp>
        <p:nvSpPr>
          <p:cNvPr id="3" name="Text Placeholder 2"/>
          <p:cNvSpPr>
            <a:spLocks noGrp="1"/>
          </p:cNvSpPr>
          <p:nvPr>
            <p:ph type="body" idx="1"/>
          </p:nvPr>
        </p:nvSpPr>
        <p:spPr>
          <a:xfrm>
            <a:off x="722435" y="2906714"/>
            <a:ext cx="7772400" cy="1500187"/>
          </a:xfrm>
          <a:prstGeom prst="rect">
            <a:avLst/>
          </a:prstGeom>
        </p:spPr>
        <p:txBody>
          <a:bodyPr lIns="52780" tIns="26390" rIns="52780" bIns="26390" anchor="b"/>
          <a:lstStyle>
            <a:lvl1pPr marL="0" indent="0">
              <a:buNone/>
              <a:defRPr sz="1800"/>
            </a:lvl1pPr>
            <a:lvl2pPr marL="421537" indent="0">
              <a:buNone/>
              <a:defRPr sz="1700"/>
            </a:lvl2pPr>
            <a:lvl3pPr marL="843075" indent="0">
              <a:buNone/>
              <a:defRPr sz="1500"/>
            </a:lvl3pPr>
            <a:lvl4pPr marL="1264614" indent="0">
              <a:buNone/>
              <a:defRPr sz="1300"/>
            </a:lvl4pPr>
            <a:lvl5pPr marL="1686151" indent="0">
              <a:buNone/>
              <a:defRPr sz="1300"/>
            </a:lvl5pPr>
            <a:lvl6pPr marL="2107695" indent="0">
              <a:buNone/>
              <a:defRPr sz="1300"/>
            </a:lvl6pPr>
            <a:lvl7pPr marL="2529234" indent="0">
              <a:buNone/>
              <a:defRPr sz="1300"/>
            </a:lvl7pPr>
            <a:lvl8pPr marL="2950768" indent="0">
              <a:buNone/>
              <a:defRPr sz="1300"/>
            </a:lvl8pPr>
            <a:lvl9pPr marL="3372313" indent="0">
              <a:buNone/>
              <a:defRPr sz="1300"/>
            </a:lvl9pPr>
          </a:lstStyle>
          <a:p>
            <a:pPr lvl="0"/>
            <a:r>
              <a:rPr lang="en-US"/>
              <a:t>Click to edit Master text styles</a:t>
            </a:r>
          </a:p>
        </p:txBody>
      </p:sp>
    </p:spTree>
    <p:extLst>
      <p:ext uri="{BB962C8B-B14F-4D97-AF65-F5344CB8AC3E}">
        <p14:creationId xmlns:p14="http://schemas.microsoft.com/office/powerpoint/2010/main" val="34115411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52780" tIns="26390" rIns="52780" bIns="26390"/>
          <a:lstStyle/>
          <a:p>
            <a:r>
              <a:rPr lang="en-US"/>
              <a:t>Click to edit Master title style</a:t>
            </a:r>
          </a:p>
        </p:txBody>
      </p:sp>
      <p:sp>
        <p:nvSpPr>
          <p:cNvPr id="3" name="Content Placeholder 2"/>
          <p:cNvSpPr>
            <a:spLocks noGrp="1"/>
          </p:cNvSpPr>
          <p:nvPr>
            <p:ph sz="half" idx="1"/>
          </p:nvPr>
        </p:nvSpPr>
        <p:spPr>
          <a:xfrm>
            <a:off x="457200" y="1600216"/>
            <a:ext cx="4044461" cy="4525963"/>
          </a:xfrm>
          <a:prstGeom prst="rect">
            <a:avLst/>
          </a:prstGeom>
        </p:spPr>
        <p:txBody>
          <a:bodyPr lIns="52780" tIns="26390" rIns="52780" bIns="26390"/>
          <a:lstStyle>
            <a:lvl1pPr>
              <a:defRPr sz="2600"/>
            </a:lvl1pPr>
            <a:lvl2pPr>
              <a:defRPr sz="22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2340" y="1600216"/>
            <a:ext cx="4044461" cy="4525963"/>
          </a:xfrm>
          <a:prstGeom prst="rect">
            <a:avLst/>
          </a:prstGeom>
        </p:spPr>
        <p:txBody>
          <a:bodyPr lIns="52780" tIns="26390" rIns="52780" bIns="26390"/>
          <a:lstStyle>
            <a:lvl1pPr>
              <a:defRPr sz="2600"/>
            </a:lvl1pPr>
            <a:lvl2pPr>
              <a:defRPr sz="22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68621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52780" tIns="26390" rIns="52780" bIns="26390"/>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066" cy="639762"/>
          </a:xfrm>
          <a:prstGeom prst="rect">
            <a:avLst/>
          </a:prstGeom>
        </p:spPr>
        <p:txBody>
          <a:bodyPr lIns="52780" tIns="26390" rIns="52780" bIns="26390" anchor="b"/>
          <a:lstStyle>
            <a:lvl1pPr marL="0" indent="0">
              <a:buNone/>
              <a:defRPr sz="2200" b="1"/>
            </a:lvl1pPr>
            <a:lvl2pPr marL="421537" indent="0">
              <a:buNone/>
              <a:defRPr sz="1800" b="1"/>
            </a:lvl2pPr>
            <a:lvl3pPr marL="843075" indent="0">
              <a:buNone/>
              <a:defRPr sz="1700" b="1"/>
            </a:lvl3pPr>
            <a:lvl4pPr marL="1264614" indent="0">
              <a:buNone/>
              <a:defRPr sz="1500" b="1"/>
            </a:lvl4pPr>
            <a:lvl5pPr marL="1686151" indent="0">
              <a:buNone/>
              <a:defRPr sz="1500" b="1"/>
            </a:lvl5pPr>
            <a:lvl6pPr marL="2107695" indent="0">
              <a:buNone/>
              <a:defRPr sz="1500" b="1"/>
            </a:lvl6pPr>
            <a:lvl7pPr marL="2529234" indent="0">
              <a:buNone/>
              <a:defRPr sz="1500" b="1"/>
            </a:lvl7pPr>
            <a:lvl8pPr marL="2950768" indent="0">
              <a:buNone/>
              <a:defRPr sz="1500" b="1"/>
            </a:lvl8pPr>
            <a:lvl9pPr marL="3372313" indent="0">
              <a:buNone/>
              <a:defRPr sz="1500" b="1"/>
            </a:lvl9pPr>
          </a:lstStyle>
          <a:p>
            <a:pPr lvl="0"/>
            <a:r>
              <a:rPr lang="en-US"/>
              <a:t>Click to edit Master text styles</a:t>
            </a:r>
          </a:p>
        </p:txBody>
      </p:sp>
      <p:sp>
        <p:nvSpPr>
          <p:cNvPr id="4" name="Content Placeholder 3"/>
          <p:cNvSpPr>
            <a:spLocks noGrp="1"/>
          </p:cNvSpPr>
          <p:nvPr>
            <p:ph sz="half" idx="2"/>
          </p:nvPr>
        </p:nvSpPr>
        <p:spPr>
          <a:xfrm>
            <a:off x="457200" y="2174875"/>
            <a:ext cx="4040066" cy="3951288"/>
          </a:xfrm>
          <a:prstGeom prst="rect">
            <a:avLst/>
          </a:prstGeom>
        </p:spPr>
        <p:txBody>
          <a:bodyPr lIns="52780" tIns="26390" rIns="52780" bIns="26390"/>
          <a:lstStyle>
            <a:lvl1pPr>
              <a:defRPr sz="2200"/>
            </a:lvl1pPr>
            <a:lvl2pPr>
              <a:defRPr sz="18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271" y="1535113"/>
            <a:ext cx="4041531" cy="639762"/>
          </a:xfrm>
          <a:prstGeom prst="rect">
            <a:avLst/>
          </a:prstGeom>
        </p:spPr>
        <p:txBody>
          <a:bodyPr lIns="52780" tIns="26390" rIns="52780" bIns="26390" anchor="b"/>
          <a:lstStyle>
            <a:lvl1pPr marL="0" indent="0">
              <a:buNone/>
              <a:defRPr sz="2200" b="1"/>
            </a:lvl1pPr>
            <a:lvl2pPr marL="421537" indent="0">
              <a:buNone/>
              <a:defRPr sz="1800" b="1"/>
            </a:lvl2pPr>
            <a:lvl3pPr marL="843075" indent="0">
              <a:buNone/>
              <a:defRPr sz="1700" b="1"/>
            </a:lvl3pPr>
            <a:lvl4pPr marL="1264614" indent="0">
              <a:buNone/>
              <a:defRPr sz="1500" b="1"/>
            </a:lvl4pPr>
            <a:lvl5pPr marL="1686151" indent="0">
              <a:buNone/>
              <a:defRPr sz="1500" b="1"/>
            </a:lvl5pPr>
            <a:lvl6pPr marL="2107695" indent="0">
              <a:buNone/>
              <a:defRPr sz="1500" b="1"/>
            </a:lvl6pPr>
            <a:lvl7pPr marL="2529234" indent="0">
              <a:buNone/>
              <a:defRPr sz="1500" b="1"/>
            </a:lvl7pPr>
            <a:lvl8pPr marL="2950768" indent="0">
              <a:buNone/>
              <a:defRPr sz="1500" b="1"/>
            </a:lvl8pPr>
            <a:lvl9pPr marL="3372313"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271" y="2174875"/>
            <a:ext cx="4041531" cy="3951288"/>
          </a:xfrm>
          <a:prstGeom prst="rect">
            <a:avLst/>
          </a:prstGeom>
        </p:spPr>
        <p:txBody>
          <a:bodyPr lIns="52780" tIns="26390" rIns="52780" bIns="26390"/>
          <a:lstStyle>
            <a:lvl1pPr>
              <a:defRPr sz="2200"/>
            </a:lvl1pPr>
            <a:lvl2pPr>
              <a:defRPr sz="1800"/>
            </a:lvl2pPr>
            <a:lvl3pPr>
              <a:defRPr sz="17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13859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52780" tIns="26390" rIns="52780" bIns="26390"/>
          <a:lstStyle/>
          <a:p>
            <a:r>
              <a:rPr lang="en-US"/>
              <a:t>Click to edit Master title style</a:t>
            </a:r>
          </a:p>
        </p:txBody>
      </p:sp>
    </p:spTree>
    <p:extLst>
      <p:ext uri="{BB962C8B-B14F-4D97-AF65-F5344CB8AC3E}">
        <p14:creationId xmlns:p14="http://schemas.microsoft.com/office/powerpoint/2010/main" val="4490552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28321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435" cy="1162050"/>
          </a:xfrm>
          <a:prstGeom prst="rect">
            <a:avLst/>
          </a:prstGeom>
        </p:spPr>
        <p:txBody>
          <a:bodyPr lIns="52780" tIns="26390" rIns="52780" bIns="26390" anchor="b"/>
          <a:lstStyle>
            <a:lvl1pPr algn="l">
              <a:defRPr sz="1800" b="1"/>
            </a:lvl1pPr>
          </a:lstStyle>
          <a:p>
            <a:r>
              <a:rPr lang="en-US"/>
              <a:t>Click to edit Master title style</a:t>
            </a:r>
          </a:p>
        </p:txBody>
      </p:sp>
      <p:sp>
        <p:nvSpPr>
          <p:cNvPr id="3" name="Content Placeholder 2"/>
          <p:cNvSpPr>
            <a:spLocks noGrp="1"/>
          </p:cNvSpPr>
          <p:nvPr>
            <p:ph idx="1"/>
          </p:nvPr>
        </p:nvSpPr>
        <p:spPr>
          <a:xfrm>
            <a:off x="3575538" y="273066"/>
            <a:ext cx="5111262" cy="5853113"/>
          </a:xfrm>
          <a:prstGeom prst="rect">
            <a:avLst/>
          </a:prstGeom>
        </p:spPr>
        <p:txBody>
          <a:bodyPr lIns="52780" tIns="26390" rIns="52780" bIns="26390"/>
          <a:lstStyle>
            <a:lvl1pPr>
              <a:defRPr sz="3000"/>
            </a:lvl1pPr>
            <a:lvl2pPr>
              <a:defRPr sz="26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16"/>
            <a:ext cx="3008435" cy="4691063"/>
          </a:xfrm>
          <a:prstGeom prst="rect">
            <a:avLst/>
          </a:prstGeom>
        </p:spPr>
        <p:txBody>
          <a:bodyPr lIns="52780" tIns="26390" rIns="52780" bIns="26390"/>
          <a:lstStyle>
            <a:lvl1pPr marL="0" indent="0">
              <a:buNone/>
              <a:defRPr sz="1300"/>
            </a:lvl1pPr>
            <a:lvl2pPr marL="421537" indent="0">
              <a:buNone/>
              <a:defRPr sz="1100"/>
            </a:lvl2pPr>
            <a:lvl3pPr marL="843075" indent="0">
              <a:buNone/>
              <a:defRPr sz="900"/>
            </a:lvl3pPr>
            <a:lvl4pPr marL="1264614" indent="0">
              <a:buNone/>
              <a:defRPr sz="800"/>
            </a:lvl4pPr>
            <a:lvl5pPr marL="1686151" indent="0">
              <a:buNone/>
              <a:defRPr sz="800"/>
            </a:lvl5pPr>
            <a:lvl6pPr marL="2107695" indent="0">
              <a:buNone/>
              <a:defRPr sz="800"/>
            </a:lvl6pPr>
            <a:lvl7pPr marL="2529234" indent="0">
              <a:buNone/>
              <a:defRPr sz="800"/>
            </a:lvl7pPr>
            <a:lvl8pPr marL="2950768" indent="0">
              <a:buNone/>
              <a:defRPr sz="800"/>
            </a:lvl8pPr>
            <a:lvl9pPr marL="3372313" indent="0">
              <a:buNone/>
              <a:defRPr sz="800"/>
            </a:lvl9pPr>
          </a:lstStyle>
          <a:p>
            <a:pPr lvl="0"/>
            <a:r>
              <a:rPr lang="en-US"/>
              <a:t>Click to edit Master text styles</a:t>
            </a:r>
          </a:p>
        </p:txBody>
      </p:sp>
    </p:spTree>
    <p:extLst>
      <p:ext uri="{BB962C8B-B14F-4D97-AF65-F5344CB8AC3E}">
        <p14:creationId xmlns:p14="http://schemas.microsoft.com/office/powerpoint/2010/main" val="5716777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x2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31147" y="1600200"/>
            <a:ext cx="3997571" cy="4706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26 April 2016</a:t>
            </a:r>
          </a:p>
        </p:txBody>
      </p:sp>
      <p:sp>
        <p:nvSpPr>
          <p:cNvPr id="5" name="Footer Placeholder 4"/>
          <p:cNvSpPr>
            <a:spLocks noGrp="1"/>
          </p:cNvSpPr>
          <p:nvPr>
            <p:ph type="ftr" sz="quarter" idx="11"/>
          </p:nvPr>
        </p:nvSpPr>
        <p:spPr/>
        <p:txBody>
          <a:bodyPr/>
          <a:lstStyle/>
          <a:p>
            <a:r>
              <a:rPr lang="en-US"/>
              <a:t>Amend presentation name in Footer and Apply to All</a:t>
            </a:r>
          </a:p>
        </p:txBody>
      </p:sp>
      <p:sp>
        <p:nvSpPr>
          <p:cNvPr id="6" name="Slide Number Placeholder 5"/>
          <p:cNvSpPr>
            <a:spLocks noGrp="1"/>
          </p:cNvSpPr>
          <p:nvPr>
            <p:ph type="sldNum" sz="quarter" idx="12"/>
          </p:nvPr>
        </p:nvSpPr>
        <p:spPr/>
        <p:txBody>
          <a:bodyPr/>
          <a:lstStyle/>
          <a:p>
            <a:fld id="{C3FDE51E-0052-334C-A4B2-C567FE9F326F}" type="slidenum">
              <a:rPr lang="en-US" smtClean="0"/>
              <a:pPr/>
              <a:t>‹#›</a:t>
            </a:fld>
            <a:endParaRPr lang="en-US"/>
          </a:p>
        </p:txBody>
      </p:sp>
      <p:sp>
        <p:nvSpPr>
          <p:cNvPr id="8" name="Text Placeholder 7"/>
          <p:cNvSpPr>
            <a:spLocks noGrp="1"/>
          </p:cNvSpPr>
          <p:nvPr>
            <p:ph type="body" sz="quarter" idx="13"/>
          </p:nvPr>
        </p:nvSpPr>
        <p:spPr>
          <a:xfrm>
            <a:off x="425286" y="705600"/>
            <a:ext cx="8282151" cy="363537"/>
          </a:xfrm>
        </p:spPr>
        <p:txBody>
          <a:bodyPr>
            <a:norm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stStyle>
          <a:p>
            <a:pPr lvl="0"/>
            <a:r>
              <a:rPr lang="en-US"/>
              <a:t>Edit Master text styles</a:t>
            </a:r>
          </a:p>
        </p:txBody>
      </p:sp>
      <p:sp>
        <p:nvSpPr>
          <p:cNvPr id="9" name="Content Placeholder 2"/>
          <p:cNvSpPr>
            <a:spLocks noGrp="1"/>
          </p:cNvSpPr>
          <p:nvPr>
            <p:ph idx="14"/>
          </p:nvPr>
        </p:nvSpPr>
        <p:spPr>
          <a:xfrm>
            <a:off x="4709703" y="1600200"/>
            <a:ext cx="3997571" cy="4706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59435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4800600"/>
            <a:ext cx="5486400" cy="566738"/>
          </a:xfrm>
          <a:prstGeom prst="rect">
            <a:avLst/>
          </a:prstGeom>
        </p:spPr>
        <p:txBody>
          <a:bodyPr lIns="52780" tIns="26390" rIns="52780" bIns="26390" anchor="b"/>
          <a:lstStyle>
            <a:lvl1pPr algn="l">
              <a:defRPr sz="1800" b="1"/>
            </a:lvl1pPr>
          </a:lstStyle>
          <a:p>
            <a:r>
              <a:rPr lang="en-US"/>
              <a:t>Click to edit Master title style</a:t>
            </a:r>
          </a:p>
        </p:txBody>
      </p:sp>
      <p:sp>
        <p:nvSpPr>
          <p:cNvPr id="3" name="Picture Placeholder 2"/>
          <p:cNvSpPr>
            <a:spLocks noGrp="1"/>
          </p:cNvSpPr>
          <p:nvPr>
            <p:ph type="pic" idx="1"/>
          </p:nvPr>
        </p:nvSpPr>
        <p:spPr>
          <a:xfrm>
            <a:off x="1792166" y="612775"/>
            <a:ext cx="5486400" cy="4114800"/>
          </a:xfrm>
          <a:prstGeom prst="rect">
            <a:avLst/>
          </a:prstGeom>
        </p:spPr>
        <p:txBody>
          <a:bodyPr lIns="52780" tIns="26390" rIns="52780" bIns="26390"/>
          <a:lstStyle>
            <a:lvl1pPr marL="0" indent="0">
              <a:buNone/>
              <a:defRPr sz="3000"/>
            </a:lvl1pPr>
            <a:lvl2pPr marL="421537" indent="0">
              <a:buNone/>
              <a:defRPr sz="2600"/>
            </a:lvl2pPr>
            <a:lvl3pPr marL="843075" indent="0">
              <a:buNone/>
              <a:defRPr sz="2200"/>
            </a:lvl3pPr>
            <a:lvl4pPr marL="1264614" indent="0">
              <a:buNone/>
              <a:defRPr sz="1800"/>
            </a:lvl4pPr>
            <a:lvl5pPr marL="1686151" indent="0">
              <a:buNone/>
              <a:defRPr sz="1800"/>
            </a:lvl5pPr>
            <a:lvl6pPr marL="2107695" indent="0">
              <a:buNone/>
              <a:defRPr sz="1800"/>
            </a:lvl6pPr>
            <a:lvl7pPr marL="2529234" indent="0">
              <a:buNone/>
              <a:defRPr sz="1800"/>
            </a:lvl7pPr>
            <a:lvl8pPr marL="2950768" indent="0">
              <a:buNone/>
              <a:defRPr sz="1800"/>
            </a:lvl8pPr>
            <a:lvl9pPr marL="3372313" indent="0">
              <a:buNone/>
              <a:defRPr sz="1800"/>
            </a:lvl9pPr>
          </a:lstStyle>
          <a:p>
            <a:pPr lvl="0"/>
            <a:endParaRPr lang="en-US" noProof="0"/>
          </a:p>
        </p:txBody>
      </p:sp>
      <p:sp>
        <p:nvSpPr>
          <p:cNvPr id="4" name="Text Placeholder 3"/>
          <p:cNvSpPr>
            <a:spLocks noGrp="1"/>
          </p:cNvSpPr>
          <p:nvPr>
            <p:ph type="body" sz="half" idx="2"/>
          </p:nvPr>
        </p:nvSpPr>
        <p:spPr>
          <a:xfrm>
            <a:off x="1792166" y="5367338"/>
            <a:ext cx="5486400" cy="804862"/>
          </a:xfrm>
          <a:prstGeom prst="rect">
            <a:avLst/>
          </a:prstGeom>
        </p:spPr>
        <p:txBody>
          <a:bodyPr lIns="52780" tIns="26390" rIns="52780" bIns="26390"/>
          <a:lstStyle>
            <a:lvl1pPr marL="0" indent="0">
              <a:buNone/>
              <a:defRPr sz="1300"/>
            </a:lvl1pPr>
            <a:lvl2pPr marL="421537" indent="0">
              <a:buNone/>
              <a:defRPr sz="1100"/>
            </a:lvl2pPr>
            <a:lvl3pPr marL="843075" indent="0">
              <a:buNone/>
              <a:defRPr sz="900"/>
            </a:lvl3pPr>
            <a:lvl4pPr marL="1264614" indent="0">
              <a:buNone/>
              <a:defRPr sz="800"/>
            </a:lvl4pPr>
            <a:lvl5pPr marL="1686151" indent="0">
              <a:buNone/>
              <a:defRPr sz="800"/>
            </a:lvl5pPr>
            <a:lvl6pPr marL="2107695" indent="0">
              <a:buNone/>
              <a:defRPr sz="800"/>
            </a:lvl6pPr>
            <a:lvl7pPr marL="2529234" indent="0">
              <a:buNone/>
              <a:defRPr sz="800"/>
            </a:lvl7pPr>
            <a:lvl8pPr marL="2950768" indent="0">
              <a:buNone/>
              <a:defRPr sz="800"/>
            </a:lvl8pPr>
            <a:lvl9pPr marL="3372313" indent="0">
              <a:buNone/>
              <a:defRPr sz="800"/>
            </a:lvl9pPr>
          </a:lstStyle>
          <a:p>
            <a:pPr lvl="0"/>
            <a:r>
              <a:rPr lang="en-US"/>
              <a:t>Click to edit Master text styles</a:t>
            </a:r>
          </a:p>
        </p:txBody>
      </p:sp>
    </p:spTree>
    <p:extLst>
      <p:ext uri="{BB962C8B-B14F-4D97-AF65-F5344CB8AC3E}">
        <p14:creationId xmlns:p14="http://schemas.microsoft.com/office/powerpoint/2010/main" val="7310919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52780" tIns="26390" rIns="52780" bIns="26390"/>
          <a:lstStyle/>
          <a:p>
            <a:r>
              <a:rPr lang="en-US"/>
              <a:t>Click to edit Master title style</a:t>
            </a:r>
          </a:p>
        </p:txBody>
      </p:sp>
      <p:sp>
        <p:nvSpPr>
          <p:cNvPr id="3" name="Vertical Text Placeholder 2"/>
          <p:cNvSpPr>
            <a:spLocks noGrp="1"/>
          </p:cNvSpPr>
          <p:nvPr>
            <p:ph type="body" orient="vert" idx="1"/>
          </p:nvPr>
        </p:nvSpPr>
        <p:spPr>
          <a:xfrm>
            <a:off x="457200" y="1600216"/>
            <a:ext cx="8229600" cy="4525963"/>
          </a:xfrm>
          <a:prstGeom prst="rect">
            <a:avLst/>
          </a:prstGeom>
        </p:spPr>
        <p:txBody>
          <a:bodyPr vert="eaVert" lIns="52780" tIns="26390" rIns="52780" bIns="2639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99610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54"/>
            <a:ext cx="2057400" cy="5851525"/>
          </a:xfrm>
          <a:prstGeom prst="rect">
            <a:avLst/>
          </a:prstGeom>
        </p:spPr>
        <p:txBody>
          <a:bodyPr vert="eaVert" lIns="52780" tIns="26390" rIns="52780" bIns="26390"/>
          <a:lstStyle/>
          <a:p>
            <a:r>
              <a:rPr lang="en-US"/>
              <a:t>Click to edit Master title style</a:t>
            </a:r>
          </a:p>
        </p:txBody>
      </p:sp>
      <p:sp>
        <p:nvSpPr>
          <p:cNvPr id="3" name="Vertical Text Placeholder 2"/>
          <p:cNvSpPr>
            <a:spLocks noGrp="1"/>
          </p:cNvSpPr>
          <p:nvPr>
            <p:ph type="body" orient="vert" idx="1"/>
          </p:nvPr>
        </p:nvSpPr>
        <p:spPr>
          <a:xfrm>
            <a:off x="457201" y="274654"/>
            <a:ext cx="6031523" cy="5851525"/>
          </a:xfrm>
          <a:prstGeom prst="rect">
            <a:avLst/>
          </a:prstGeom>
        </p:spPr>
        <p:txBody>
          <a:bodyPr vert="eaVert" lIns="52780" tIns="26390" rIns="52780" bIns="2639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220786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cSld name="1_Two Content">
    <p:spTree>
      <p:nvGrpSpPr>
        <p:cNvPr id="1" name=""/>
        <p:cNvGrpSpPr/>
        <p:nvPr/>
      </p:nvGrpSpPr>
      <p:grpSpPr>
        <a:xfrm>
          <a:off x="0" y="0"/>
          <a:ext cx="0" cy="0"/>
          <a:chOff x="0" y="0"/>
          <a:chExt cx="0" cy="0"/>
        </a:xfrm>
      </p:grpSpPr>
      <p:sp>
        <p:nvSpPr>
          <p:cNvPr id="5" name="bk object 16"/>
          <p:cNvSpPr/>
          <p:nvPr/>
        </p:nvSpPr>
        <p:spPr>
          <a:xfrm>
            <a:off x="1" y="0"/>
            <a:ext cx="9145835" cy="5854972"/>
          </a:xfrm>
          <a:prstGeom prst="rect">
            <a:avLst/>
          </a:prstGeom>
          <a:blipFill>
            <a:blip r:embed="rId2" cstate="print"/>
            <a:stretch>
              <a:fillRect/>
            </a:stretch>
          </a:blipFill>
        </p:spPr>
        <p:txBody>
          <a:bodyPr lIns="0" tIns="0" rIns="0" bIns="0"/>
          <a:lstStyle/>
          <a:p>
            <a:pPr eaLnBrk="0" fontAlgn="base" hangingPunct="0">
              <a:spcBef>
                <a:spcPct val="0"/>
              </a:spcBef>
              <a:spcAft>
                <a:spcPct val="0"/>
              </a:spcAft>
            </a:pPr>
            <a:endParaRPr lang="en-US" sz="2100">
              <a:solidFill>
                <a:srgbClr val="000000"/>
              </a:solidFill>
              <a:latin typeface="Gill Sans MT" pitchFamily="34" charset="0"/>
            </a:endParaRPr>
          </a:p>
        </p:txBody>
      </p:sp>
      <p:sp>
        <p:nvSpPr>
          <p:cNvPr id="6" name="bk object 17"/>
          <p:cNvSpPr/>
          <p:nvPr/>
        </p:nvSpPr>
        <p:spPr>
          <a:xfrm>
            <a:off x="1" y="0"/>
            <a:ext cx="9145835" cy="5854972"/>
          </a:xfrm>
          <a:prstGeom prst="rect">
            <a:avLst/>
          </a:prstGeom>
          <a:blipFill>
            <a:blip r:embed="rId3" cstate="print"/>
            <a:stretch>
              <a:fillRect/>
            </a:stretch>
          </a:blipFill>
        </p:spPr>
        <p:txBody>
          <a:bodyPr lIns="0" tIns="0" rIns="0" bIns="0"/>
          <a:lstStyle/>
          <a:p>
            <a:pPr eaLnBrk="0" fontAlgn="base" hangingPunct="0">
              <a:spcBef>
                <a:spcPct val="0"/>
              </a:spcBef>
              <a:spcAft>
                <a:spcPct val="0"/>
              </a:spcAft>
            </a:pPr>
            <a:endParaRPr lang="en-US" sz="2100">
              <a:solidFill>
                <a:srgbClr val="000000"/>
              </a:solidFill>
              <a:latin typeface="Gill Sans MT" pitchFamily="34" charset="0"/>
            </a:endParaRPr>
          </a:p>
        </p:txBody>
      </p:sp>
      <p:sp>
        <p:nvSpPr>
          <p:cNvPr id="7" name="bk object 18"/>
          <p:cNvSpPr/>
          <p:nvPr/>
        </p:nvSpPr>
        <p:spPr>
          <a:xfrm>
            <a:off x="1" y="5796294"/>
            <a:ext cx="9145835" cy="117356"/>
          </a:xfrm>
          <a:custGeom>
            <a:avLst/>
            <a:gdLst/>
            <a:ahLst/>
            <a:cxnLst/>
            <a:rect l="l" t="t" r="r" b="b"/>
            <a:pathLst>
              <a:path w="15825596" h="204177">
                <a:moveTo>
                  <a:pt x="0" y="0"/>
                </a:moveTo>
                <a:lnTo>
                  <a:pt x="0" y="204177"/>
                </a:lnTo>
                <a:lnTo>
                  <a:pt x="15825596" y="204177"/>
                </a:lnTo>
                <a:lnTo>
                  <a:pt x="15825596" y="0"/>
                </a:lnTo>
                <a:lnTo>
                  <a:pt x="0" y="0"/>
                </a:lnTo>
              </a:path>
            </a:pathLst>
          </a:custGeom>
          <a:solidFill>
            <a:srgbClr val="ED1C24"/>
          </a:solidFill>
        </p:spPr>
        <p:txBody>
          <a:bodyPr lIns="0" tIns="0" rIns="0" bIns="0"/>
          <a:lstStyle/>
          <a:p>
            <a:pPr eaLnBrk="0" fontAlgn="base" hangingPunct="0">
              <a:spcBef>
                <a:spcPct val="0"/>
              </a:spcBef>
              <a:spcAft>
                <a:spcPct val="0"/>
              </a:spcAft>
              <a:defRPr/>
            </a:pPr>
            <a:endParaRPr sz="2100">
              <a:solidFill>
                <a:srgbClr val="000000"/>
              </a:solidFill>
              <a:latin typeface="Gill Sans MT" pitchFamily="34" charset="0"/>
            </a:endParaRPr>
          </a:p>
        </p:txBody>
      </p:sp>
      <p:sp>
        <p:nvSpPr>
          <p:cNvPr id="8" name="bk object 19"/>
          <p:cNvSpPr/>
          <p:nvPr/>
        </p:nvSpPr>
        <p:spPr>
          <a:xfrm>
            <a:off x="15" y="5603757"/>
            <a:ext cx="1437465" cy="192537"/>
          </a:xfrm>
          <a:custGeom>
            <a:avLst/>
            <a:gdLst/>
            <a:ahLst/>
            <a:cxnLst/>
            <a:rect l="l" t="t"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p:spPr>
        <p:txBody>
          <a:bodyPr lIns="0" tIns="0" rIns="0" bIns="0"/>
          <a:lstStyle/>
          <a:p>
            <a:pPr eaLnBrk="0" fontAlgn="base" hangingPunct="0">
              <a:spcBef>
                <a:spcPct val="0"/>
              </a:spcBef>
              <a:spcAft>
                <a:spcPct val="0"/>
              </a:spcAft>
              <a:defRPr/>
            </a:pPr>
            <a:endParaRPr sz="2100">
              <a:solidFill>
                <a:srgbClr val="000000"/>
              </a:solidFill>
              <a:latin typeface="Gill Sans MT" pitchFamily="34" charset="0"/>
            </a:endParaRPr>
          </a:p>
        </p:txBody>
      </p:sp>
      <p:sp>
        <p:nvSpPr>
          <p:cNvPr id="9" name="bk object 20"/>
          <p:cNvSpPr/>
          <p:nvPr/>
        </p:nvSpPr>
        <p:spPr>
          <a:xfrm>
            <a:off x="1" y="0"/>
            <a:ext cx="9145835" cy="117356"/>
          </a:xfrm>
          <a:custGeom>
            <a:avLst/>
            <a:gdLst/>
            <a:ahLst/>
            <a:cxnLst/>
            <a:rect l="l" t="t" r="r" b="b"/>
            <a:pathLst>
              <a:path w="15825596" h="204177">
                <a:moveTo>
                  <a:pt x="0" y="204177"/>
                </a:moveTo>
                <a:lnTo>
                  <a:pt x="15825596" y="204177"/>
                </a:lnTo>
                <a:lnTo>
                  <a:pt x="15825596" y="0"/>
                </a:lnTo>
                <a:lnTo>
                  <a:pt x="0" y="0"/>
                </a:lnTo>
                <a:lnTo>
                  <a:pt x="0" y="204177"/>
                </a:lnTo>
              </a:path>
            </a:pathLst>
          </a:custGeom>
          <a:solidFill>
            <a:srgbClr val="005286"/>
          </a:solidFill>
        </p:spPr>
        <p:txBody>
          <a:bodyPr lIns="0" tIns="0" rIns="0" bIns="0"/>
          <a:lstStyle/>
          <a:p>
            <a:pPr eaLnBrk="0" fontAlgn="base" hangingPunct="0">
              <a:spcBef>
                <a:spcPct val="0"/>
              </a:spcBef>
              <a:spcAft>
                <a:spcPct val="0"/>
              </a:spcAft>
              <a:defRPr/>
            </a:pPr>
            <a:endParaRPr sz="2100">
              <a:solidFill>
                <a:srgbClr val="000000"/>
              </a:solidFill>
              <a:latin typeface="Gill Sans MT" pitchFamily="34" charset="0"/>
            </a:endParaRPr>
          </a:p>
        </p:txBody>
      </p:sp>
      <p:sp>
        <p:nvSpPr>
          <p:cNvPr id="10" name="bk object 21"/>
          <p:cNvSpPr/>
          <p:nvPr/>
        </p:nvSpPr>
        <p:spPr>
          <a:xfrm>
            <a:off x="8428479" y="263135"/>
            <a:ext cx="717356" cy="359403"/>
          </a:xfrm>
          <a:custGeom>
            <a:avLst/>
            <a:gdLst/>
            <a:ahLst/>
            <a:cxnLst/>
            <a:rect l="l" t="t"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p:spPr>
        <p:txBody>
          <a:bodyPr lIns="0" tIns="0" rIns="0" bIns="0"/>
          <a:lstStyle/>
          <a:p>
            <a:pPr eaLnBrk="0" fontAlgn="base" hangingPunct="0">
              <a:spcBef>
                <a:spcPct val="0"/>
              </a:spcBef>
              <a:spcAft>
                <a:spcPct val="0"/>
              </a:spcAft>
              <a:defRPr/>
            </a:pPr>
            <a:endParaRPr sz="2100">
              <a:solidFill>
                <a:srgbClr val="000000"/>
              </a:solidFill>
              <a:latin typeface="Gill Sans MT" pitchFamily="34" charset="0"/>
            </a:endParaRPr>
          </a:p>
        </p:txBody>
      </p:sp>
      <p:sp>
        <p:nvSpPr>
          <p:cNvPr id="2" name="Holder 2"/>
          <p:cNvSpPr>
            <a:spLocks noGrp="1"/>
          </p:cNvSpPr>
          <p:nvPr>
            <p:ph type="title"/>
          </p:nvPr>
        </p:nvSpPr>
        <p:spPr/>
        <p:txBody>
          <a:bodyPr lIns="0" tIns="0" rIns="0" bIns="0"/>
          <a:lstStyle/>
          <a:p>
            <a:endParaRPr/>
          </a:p>
        </p:txBody>
      </p:sp>
      <p:sp>
        <p:nvSpPr>
          <p:cNvPr id="3" name="Holder 3"/>
          <p:cNvSpPr>
            <a:spLocks noGrp="1"/>
          </p:cNvSpPr>
          <p:nvPr>
            <p:ph sz="half" idx="2"/>
          </p:nvPr>
        </p:nvSpPr>
        <p:spPr>
          <a:xfrm>
            <a:off x="457255" y="1577340"/>
            <a:ext cx="3978118" cy="4526280"/>
          </a:xfrm>
          <a:prstGeom prst="rect">
            <a:avLst/>
          </a:prstGeom>
        </p:spPr>
        <p:txBody>
          <a:bodyPr wrap="square" lIns="0" tIns="0" rIns="0" bIns="0">
            <a:noAutofit/>
          </a:bodyPr>
          <a:lstStyle/>
          <a:p>
            <a:endParaRPr/>
          </a:p>
        </p:txBody>
      </p:sp>
      <p:sp>
        <p:nvSpPr>
          <p:cNvPr id="4" name="Holder 4"/>
          <p:cNvSpPr>
            <a:spLocks noGrp="1"/>
          </p:cNvSpPr>
          <p:nvPr>
            <p:ph sz="half" idx="3"/>
          </p:nvPr>
        </p:nvSpPr>
        <p:spPr>
          <a:xfrm>
            <a:off x="4709728" y="1577340"/>
            <a:ext cx="3978118" cy="4526280"/>
          </a:xfrm>
          <a:prstGeom prst="rect">
            <a:avLst/>
          </a:prstGeom>
        </p:spPr>
        <p:txBody>
          <a:bodyPr wrap="square" lIns="0" tIns="0" rIns="0" bIns="0">
            <a:noAutofit/>
          </a:bodyPr>
          <a:lstStyle/>
          <a:p>
            <a:endParaRPr/>
          </a:p>
        </p:txBody>
      </p:sp>
      <p:sp>
        <p:nvSpPr>
          <p:cNvPr id="11" name="Holder 5"/>
          <p:cNvSpPr>
            <a:spLocks noGrp="1"/>
          </p:cNvSpPr>
          <p:nvPr>
            <p:ph type="ftr" sz="quarter" idx="10"/>
          </p:nvPr>
        </p:nvSpPr>
        <p:spPr>
          <a:xfrm>
            <a:off x="0" y="0"/>
            <a:ext cx="0" cy="0"/>
          </a:xfrm>
        </p:spPr>
        <p:txBody>
          <a:bodyPr vert="horz" wrap="square" lIns="0" tIns="0" rIns="0" bIns="0" numCol="1" anchor="t" anchorCtr="0" compatLnSpc="1">
            <a:prstTxWarp prst="textNoShape">
              <a:avLst/>
            </a:prstTxWarp>
          </a:bodyPr>
          <a:lstStyle>
            <a:lvl1pPr marL="6419">
              <a:defRPr sz="1100" b="1">
                <a:solidFill>
                  <a:srgbClr val="FFFFFF"/>
                </a:solidFill>
                <a:latin typeface="Gill Sans"/>
                <a:ea typeface="Gill Sans"/>
                <a:cs typeface="Gill Sans"/>
              </a:defRPr>
            </a:lvl1pPr>
          </a:lstStyle>
          <a:p>
            <a:pPr eaLnBrk="0" fontAlgn="base" hangingPunct="0">
              <a:spcBef>
                <a:spcPct val="0"/>
              </a:spcBef>
              <a:spcAft>
                <a:spcPct val="0"/>
              </a:spcAft>
            </a:pPr>
            <a:r>
              <a:rPr lang="en-US" altLang="en-US"/>
              <a:t>Section B:</a:t>
            </a:r>
            <a:endParaRPr lang="en-US" altLang="en-US" b="0">
              <a:solidFill>
                <a:srgbClr val="075109"/>
              </a:solidFill>
            </a:endParaRPr>
          </a:p>
        </p:txBody>
      </p:sp>
      <p:sp>
        <p:nvSpPr>
          <p:cNvPr id="12" name="Holder 6"/>
          <p:cNvSpPr>
            <a:spLocks noGrp="1"/>
          </p:cNvSpPr>
          <p:nvPr>
            <p:ph type="dt" sz="half" idx="11"/>
          </p:nvPr>
        </p:nvSpPr>
        <p:spPr>
          <a:xfrm>
            <a:off x="0" y="0"/>
            <a:ext cx="0" cy="0"/>
          </a:xfrm>
        </p:spPr>
        <p:txBody>
          <a:bodyPr vert="horz" wrap="square" lIns="0" tIns="0" rIns="0" bIns="0" numCol="1" anchor="t" anchorCtr="0" compatLnSpc="1">
            <a:prstTxWarp prst="textNoShape">
              <a:avLst/>
            </a:prstTxWarp>
          </a:bodyPr>
          <a:lstStyle>
            <a:lvl1pPr>
              <a:defRPr>
                <a:solidFill>
                  <a:srgbClr val="898989"/>
                </a:solidFill>
              </a:defRPr>
            </a:lvl1pPr>
          </a:lstStyle>
          <a:p>
            <a:pPr eaLnBrk="0" fontAlgn="base" hangingPunct="0">
              <a:spcBef>
                <a:spcPct val="0"/>
              </a:spcBef>
              <a:spcAft>
                <a:spcPct val="0"/>
              </a:spcAft>
            </a:pPr>
            <a:fld id="{813B3C74-0FBE-4FB8-AC11-328F2A8BA640}" type="datetimeFigureOut">
              <a:rPr lang="en-US">
                <a:latin typeface="Gill Sans MT" pitchFamily="34" charset="0"/>
              </a:rPr>
              <a:pPr eaLnBrk="0" fontAlgn="base" hangingPunct="0">
                <a:spcBef>
                  <a:spcPct val="0"/>
                </a:spcBef>
                <a:spcAft>
                  <a:spcPct val="0"/>
                </a:spcAft>
              </a:pPr>
              <a:t>7/25/2022</a:t>
            </a:fld>
            <a:endParaRPr lang="en-US">
              <a:latin typeface="Gill Sans MT" pitchFamily="34" charset="0"/>
            </a:endParaRPr>
          </a:p>
        </p:txBody>
      </p:sp>
      <p:sp>
        <p:nvSpPr>
          <p:cNvPr id="13" name="Holder 7"/>
          <p:cNvSpPr>
            <a:spLocks noGrp="1"/>
          </p:cNvSpPr>
          <p:nvPr>
            <p:ph type="sldNum" sz="quarter" idx="12"/>
          </p:nvPr>
        </p:nvSpPr>
        <p:spPr>
          <a:xfrm>
            <a:off x="0" y="0"/>
            <a:ext cx="0" cy="0"/>
          </a:xfrm>
        </p:spPr>
        <p:txBody>
          <a:bodyPr vert="horz" wrap="square" lIns="0" tIns="0" rIns="0" bIns="0" numCol="1" anchor="t" anchorCtr="0" compatLnSpc="1">
            <a:prstTxWarp prst="textNoShape">
              <a:avLst/>
            </a:prstTxWarp>
          </a:bodyPr>
          <a:lstStyle>
            <a:lvl1pPr algn="r">
              <a:defRPr>
                <a:solidFill>
                  <a:srgbClr val="898989"/>
                </a:solidFill>
              </a:defRPr>
            </a:lvl1pPr>
          </a:lstStyle>
          <a:p>
            <a:pPr eaLnBrk="0" fontAlgn="base" hangingPunct="0">
              <a:spcBef>
                <a:spcPct val="0"/>
              </a:spcBef>
              <a:spcAft>
                <a:spcPct val="0"/>
              </a:spcAft>
            </a:pPr>
            <a:fld id="{0413BD3E-165F-4195-B35F-BEC1F850D2D2}" type="slidenum">
              <a:rPr lang="en-US">
                <a:latin typeface="Gill Sans MT" pitchFamily="34" charset="0"/>
              </a:rPr>
              <a:pPr eaLnBrk="0" fontAlgn="base" hangingPunct="0">
                <a:spcBef>
                  <a:spcPct val="0"/>
                </a:spcBef>
                <a:spcAft>
                  <a:spcPct val="0"/>
                </a:spcAft>
              </a:pPr>
              <a:t>‹#›</a:t>
            </a:fld>
            <a:endParaRPr lang="en-US">
              <a:latin typeface="Gill Sans MT" pitchFamily="34" charset="0"/>
            </a:endParaRPr>
          </a:p>
        </p:txBody>
      </p:sp>
    </p:spTree>
    <p:extLst>
      <p:ext uri="{BB962C8B-B14F-4D97-AF65-F5344CB8AC3E}">
        <p14:creationId xmlns:p14="http://schemas.microsoft.com/office/powerpoint/2010/main" val="19826344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497"/>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799"/>
            </a:lvl1pPr>
            <a:lvl2pPr marL="342689" indent="0" algn="ctr">
              <a:buNone/>
              <a:defRPr sz="1499"/>
            </a:lvl2pPr>
            <a:lvl3pPr marL="685377" indent="0" algn="ctr">
              <a:buNone/>
              <a:defRPr sz="1349"/>
            </a:lvl3pPr>
            <a:lvl4pPr marL="1028066" indent="0" algn="ctr">
              <a:buNone/>
              <a:defRPr sz="1199"/>
            </a:lvl4pPr>
            <a:lvl5pPr marL="1370754" indent="0" algn="ctr">
              <a:buNone/>
              <a:defRPr sz="1199"/>
            </a:lvl5pPr>
            <a:lvl6pPr marL="1713442" indent="0" algn="ctr">
              <a:buNone/>
              <a:defRPr sz="1199"/>
            </a:lvl6pPr>
            <a:lvl7pPr marL="2056130" indent="0" algn="ctr">
              <a:buNone/>
              <a:defRPr sz="1199"/>
            </a:lvl7pPr>
            <a:lvl8pPr marL="2398819" indent="0" algn="ctr">
              <a:buNone/>
              <a:defRPr sz="1199"/>
            </a:lvl8pPr>
            <a:lvl9pPr marL="2741507" indent="0" algn="ctr">
              <a:buNone/>
              <a:defRPr sz="1199"/>
            </a:lvl9pPr>
          </a:lstStyle>
          <a:p>
            <a:r>
              <a:rPr lang="en-US"/>
              <a:t>Click to edit Master subtitle style</a:t>
            </a:r>
          </a:p>
        </p:txBody>
      </p:sp>
      <p:sp>
        <p:nvSpPr>
          <p:cNvPr id="4" name="Date Placeholder 3">
            <a:extLst>
              <a:ext uri="{FF2B5EF4-FFF2-40B4-BE49-F238E27FC236}">
                <a16:creationId xmlns:a16="http://schemas.microsoft.com/office/drawing/2014/main" id="{08629EC1-B596-4C77-948E-387B4C838647}"/>
              </a:ext>
            </a:extLst>
          </p:cNvPr>
          <p:cNvSpPr>
            <a:spLocks noGrp="1"/>
          </p:cNvSpPr>
          <p:nvPr>
            <p:ph type="dt" sz="half" idx="10"/>
          </p:nvPr>
        </p:nvSpPr>
        <p:spPr/>
        <p:txBody>
          <a:bodyPr/>
          <a:lstStyle>
            <a:lvl1pPr>
              <a:defRPr/>
            </a:lvl1pPr>
          </a:lstStyle>
          <a:p>
            <a:pPr>
              <a:defRPr/>
            </a:pPr>
            <a:fld id="{6F53C2CF-6A0F-4356-A48F-3F16F770CA33}" type="datetimeFigureOut">
              <a:rPr lang="en-US"/>
              <a:pPr>
                <a:defRPr/>
              </a:pPr>
              <a:t>7/25/2022</a:t>
            </a:fld>
            <a:endParaRPr lang="en-US"/>
          </a:p>
        </p:txBody>
      </p:sp>
      <p:sp>
        <p:nvSpPr>
          <p:cNvPr id="5" name="Footer Placeholder 4">
            <a:extLst>
              <a:ext uri="{FF2B5EF4-FFF2-40B4-BE49-F238E27FC236}">
                <a16:creationId xmlns:a16="http://schemas.microsoft.com/office/drawing/2014/main" id="{7BE5E013-137B-4971-B811-92954E1CA00D}"/>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3096FD80-9EAF-4E34-93C5-BB6605015390}"/>
              </a:ext>
            </a:extLst>
          </p:cNvPr>
          <p:cNvSpPr>
            <a:spLocks noGrp="1"/>
          </p:cNvSpPr>
          <p:nvPr>
            <p:ph type="sldNum" sz="quarter" idx="12"/>
          </p:nvPr>
        </p:nvSpPr>
        <p:spPr/>
        <p:txBody>
          <a:bodyPr/>
          <a:lstStyle>
            <a:lvl1pPr>
              <a:defRPr/>
            </a:lvl1pPr>
          </a:lstStyle>
          <a:p>
            <a:pPr>
              <a:defRPr/>
            </a:pPr>
            <a:fld id="{B1A0D21C-555D-4A00-8550-F26A719CC36A}" type="slidenum">
              <a:rPr lang="en-US" altLang="en-US"/>
              <a:pPr>
                <a:defRPr/>
              </a:pPr>
              <a:t>‹#›</a:t>
            </a:fld>
            <a:endParaRPr lang="en-US" altLang="en-US"/>
          </a:p>
        </p:txBody>
      </p:sp>
    </p:spTree>
    <p:extLst>
      <p:ext uri="{BB962C8B-B14F-4D97-AF65-F5344CB8AC3E}">
        <p14:creationId xmlns:p14="http://schemas.microsoft.com/office/powerpoint/2010/main" val="4065536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2638C7-59CC-4588-BFB6-34C3A98A69B7}"/>
              </a:ext>
            </a:extLst>
          </p:cNvPr>
          <p:cNvSpPr>
            <a:spLocks noGrp="1"/>
          </p:cNvSpPr>
          <p:nvPr>
            <p:ph type="dt" sz="half" idx="10"/>
          </p:nvPr>
        </p:nvSpPr>
        <p:spPr/>
        <p:txBody>
          <a:bodyPr/>
          <a:lstStyle>
            <a:lvl1pPr>
              <a:defRPr/>
            </a:lvl1pPr>
          </a:lstStyle>
          <a:p>
            <a:pPr>
              <a:defRPr/>
            </a:pPr>
            <a:fld id="{3E77D590-6F42-45F2-B8B9-F66CA520B699}" type="datetimeFigureOut">
              <a:rPr lang="en-US"/>
              <a:pPr>
                <a:defRPr/>
              </a:pPr>
              <a:t>7/25/2022</a:t>
            </a:fld>
            <a:endParaRPr lang="en-US"/>
          </a:p>
        </p:txBody>
      </p:sp>
      <p:sp>
        <p:nvSpPr>
          <p:cNvPr id="5" name="Footer Placeholder 4">
            <a:extLst>
              <a:ext uri="{FF2B5EF4-FFF2-40B4-BE49-F238E27FC236}">
                <a16:creationId xmlns:a16="http://schemas.microsoft.com/office/drawing/2014/main" id="{F99C0DB9-90AC-47F3-BE7A-44C8C87C943B}"/>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196FF3D1-48C8-4EE5-A3CA-864984C2423E}"/>
              </a:ext>
            </a:extLst>
          </p:cNvPr>
          <p:cNvSpPr>
            <a:spLocks noGrp="1"/>
          </p:cNvSpPr>
          <p:nvPr>
            <p:ph type="sldNum" sz="quarter" idx="12"/>
          </p:nvPr>
        </p:nvSpPr>
        <p:spPr/>
        <p:txBody>
          <a:bodyPr/>
          <a:lstStyle>
            <a:lvl1pPr>
              <a:defRPr/>
            </a:lvl1pPr>
          </a:lstStyle>
          <a:p>
            <a:pPr>
              <a:defRPr/>
            </a:pPr>
            <a:fld id="{4867A502-6124-42ED-85DF-1827976782E3}" type="slidenum">
              <a:rPr lang="en-US" altLang="en-US"/>
              <a:pPr>
                <a:defRPr/>
              </a:pPr>
              <a:t>‹#›</a:t>
            </a:fld>
            <a:endParaRPr lang="en-US" altLang="en-US"/>
          </a:p>
        </p:txBody>
      </p:sp>
    </p:spTree>
    <p:extLst>
      <p:ext uri="{BB962C8B-B14F-4D97-AF65-F5344CB8AC3E}">
        <p14:creationId xmlns:p14="http://schemas.microsoft.com/office/powerpoint/2010/main" val="21246521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497"/>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1799">
                <a:solidFill>
                  <a:schemeClr val="tx1">
                    <a:tint val="75000"/>
                  </a:schemeClr>
                </a:solidFill>
              </a:defRPr>
            </a:lvl1pPr>
            <a:lvl2pPr marL="342689" indent="0">
              <a:buNone/>
              <a:defRPr sz="1499">
                <a:solidFill>
                  <a:schemeClr val="tx1">
                    <a:tint val="75000"/>
                  </a:schemeClr>
                </a:solidFill>
              </a:defRPr>
            </a:lvl2pPr>
            <a:lvl3pPr marL="685377" indent="0">
              <a:buNone/>
              <a:defRPr sz="1349">
                <a:solidFill>
                  <a:schemeClr val="tx1">
                    <a:tint val="75000"/>
                  </a:schemeClr>
                </a:solidFill>
              </a:defRPr>
            </a:lvl3pPr>
            <a:lvl4pPr marL="1028066" indent="0">
              <a:buNone/>
              <a:defRPr sz="1199">
                <a:solidFill>
                  <a:schemeClr val="tx1">
                    <a:tint val="75000"/>
                  </a:schemeClr>
                </a:solidFill>
              </a:defRPr>
            </a:lvl4pPr>
            <a:lvl5pPr marL="1370754" indent="0">
              <a:buNone/>
              <a:defRPr sz="1199">
                <a:solidFill>
                  <a:schemeClr val="tx1">
                    <a:tint val="75000"/>
                  </a:schemeClr>
                </a:solidFill>
              </a:defRPr>
            </a:lvl5pPr>
            <a:lvl6pPr marL="1713442" indent="0">
              <a:buNone/>
              <a:defRPr sz="1199">
                <a:solidFill>
                  <a:schemeClr val="tx1">
                    <a:tint val="75000"/>
                  </a:schemeClr>
                </a:solidFill>
              </a:defRPr>
            </a:lvl6pPr>
            <a:lvl7pPr marL="2056130" indent="0">
              <a:buNone/>
              <a:defRPr sz="1199">
                <a:solidFill>
                  <a:schemeClr val="tx1">
                    <a:tint val="75000"/>
                  </a:schemeClr>
                </a:solidFill>
              </a:defRPr>
            </a:lvl7pPr>
            <a:lvl8pPr marL="2398819" indent="0">
              <a:buNone/>
              <a:defRPr sz="1199">
                <a:solidFill>
                  <a:schemeClr val="tx1">
                    <a:tint val="75000"/>
                  </a:schemeClr>
                </a:solidFill>
              </a:defRPr>
            </a:lvl8pPr>
            <a:lvl9pPr marL="2741507" indent="0">
              <a:buNone/>
              <a:defRPr sz="1199">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D5B1102-0F2B-4A17-B5EB-38ED7F78493E}"/>
              </a:ext>
            </a:extLst>
          </p:cNvPr>
          <p:cNvSpPr>
            <a:spLocks noGrp="1"/>
          </p:cNvSpPr>
          <p:nvPr>
            <p:ph type="dt" sz="half" idx="10"/>
          </p:nvPr>
        </p:nvSpPr>
        <p:spPr/>
        <p:txBody>
          <a:bodyPr/>
          <a:lstStyle>
            <a:lvl1pPr>
              <a:defRPr/>
            </a:lvl1pPr>
          </a:lstStyle>
          <a:p>
            <a:pPr>
              <a:defRPr/>
            </a:pPr>
            <a:fld id="{8F75F1B2-229F-4803-A745-D1687511C15A}" type="datetimeFigureOut">
              <a:rPr lang="en-US"/>
              <a:pPr>
                <a:defRPr/>
              </a:pPr>
              <a:t>7/25/2022</a:t>
            </a:fld>
            <a:endParaRPr lang="en-US"/>
          </a:p>
        </p:txBody>
      </p:sp>
      <p:sp>
        <p:nvSpPr>
          <p:cNvPr id="5" name="Footer Placeholder 4">
            <a:extLst>
              <a:ext uri="{FF2B5EF4-FFF2-40B4-BE49-F238E27FC236}">
                <a16:creationId xmlns:a16="http://schemas.microsoft.com/office/drawing/2014/main" id="{8A9AD4CA-9F73-4583-99BE-0D51D978B5F2}"/>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240B25AD-33DB-4820-A6FF-7935CD829057}"/>
              </a:ext>
            </a:extLst>
          </p:cNvPr>
          <p:cNvSpPr>
            <a:spLocks noGrp="1"/>
          </p:cNvSpPr>
          <p:nvPr>
            <p:ph type="sldNum" sz="quarter" idx="12"/>
          </p:nvPr>
        </p:nvSpPr>
        <p:spPr/>
        <p:txBody>
          <a:bodyPr/>
          <a:lstStyle>
            <a:lvl1pPr>
              <a:defRPr/>
            </a:lvl1pPr>
          </a:lstStyle>
          <a:p>
            <a:pPr>
              <a:defRPr/>
            </a:pPr>
            <a:fld id="{F8AA40D5-B714-41C0-A4EC-A0171FD4B736}" type="slidenum">
              <a:rPr lang="en-US" altLang="en-US"/>
              <a:pPr>
                <a:defRPr/>
              </a:pPr>
              <a:t>‹#›</a:t>
            </a:fld>
            <a:endParaRPr lang="en-US" altLang="en-US"/>
          </a:p>
        </p:txBody>
      </p:sp>
    </p:spTree>
    <p:extLst>
      <p:ext uri="{BB962C8B-B14F-4D97-AF65-F5344CB8AC3E}">
        <p14:creationId xmlns:p14="http://schemas.microsoft.com/office/powerpoint/2010/main" val="41564768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5EF055FB-58CF-41F4-895D-9C8D5255BC02}"/>
              </a:ext>
            </a:extLst>
          </p:cNvPr>
          <p:cNvSpPr>
            <a:spLocks noGrp="1"/>
          </p:cNvSpPr>
          <p:nvPr>
            <p:ph type="dt" sz="half" idx="10"/>
          </p:nvPr>
        </p:nvSpPr>
        <p:spPr/>
        <p:txBody>
          <a:bodyPr/>
          <a:lstStyle>
            <a:lvl1pPr>
              <a:defRPr/>
            </a:lvl1pPr>
          </a:lstStyle>
          <a:p>
            <a:pPr>
              <a:defRPr/>
            </a:pPr>
            <a:fld id="{FBB3CFCA-3761-4F47-B9B7-2B29C2E218E7}" type="datetimeFigureOut">
              <a:rPr lang="en-US"/>
              <a:pPr>
                <a:defRPr/>
              </a:pPr>
              <a:t>7/25/2022</a:t>
            </a:fld>
            <a:endParaRPr lang="en-US"/>
          </a:p>
        </p:txBody>
      </p:sp>
      <p:sp>
        <p:nvSpPr>
          <p:cNvPr id="6" name="Footer Placeholder 4">
            <a:extLst>
              <a:ext uri="{FF2B5EF4-FFF2-40B4-BE49-F238E27FC236}">
                <a16:creationId xmlns:a16="http://schemas.microsoft.com/office/drawing/2014/main" id="{ED6178A2-5136-46B0-A1F1-914257585C64}"/>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7" name="Slide Number Placeholder 5">
            <a:extLst>
              <a:ext uri="{FF2B5EF4-FFF2-40B4-BE49-F238E27FC236}">
                <a16:creationId xmlns:a16="http://schemas.microsoft.com/office/drawing/2014/main" id="{6F8E2D4E-D075-4BDA-A052-3A66C27E3949}"/>
              </a:ext>
            </a:extLst>
          </p:cNvPr>
          <p:cNvSpPr>
            <a:spLocks noGrp="1"/>
          </p:cNvSpPr>
          <p:nvPr>
            <p:ph type="sldNum" sz="quarter" idx="12"/>
          </p:nvPr>
        </p:nvSpPr>
        <p:spPr/>
        <p:txBody>
          <a:bodyPr/>
          <a:lstStyle>
            <a:lvl1pPr>
              <a:defRPr/>
            </a:lvl1pPr>
          </a:lstStyle>
          <a:p>
            <a:pPr>
              <a:defRPr/>
            </a:pPr>
            <a:fld id="{20AEA4FD-0B1D-4F5C-B128-1EB9AD0A95EA}" type="slidenum">
              <a:rPr lang="en-US" altLang="en-US"/>
              <a:pPr>
                <a:defRPr/>
              </a:pPr>
              <a:t>‹#›</a:t>
            </a:fld>
            <a:endParaRPr lang="en-US" altLang="en-US"/>
          </a:p>
        </p:txBody>
      </p:sp>
    </p:spTree>
    <p:extLst>
      <p:ext uri="{BB962C8B-B14F-4D97-AF65-F5344CB8AC3E}">
        <p14:creationId xmlns:p14="http://schemas.microsoft.com/office/powerpoint/2010/main" val="34489084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1" y="1681163"/>
            <a:ext cx="3868340" cy="823912"/>
          </a:xfrm>
        </p:spPr>
        <p:txBody>
          <a:bodyPr anchor="b"/>
          <a:lstStyle>
            <a:lvl1pPr marL="0" indent="0">
              <a:buNone/>
              <a:defRPr sz="1799" b="1"/>
            </a:lvl1pPr>
            <a:lvl2pPr marL="342689" indent="0">
              <a:buNone/>
              <a:defRPr sz="1499" b="1"/>
            </a:lvl2pPr>
            <a:lvl3pPr marL="685377" indent="0">
              <a:buNone/>
              <a:defRPr sz="1349" b="1"/>
            </a:lvl3pPr>
            <a:lvl4pPr marL="1028066" indent="0">
              <a:buNone/>
              <a:defRPr sz="1199" b="1"/>
            </a:lvl4pPr>
            <a:lvl5pPr marL="1370754" indent="0">
              <a:buNone/>
              <a:defRPr sz="1199" b="1"/>
            </a:lvl5pPr>
            <a:lvl6pPr marL="1713442" indent="0">
              <a:buNone/>
              <a:defRPr sz="1199" b="1"/>
            </a:lvl6pPr>
            <a:lvl7pPr marL="2056130" indent="0">
              <a:buNone/>
              <a:defRPr sz="1199" b="1"/>
            </a:lvl7pPr>
            <a:lvl8pPr marL="2398819" indent="0">
              <a:buNone/>
              <a:defRPr sz="1199" b="1"/>
            </a:lvl8pPr>
            <a:lvl9pPr marL="2741507" indent="0">
              <a:buNone/>
              <a:defRPr sz="1199" b="1"/>
            </a:lvl9pPr>
          </a:lstStyle>
          <a:p>
            <a:pPr lvl="0"/>
            <a:r>
              <a:rPr lang="en-US"/>
              <a:t>Click to edit Master text styles</a:t>
            </a:r>
          </a:p>
        </p:txBody>
      </p:sp>
      <p:sp>
        <p:nvSpPr>
          <p:cNvPr id="4" name="Content Placeholder 3"/>
          <p:cNvSpPr>
            <a:spLocks noGrp="1"/>
          </p:cNvSpPr>
          <p:nvPr>
            <p:ph sz="half" idx="2"/>
          </p:nvPr>
        </p:nvSpPr>
        <p:spPr>
          <a:xfrm>
            <a:off x="629841"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799" b="1"/>
            </a:lvl1pPr>
            <a:lvl2pPr marL="342689" indent="0">
              <a:buNone/>
              <a:defRPr sz="1499" b="1"/>
            </a:lvl2pPr>
            <a:lvl3pPr marL="685377" indent="0">
              <a:buNone/>
              <a:defRPr sz="1349" b="1"/>
            </a:lvl3pPr>
            <a:lvl4pPr marL="1028066" indent="0">
              <a:buNone/>
              <a:defRPr sz="1199" b="1"/>
            </a:lvl4pPr>
            <a:lvl5pPr marL="1370754" indent="0">
              <a:buNone/>
              <a:defRPr sz="1199" b="1"/>
            </a:lvl5pPr>
            <a:lvl6pPr marL="1713442" indent="0">
              <a:buNone/>
              <a:defRPr sz="1199" b="1"/>
            </a:lvl6pPr>
            <a:lvl7pPr marL="2056130" indent="0">
              <a:buNone/>
              <a:defRPr sz="1199" b="1"/>
            </a:lvl7pPr>
            <a:lvl8pPr marL="2398819" indent="0">
              <a:buNone/>
              <a:defRPr sz="1199" b="1"/>
            </a:lvl8pPr>
            <a:lvl9pPr marL="2741507" indent="0">
              <a:buNone/>
              <a:defRPr sz="1199"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79A739DD-4320-4CA9-B608-B65011363F3A}"/>
              </a:ext>
            </a:extLst>
          </p:cNvPr>
          <p:cNvSpPr>
            <a:spLocks noGrp="1"/>
          </p:cNvSpPr>
          <p:nvPr>
            <p:ph type="dt" sz="half" idx="10"/>
          </p:nvPr>
        </p:nvSpPr>
        <p:spPr/>
        <p:txBody>
          <a:bodyPr/>
          <a:lstStyle>
            <a:lvl1pPr>
              <a:defRPr/>
            </a:lvl1pPr>
          </a:lstStyle>
          <a:p>
            <a:pPr>
              <a:defRPr/>
            </a:pPr>
            <a:fld id="{C46F7A1E-06A0-47D9-AD65-A947A3B338A7}" type="datetimeFigureOut">
              <a:rPr lang="en-US"/>
              <a:pPr>
                <a:defRPr/>
              </a:pPr>
              <a:t>7/25/2022</a:t>
            </a:fld>
            <a:endParaRPr lang="en-US"/>
          </a:p>
        </p:txBody>
      </p:sp>
      <p:sp>
        <p:nvSpPr>
          <p:cNvPr id="8" name="Footer Placeholder 4">
            <a:extLst>
              <a:ext uri="{FF2B5EF4-FFF2-40B4-BE49-F238E27FC236}">
                <a16:creationId xmlns:a16="http://schemas.microsoft.com/office/drawing/2014/main" id="{6D1A32E0-D2DD-4BE9-BC3D-0602BC1BC359}"/>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9" name="Slide Number Placeholder 5">
            <a:extLst>
              <a:ext uri="{FF2B5EF4-FFF2-40B4-BE49-F238E27FC236}">
                <a16:creationId xmlns:a16="http://schemas.microsoft.com/office/drawing/2014/main" id="{8216C33F-BD3B-4067-918B-A32959DEF6DD}"/>
              </a:ext>
            </a:extLst>
          </p:cNvPr>
          <p:cNvSpPr>
            <a:spLocks noGrp="1"/>
          </p:cNvSpPr>
          <p:nvPr>
            <p:ph type="sldNum" sz="quarter" idx="12"/>
          </p:nvPr>
        </p:nvSpPr>
        <p:spPr/>
        <p:txBody>
          <a:bodyPr/>
          <a:lstStyle>
            <a:lvl1pPr>
              <a:defRPr/>
            </a:lvl1pPr>
          </a:lstStyle>
          <a:p>
            <a:pPr>
              <a:defRPr/>
            </a:pPr>
            <a:fld id="{64404856-042A-4E18-BB81-8708955579FA}" type="slidenum">
              <a:rPr lang="en-US" altLang="en-US"/>
              <a:pPr>
                <a:defRPr/>
              </a:pPr>
              <a:t>‹#›</a:t>
            </a:fld>
            <a:endParaRPr lang="en-US" altLang="en-US"/>
          </a:p>
        </p:txBody>
      </p:sp>
    </p:spTree>
    <p:extLst>
      <p:ext uri="{BB962C8B-B14F-4D97-AF65-F5344CB8AC3E}">
        <p14:creationId xmlns:p14="http://schemas.microsoft.com/office/powerpoint/2010/main" val="41842057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DD41139D-05E6-4022-9713-49F056CD04C8}"/>
              </a:ext>
            </a:extLst>
          </p:cNvPr>
          <p:cNvSpPr>
            <a:spLocks noGrp="1"/>
          </p:cNvSpPr>
          <p:nvPr>
            <p:ph type="dt" sz="half" idx="10"/>
          </p:nvPr>
        </p:nvSpPr>
        <p:spPr/>
        <p:txBody>
          <a:bodyPr/>
          <a:lstStyle>
            <a:lvl1pPr>
              <a:defRPr/>
            </a:lvl1pPr>
          </a:lstStyle>
          <a:p>
            <a:pPr>
              <a:defRPr/>
            </a:pPr>
            <a:fld id="{4603886F-989B-4DD4-8DAD-2E3A3D9A9D5B}" type="datetimeFigureOut">
              <a:rPr lang="en-US"/>
              <a:pPr>
                <a:defRPr/>
              </a:pPr>
              <a:t>7/25/2022</a:t>
            </a:fld>
            <a:endParaRPr lang="en-US"/>
          </a:p>
        </p:txBody>
      </p:sp>
      <p:sp>
        <p:nvSpPr>
          <p:cNvPr id="4" name="Footer Placeholder 4">
            <a:extLst>
              <a:ext uri="{FF2B5EF4-FFF2-40B4-BE49-F238E27FC236}">
                <a16:creationId xmlns:a16="http://schemas.microsoft.com/office/drawing/2014/main" id="{98BBC8E3-DC30-4923-AD8D-83B79C4BF4CC}"/>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5" name="Slide Number Placeholder 5">
            <a:extLst>
              <a:ext uri="{FF2B5EF4-FFF2-40B4-BE49-F238E27FC236}">
                <a16:creationId xmlns:a16="http://schemas.microsoft.com/office/drawing/2014/main" id="{B13C8469-1556-4C25-A91A-AC093BA73654}"/>
              </a:ext>
            </a:extLst>
          </p:cNvPr>
          <p:cNvSpPr>
            <a:spLocks noGrp="1"/>
          </p:cNvSpPr>
          <p:nvPr>
            <p:ph type="sldNum" sz="quarter" idx="12"/>
          </p:nvPr>
        </p:nvSpPr>
        <p:spPr/>
        <p:txBody>
          <a:bodyPr/>
          <a:lstStyle>
            <a:lvl1pPr>
              <a:defRPr/>
            </a:lvl1pPr>
          </a:lstStyle>
          <a:p>
            <a:pPr>
              <a:defRPr/>
            </a:pPr>
            <a:fld id="{0558087B-8C18-4942-97C8-A36E6B3A16A5}" type="slidenum">
              <a:rPr lang="en-US" altLang="en-US"/>
              <a:pPr>
                <a:defRPr/>
              </a:pPr>
              <a:t>‹#›</a:t>
            </a:fld>
            <a:endParaRPr lang="en-US" altLang="en-US"/>
          </a:p>
        </p:txBody>
      </p:sp>
    </p:spTree>
    <p:extLst>
      <p:ext uri="{BB962C8B-B14F-4D97-AF65-F5344CB8AC3E}">
        <p14:creationId xmlns:p14="http://schemas.microsoft.com/office/powerpoint/2010/main" val="7021713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r>
              <a:rPr lang="en-US"/>
              <a:t>26 April 2016</a:t>
            </a:r>
          </a:p>
        </p:txBody>
      </p:sp>
      <p:sp>
        <p:nvSpPr>
          <p:cNvPr id="5" name="Footer Placeholder 4"/>
          <p:cNvSpPr>
            <a:spLocks noGrp="1"/>
          </p:cNvSpPr>
          <p:nvPr>
            <p:ph type="ftr" sz="quarter" idx="11"/>
          </p:nvPr>
        </p:nvSpPr>
        <p:spPr/>
        <p:txBody>
          <a:bodyPr/>
          <a:lstStyle/>
          <a:p>
            <a:r>
              <a:rPr lang="en-US"/>
              <a:t>Amend presentation name in Footer and Apply to All</a:t>
            </a:r>
          </a:p>
        </p:txBody>
      </p:sp>
      <p:sp>
        <p:nvSpPr>
          <p:cNvPr id="6" name="Slide Number Placeholder 5"/>
          <p:cNvSpPr>
            <a:spLocks noGrp="1"/>
          </p:cNvSpPr>
          <p:nvPr>
            <p:ph type="sldNum" sz="quarter" idx="12"/>
          </p:nvPr>
        </p:nvSpPr>
        <p:spPr/>
        <p:txBody>
          <a:bodyPr/>
          <a:lstStyle/>
          <a:p>
            <a:fld id="{C3FDE51E-0052-334C-A4B2-C567FE9F326F}" type="slidenum">
              <a:rPr lang="en-US" smtClean="0"/>
              <a:pPr/>
              <a:t>‹#›</a:t>
            </a:fld>
            <a:endParaRPr lang="en-US"/>
          </a:p>
        </p:txBody>
      </p:sp>
      <p:sp>
        <p:nvSpPr>
          <p:cNvPr id="8" name="Text Placeholder 7"/>
          <p:cNvSpPr>
            <a:spLocks noGrp="1"/>
          </p:cNvSpPr>
          <p:nvPr>
            <p:ph type="body" sz="quarter" idx="13"/>
          </p:nvPr>
        </p:nvSpPr>
        <p:spPr>
          <a:xfrm>
            <a:off x="425286" y="705600"/>
            <a:ext cx="8282151" cy="363537"/>
          </a:xfrm>
        </p:spPr>
        <p:txBody>
          <a:bodyPr>
            <a:normAutofit/>
          </a:bodyPr>
          <a:lstStyle>
            <a:lvl1pPr>
              <a:defRPr sz="2500" b="0">
                <a:solidFill>
                  <a:srgbClr val="222221"/>
                </a:solidFill>
              </a:defRPr>
            </a:lvl1pPr>
            <a:lvl2pPr>
              <a:defRPr sz="2500"/>
            </a:lvl2pPr>
            <a:lvl3pPr marL="0" indent="0">
              <a:buNone/>
              <a:defRPr sz="2500"/>
            </a:lvl3pPr>
            <a:lvl4pPr marL="0" indent="0">
              <a:buNone/>
              <a:defRPr sz="2500"/>
            </a:lvl4pPr>
            <a:lvl5pPr marL="0" indent="0">
              <a:buNone/>
              <a:defRPr sz="2500"/>
            </a:lvl5pPr>
          </a:lstStyle>
          <a:p>
            <a:pPr lvl="0"/>
            <a:r>
              <a:rPr lang="en-US"/>
              <a:t>Edit Master text styles</a:t>
            </a:r>
          </a:p>
        </p:txBody>
      </p:sp>
    </p:spTree>
    <p:extLst>
      <p:ext uri="{BB962C8B-B14F-4D97-AF65-F5344CB8AC3E}">
        <p14:creationId xmlns:p14="http://schemas.microsoft.com/office/powerpoint/2010/main" val="76969041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0D9729B-0761-424B-8852-1602C3AB7394}"/>
              </a:ext>
            </a:extLst>
          </p:cNvPr>
          <p:cNvSpPr>
            <a:spLocks noGrp="1"/>
          </p:cNvSpPr>
          <p:nvPr>
            <p:ph type="dt" sz="half" idx="10"/>
          </p:nvPr>
        </p:nvSpPr>
        <p:spPr/>
        <p:txBody>
          <a:bodyPr/>
          <a:lstStyle>
            <a:lvl1pPr>
              <a:defRPr/>
            </a:lvl1pPr>
          </a:lstStyle>
          <a:p>
            <a:pPr>
              <a:defRPr/>
            </a:pPr>
            <a:fld id="{BE788E30-6AB4-428F-A8EC-006C3F50E7AE}" type="datetimeFigureOut">
              <a:rPr lang="en-US"/>
              <a:pPr>
                <a:defRPr/>
              </a:pPr>
              <a:t>7/25/2022</a:t>
            </a:fld>
            <a:endParaRPr lang="en-US"/>
          </a:p>
        </p:txBody>
      </p:sp>
      <p:sp>
        <p:nvSpPr>
          <p:cNvPr id="3" name="Footer Placeholder 4">
            <a:extLst>
              <a:ext uri="{FF2B5EF4-FFF2-40B4-BE49-F238E27FC236}">
                <a16:creationId xmlns:a16="http://schemas.microsoft.com/office/drawing/2014/main" id="{50FDC65A-22E1-4C3B-9B70-9C7145975323}"/>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4" name="Slide Number Placeholder 5">
            <a:extLst>
              <a:ext uri="{FF2B5EF4-FFF2-40B4-BE49-F238E27FC236}">
                <a16:creationId xmlns:a16="http://schemas.microsoft.com/office/drawing/2014/main" id="{40AD1396-B58F-4345-96F9-BE9C626D0E93}"/>
              </a:ext>
            </a:extLst>
          </p:cNvPr>
          <p:cNvSpPr>
            <a:spLocks noGrp="1"/>
          </p:cNvSpPr>
          <p:nvPr>
            <p:ph type="sldNum" sz="quarter" idx="12"/>
          </p:nvPr>
        </p:nvSpPr>
        <p:spPr/>
        <p:txBody>
          <a:bodyPr/>
          <a:lstStyle>
            <a:lvl1pPr>
              <a:defRPr/>
            </a:lvl1pPr>
          </a:lstStyle>
          <a:p>
            <a:pPr>
              <a:defRPr/>
            </a:pPr>
            <a:fld id="{9D9CC123-6121-4DE2-80DE-11CFB3BDFD6E}" type="slidenum">
              <a:rPr lang="en-US" altLang="en-US"/>
              <a:pPr>
                <a:defRPr/>
              </a:pPr>
              <a:t>‹#›</a:t>
            </a:fld>
            <a:endParaRPr lang="en-US" altLang="en-US"/>
          </a:p>
        </p:txBody>
      </p:sp>
    </p:spTree>
    <p:extLst>
      <p:ext uri="{BB962C8B-B14F-4D97-AF65-F5344CB8AC3E}">
        <p14:creationId xmlns:p14="http://schemas.microsoft.com/office/powerpoint/2010/main" val="3092136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398"/>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398"/>
            </a:lvl1pPr>
            <a:lvl2pPr>
              <a:defRPr sz="2099"/>
            </a:lvl2pPr>
            <a:lvl3pPr>
              <a:defRPr sz="1799"/>
            </a:lvl3pPr>
            <a:lvl4pPr>
              <a:defRPr sz="1499"/>
            </a:lvl4pPr>
            <a:lvl5pPr>
              <a:defRPr sz="1499"/>
            </a:lvl5pPr>
            <a:lvl6pPr>
              <a:defRPr sz="1499"/>
            </a:lvl6pPr>
            <a:lvl7pPr>
              <a:defRPr sz="1499"/>
            </a:lvl7pPr>
            <a:lvl8pPr>
              <a:defRPr sz="1499"/>
            </a:lvl8pPr>
            <a:lvl9pPr>
              <a:defRPr sz="14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199"/>
            </a:lvl1pPr>
            <a:lvl2pPr marL="342689" indent="0">
              <a:buNone/>
              <a:defRPr sz="1049"/>
            </a:lvl2pPr>
            <a:lvl3pPr marL="685377" indent="0">
              <a:buNone/>
              <a:defRPr sz="899"/>
            </a:lvl3pPr>
            <a:lvl4pPr marL="1028066" indent="0">
              <a:buNone/>
              <a:defRPr sz="750"/>
            </a:lvl4pPr>
            <a:lvl5pPr marL="1370754" indent="0">
              <a:buNone/>
              <a:defRPr sz="750"/>
            </a:lvl5pPr>
            <a:lvl6pPr marL="1713442" indent="0">
              <a:buNone/>
              <a:defRPr sz="750"/>
            </a:lvl6pPr>
            <a:lvl7pPr marL="2056130" indent="0">
              <a:buNone/>
              <a:defRPr sz="750"/>
            </a:lvl7pPr>
            <a:lvl8pPr marL="2398819" indent="0">
              <a:buNone/>
              <a:defRPr sz="750"/>
            </a:lvl8pPr>
            <a:lvl9pPr marL="2741507"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306F64BC-FC6B-48E5-A640-17006AA89B64}"/>
              </a:ext>
            </a:extLst>
          </p:cNvPr>
          <p:cNvSpPr>
            <a:spLocks noGrp="1"/>
          </p:cNvSpPr>
          <p:nvPr>
            <p:ph type="dt" sz="half" idx="10"/>
          </p:nvPr>
        </p:nvSpPr>
        <p:spPr/>
        <p:txBody>
          <a:bodyPr/>
          <a:lstStyle>
            <a:lvl1pPr>
              <a:defRPr/>
            </a:lvl1pPr>
          </a:lstStyle>
          <a:p>
            <a:pPr>
              <a:defRPr/>
            </a:pPr>
            <a:fld id="{BF852A34-6FEA-4DC5-8B4B-E251038064F2}" type="datetimeFigureOut">
              <a:rPr lang="en-US"/>
              <a:pPr>
                <a:defRPr/>
              </a:pPr>
              <a:t>7/25/2022</a:t>
            </a:fld>
            <a:endParaRPr lang="en-US"/>
          </a:p>
        </p:txBody>
      </p:sp>
      <p:sp>
        <p:nvSpPr>
          <p:cNvPr id="6" name="Footer Placeholder 4">
            <a:extLst>
              <a:ext uri="{FF2B5EF4-FFF2-40B4-BE49-F238E27FC236}">
                <a16:creationId xmlns:a16="http://schemas.microsoft.com/office/drawing/2014/main" id="{67F78FC5-5DA8-49C8-8AEB-DE8086C855BA}"/>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7" name="Slide Number Placeholder 5">
            <a:extLst>
              <a:ext uri="{FF2B5EF4-FFF2-40B4-BE49-F238E27FC236}">
                <a16:creationId xmlns:a16="http://schemas.microsoft.com/office/drawing/2014/main" id="{73543BB1-AFA1-4345-8158-6DF60E378D19}"/>
              </a:ext>
            </a:extLst>
          </p:cNvPr>
          <p:cNvSpPr>
            <a:spLocks noGrp="1"/>
          </p:cNvSpPr>
          <p:nvPr>
            <p:ph type="sldNum" sz="quarter" idx="12"/>
          </p:nvPr>
        </p:nvSpPr>
        <p:spPr/>
        <p:txBody>
          <a:bodyPr/>
          <a:lstStyle>
            <a:lvl1pPr>
              <a:defRPr/>
            </a:lvl1pPr>
          </a:lstStyle>
          <a:p>
            <a:pPr>
              <a:defRPr/>
            </a:pPr>
            <a:fld id="{F7146C16-C36C-4998-90F7-CE93E8CC8459}" type="slidenum">
              <a:rPr lang="en-US" altLang="en-US"/>
              <a:pPr>
                <a:defRPr/>
              </a:pPr>
              <a:t>‹#›</a:t>
            </a:fld>
            <a:endParaRPr lang="en-US" altLang="en-US"/>
          </a:p>
        </p:txBody>
      </p:sp>
    </p:spTree>
    <p:extLst>
      <p:ext uri="{BB962C8B-B14F-4D97-AF65-F5344CB8AC3E}">
        <p14:creationId xmlns:p14="http://schemas.microsoft.com/office/powerpoint/2010/main" val="36944102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398"/>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rtlCol="0">
            <a:normAutofit/>
          </a:bodyPr>
          <a:lstStyle>
            <a:lvl1pPr marL="0" indent="0">
              <a:buNone/>
              <a:defRPr sz="2398"/>
            </a:lvl1pPr>
            <a:lvl2pPr marL="342689" indent="0">
              <a:buNone/>
              <a:defRPr sz="2099"/>
            </a:lvl2pPr>
            <a:lvl3pPr marL="685377" indent="0">
              <a:buNone/>
              <a:defRPr sz="1799"/>
            </a:lvl3pPr>
            <a:lvl4pPr marL="1028066" indent="0">
              <a:buNone/>
              <a:defRPr sz="1499"/>
            </a:lvl4pPr>
            <a:lvl5pPr marL="1370754" indent="0">
              <a:buNone/>
              <a:defRPr sz="1499"/>
            </a:lvl5pPr>
            <a:lvl6pPr marL="1713442" indent="0">
              <a:buNone/>
              <a:defRPr sz="1499"/>
            </a:lvl6pPr>
            <a:lvl7pPr marL="2056130" indent="0">
              <a:buNone/>
              <a:defRPr sz="1499"/>
            </a:lvl7pPr>
            <a:lvl8pPr marL="2398819" indent="0">
              <a:buNone/>
              <a:defRPr sz="1499"/>
            </a:lvl8pPr>
            <a:lvl9pPr marL="2741507" indent="0">
              <a:buNone/>
              <a:defRPr sz="1499"/>
            </a:lvl9pPr>
          </a:lstStyle>
          <a:p>
            <a:pPr lvl="0"/>
            <a:endParaRPr lang="en-US" noProof="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199"/>
            </a:lvl1pPr>
            <a:lvl2pPr marL="342689" indent="0">
              <a:buNone/>
              <a:defRPr sz="1049"/>
            </a:lvl2pPr>
            <a:lvl3pPr marL="685377" indent="0">
              <a:buNone/>
              <a:defRPr sz="899"/>
            </a:lvl3pPr>
            <a:lvl4pPr marL="1028066" indent="0">
              <a:buNone/>
              <a:defRPr sz="750"/>
            </a:lvl4pPr>
            <a:lvl5pPr marL="1370754" indent="0">
              <a:buNone/>
              <a:defRPr sz="750"/>
            </a:lvl5pPr>
            <a:lvl6pPr marL="1713442" indent="0">
              <a:buNone/>
              <a:defRPr sz="750"/>
            </a:lvl6pPr>
            <a:lvl7pPr marL="2056130" indent="0">
              <a:buNone/>
              <a:defRPr sz="750"/>
            </a:lvl7pPr>
            <a:lvl8pPr marL="2398819" indent="0">
              <a:buNone/>
              <a:defRPr sz="750"/>
            </a:lvl8pPr>
            <a:lvl9pPr marL="2741507"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1B3CB441-5E34-449F-BB33-D5E61AEF5D1B}"/>
              </a:ext>
            </a:extLst>
          </p:cNvPr>
          <p:cNvSpPr>
            <a:spLocks noGrp="1"/>
          </p:cNvSpPr>
          <p:nvPr>
            <p:ph type="dt" sz="half" idx="10"/>
          </p:nvPr>
        </p:nvSpPr>
        <p:spPr/>
        <p:txBody>
          <a:bodyPr/>
          <a:lstStyle>
            <a:lvl1pPr>
              <a:defRPr/>
            </a:lvl1pPr>
          </a:lstStyle>
          <a:p>
            <a:pPr>
              <a:defRPr/>
            </a:pPr>
            <a:fld id="{1B76C946-E75A-4C30-87AF-A63DC78F61C5}" type="datetimeFigureOut">
              <a:rPr lang="en-US"/>
              <a:pPr>
                <a:defRPr/>
              </a:pPr>
              <a:t>7/25/2022</a:t>
            </a:fld>
            <a:endParaRPr lang="en-US"/>
          </a:p>
        </p:txBody>
      </p:sp>
      <p:sp>
        <p:nvSpPr>
          <p:cNvPr id="6" name="Footer Placeholder 4">
            <a:extLst>
              <a:ext uri="{FF2B5EF4-FFF2-40B4-BE49-F238E27FC236}">
                <a16:creationId xmlns:a16="http://schemas.microsoft.com/office/drawing/2014/main" id="{C903DCE8-8D02-4F85-B700-B400EBD166D9}"/>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7" name="Slide Number Placeholder 5">
            <a:extLst>
              <a:ext uri="{FF2B5EF4-FFF2-40B4-BE49-F238E27FC236}">
                <a16:creationId xmlns:a16="http://schemas.microsoft.com/office/drawing/2014/main" id="{3CE1F8A5-CEA8-4448-BB7F-C5E253F669A3}"/>
              </a:ext>
            </a:extLst>
          </p:cNvPr>
          <p:cNvSpPr>
            <a:spLocks noGrp="1"/>
          </p:cNvSpPr>
          <p:nvPr>
            <p:ph type="sldNum" sz="quarter" idx="12"/>
          </p:nvPr>
        </p:nvSpPr>
        <p:spPr/>
        <p:txBody>
          <a:bodyPr/>
          <a:lstStyle>
            <a:lvl1pPr>
              <a:defRPr/>
            </a:lvl1pPr>
          </a:lstStyle>
          <a:p>
            <a:pPr>
              <a:defRPr/>
            </a:pPr>
            <a:fld id="{8B172194-25F8-453D-9539-FCE6153A6354}" type="slidenum">
              <a:rPr lang="en-US" altLang="en-US"/>
              <a:pPr>
                <a:defRPr/>
              </a:pPr>
              <a:t>‹#›</a:t>
            </a:fld>
            <a:endParaRPr lang="en-US" altLang="en-US"/>
          </a:p>
        </p:txBody>
      </p:sp>
    </p:spTree>
    <p:extLst>
      <p:ext uri="{BB962C8B-B14F-4D97-AF65-F5344CB8AC3E}">
        <p14:creationId xmlns:p14="http://schemas.microsoft.com/office/powerpoint/2010/main" val="45277242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7E3246-D217-4F21-BE92-F06210444745}"/>
              </a:ext>
            </a:extLst>
          </p:cNvPr>
          <p:cNvSpPr>
            <a:spLocks noGrp="1"/>
          </p:cNvSpPr>
          <p:nvPr>
            <p:ph type="dt" sz="half" idx="10"/>
          </p:nvPr>
        </p:nvSpPr>
        <p:spPr/>
        <p:txBody>
          <a:bodyPr/>
          <a:lstStyle>
            <a:lvl1pPr>
              <a:defRPr/>
            </a:lvl1pPr>
          </a:lstStyle>
          <a:p>
            <a:pPr>
              <a:defRPr/>
            </a:pPr>
            <a:fld id="{B02428EE-1810-4A49-A0BA-AA4B66FB6B9C}" type="datetimeFigureOut">
              <a:rPr lang="en-US"/>
              <a:pPr>
                <a:defRPr/>
              </a:pPr>
              <a:t>7/25/2022</a:t>
            </a:fld>
            <a:endParaRPr lang="en-US"/>
          </a:p>
        </p:txBody>
      </p:sp>
      <p:sp>
        <p:nvSpPr>
          <p:cNvPr id="5" name="Footer Placeholder 4">
            <a:extLst>
              <a:ext uri="{FF2B5EF4-FFF2-40B4-BE49-F238E27FC236}">
                <a16:creationId xmlns:a16="http://schemas.microsoft.com/office/drawing/2014/main" id="{FAFD659A-9233-428F-9F84-D9F74B7A5AE9}"/>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609D72BE-D05D-4F09-8DA7-1E5C4910E149}"/>
              </a:ext>
            </a:extLst>
          </p:cNvPr>
          <p:cNvSpPr>
            <a:spLocks noGrp="1"/>
          </p:cNvSpPr>
          <p:nvPr>
            <p:ph type="sldNum" sz="quarter" idx="12"/>
          </p:nvPr>
        </p:nvSpPr>
        <p:spPr/>
        <p:txBody>
          <a:bodyPr/>
          <a:lstStyle>
            <a:lvl1pPr>
              <a:defRPr/>
            </a:lvl1pPr>
          </a:lstStyle>
          <a:p>
            <a:pPr>
              <a:defRPr/>
            </a:pPr>
            <a:fld id="{21A21AF3-9992-460D-81F1-98CF2991B588}" type="slidenum">
              <a:rPr lang="en-US" altLang="en-US"/>
              <a:pPr>
                <a:defRPr/>
              </a:pPr>
              <a:t>‹#›</a:t>
            </a:fld>
            <a:endParaRPr lang="en-US" altLang="en-US"/>
          </a:p>
        </p:txBody>
      </p:sp>
    </p:spTree>
    <p:extLst>
      <p:ext uri="{BB962C8B-B14F-4D97-AF65-F5344CB8AC3E}">
        <p14:creationId xmlns:p14="http://schemas.microsoft.com/office/powerpoint/2010/main" val="35459830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3B87410-21FA-4353-AAAA-2B5691859CDD}"/>
              </a:ext>
            </a:extLst>
          </p:cNvPr>
          <p:cNvSpPr>
            <a:spLocks noGrp="1"/>
          </p:cNvSpPr>
          <p:nvPr>
            <p:ph type="dt" sz="half" idx="10"/>
          </p:nvPr>
        </p:nvSpPr>
        <p:spPr/>
        <p:txBody>
          <a:bodyPr/>
          <a:lstStyle>
            <a:lvl1pPr>
              <a:defRPr/>
            </a:lvl1pPr>
          </a:lstStyle>
          <a:p>
            <a:pPr>
              <a:defRPr/>
            </a:pPr>
            <a:fld id="{53F5A640-9CD2-4021-AEAB-41A8CE39B773}" type="datetimeFigureOut">
              <a:rPr lang="en-US"/>
              <a:pPr>
                <a:defRPr/>
              </a:pPr>
              <a:t>7/25/2022</a:t>
            </a:fld>
            <a:endParaRPr lang="en-US"/>
          </a:p>
        </p:txBody>
      </p:sp>
      <p:sp>
        <p:nvSpPr>
          <p:cNvPr id="5" name="Footer Placeholder 4">
            <a:extLst>
              <a:ext uri="{FF2B5EF4-FFF2-40B4-BE49-F238E27FC236}">
                <a16:creationId xmlns:a16="http://schemas.microsoft.com/office/drawing/2014/main" id="{7DAE2EA1-F34D-498E-A4B8-0AB1EF92B4C9}"/>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87D5F239-8A27-4C57-A3A3-4BE7FA257156}"/>
              </a:ext>
            </a:extLst>
          </p:cNvPr>
          <p:cNvSpPr>
            <a:spLocks noGrp="1"/>
          </p:cNvSpPr>
          <p:nvPr>
            <p:ph type="sldNum" sz="quarter" idx="12"/>
          </p:nvPr>
        </p:nvSpPr>
        <p:spPr/>
        <p:txBody>
          <a:bodyPr/>
          <a:lstStyle>
            <a:lvl1pPr>
              <a:defRPr/>
            </a:lvl1pPr>
          </a:lstStyle>
          <a:p>
            <a:pPr>
              <a:defRPr/>
            </a:pPr>
            <a:fld id="{B527B3BB-F901-49D3-AB09-545CFEB2A1C7}" type="slidenum">
              <a:rPr lang="en-US" altLang="en-US"/>
              <a:pPr>
                <a:defRPr/>
              </a:pPr>
              <a:t>‹#›</a:t>
            </a:fld>
            <a:endParaRPr lang="en-US" altLang="en-US"/>
          </a:p>
        </p:txBody>
      </p:sp>
    </p:spTree>
    <p:extLst>
      <p:ext uri="{BB962C8B-B14F-4D97-AF65-F5344CB8AC3E}">
        <p14:creationId xmlns:p14="http://schemas.microsoft.com/office/powerpoint/2010/main" val="23661368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497"/>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799"/>
            </a:lvl1pPr>
            <a:lvl2pPr marL="342689" indent="0" algn="ctr">
              <a:buNone/>
              <a:defRPr sz="1499"/>
            </a:lvl2pPr>
            <a:lvl3pPr marL="685377" indent="0" algn="ctr">
              <a:buNone/>
              <a:defRPr sz="1349"/>
            </a:lvl3pPr>
            <a:lvl4pPr marL="1028066" indent="0" algn="ctr">
              <a:buNone/>
              <a:defRPr sz="1199"/>
            </a:lvl4pPr>
            <a:lvl5pPr marL="1370754" indent="0" algn="ctr">
              <a:buNone/>
              <a:defRPr sz="1199"/>
            </a:lvl5pPr>
            <a:lvl6pPr marL="1713442" indent="0" algn="ctr">
              <a:buNone/>
              <a:defRPr sz="1199"/>
            </a:lvl6pPr>
            <a:lvl7pPr marL="2056130" indent="0" algn="ctr">
              <a:buNone/>
              <a:defRPr sz="1199"/>
            </a:lvl7pPr>
            <a:lvl8pPr marL="2398819" indent="0" algn="ctr">
              <a:buNone/>
              <a:defRPr sz="1199"/>
            </a:lvl8pPr>
            <a:lvl9pPr marL="2741507" indent="0" algn="ctr">
              <a:buNone/>
              <a:defRPr sz="1199"/>
            </a:lvl9pPr>
          </a:lstStyle>
          <a:p>
            <a:r>
              <a:rPr lang="en-US"/>
              <a:t>Click to edit Master subtitle style</a:t>
            </a:r>
          </a:p>
        </p:txBody>
      </p:sp>
      <p:sp>
        <p:nvSpPr>
          <p:cNvPr id="4" name="Date Placeholder 3">
            <a:extLst>
              <a:ext uri="{FF2B5EF4-FFF2-40B4-BE49-F238E27FC236}">
                <a16:creationId xmlns:a16="http://schemas.microsoft.com/office/drawing/2014/main" id="{61BA6E89-9D07-46B8-82E4-05C90B0D3587}"/>
              </a:ext>
            </a:extLst>
          </p:cNvPr>
          <p:cNvSpPr>
            <a:spLocks noGrp="1"/>
          </p:cNvSpPr>
          <p:nvPr>
            <p:ph type="dt" sz="half" idx="10"/>
          </p:nvPr>
        </p:nvSpPr>
        <p:spPr/>
        <p:txBody>
          <a:bodyPr/>
          <a:lstStyle>
            <a:lvl1pPr>
              <a:defRPr/>
            </a:lvl1pPr>
          </a:lstStyle>
          <a:p>
            <a:pPr>
              <a:defRPr/>
            </a:pPr>
            <a:fld id="{29BF3C5A-71A0-4B00-B276-21DB72A29C67}" type="datetimeFigureOut">
              <a:rPr lang="en-US"/>
              <a:pPr>
                <a:defRPr/>
              </a:pPr>
              <a:t>7/25/2022</a:t>
            </a:fld>
            <a:endParaRPr lang="en-US"/>
          </a:p>
        </p:txBody>
      </p:sp>
      <p:sp>
        <p:nvSpPr>
          <p:cNvPr id="5" name="Footer Placeholder 4">
            <a:extLst>
              <a:ext uri="{FF2B5EF4-FFF2-40B4-BE49-F238E27FC236}">
                <a16:creationId xmlns:a16="http://schemas.microsoft.com/office/drawing/2014/main" id="{B96B11A2-9135-4022-8E5B-F0A9E86851DB}"/>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34394EC0-3FBF-4E75-8990-514A3BF96E65}"/>
              </a:ext>
            </a:extLst>
          </p:cNvPr>
          <p:cNvSpPr>
            <a:spLocks noGrp="1"/>
          </p:cNvSpPr>
          <p:nvPr>
            <p:ph type="sldNum" sz="quarter" idx="12"/>
          </p:nvPr>
        </p:nvSpPr>
        <p:spPr/>
        <p:txBody>
          <a:bodyPr/>
          <a:lstStyle>
            <a:lvl1pPr>
              <a:defRPr/>
            </a:lvl1pPr>
          </a:lstStyle>
          <a:p>
            <a:pPr>
              <a:defRPr/>
            </a:pPr>
            <a:fld id="{24AA5618-1044-4C76-B5ED-B500D5931D58}" type="slidenum">
              <a:rPr lang="en-US" altLang="en-US"/>
              <a:pPr>
                <a:defRPr/>
              </a:pPr>
              <a:t>‹#›</a:t>
            </a:fld>
            <a:endParaRPr lang="en-US" altLang="en-US"/>
          </a:p>
        </p:txBody>
      </p:sp>
    </p:spTree>
    <p:extLst>
      <p:ext uri="{BB962C8B-B14F-4D97-AF65-F5344CB8AC3E}">
        <p14:creationId xmlns:p14="http://schemas.microsoft.com/office/powerpoint/2010/main" val="23804987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71476D-8AAD-410E-8D6C-87E565350EDE}"/>
              </a:ext>
            </a:extLst>
          </p:cNvPr>
          <p:cNvSpPr>
            <a:spLocks noGrp="1"/>
          </p:cNvSpPr>
          <p:nvPr>
            <p:ph type="dt" sz="half" idx="10"/>
          </p:nvPr>
        </p:nvSpPr>
        <p:spPr/>
        <p:txBody>
          <a:bodyPr/>
          <a:lstStyle>
            <a:lvl1pPr>
              <a:defRPr/>
            </a:lvl1pPr>
          </a:lstStyle>
          <a:p>
            <a:pPr>
              <a:defRPr/>
            </a:pPr>
            <a:fld id="{C0955B22-DE39-4167-A047-DEAE68DDE139}" type="datetimeFigureOut">
              <a:rPr lang="en-US"/>
              <a:pPr>
                <a:defRPr/>
              </a:pPr>
              <a:t>7/25/2022</a:t>
            </a:fld>
            <a:endParaRPr lang="en-US"/>
          </a:p>
        </p:txBody>
      </p:sp>
      <p:sp>
        <p:nvSpPr>
          <p:cNvPr id="5" name="Footer Placeholder 4">
            <a:extLst>
              <a:ext uri="{FF2B5EF4-FFF2-40B4-BE49-F238E27FC236}">
                <a16:creationId xmlns:a16="http://schemas.microsoft.com/office/drawing/2014/main" id="{445768F3-49D5-40AE-8222-71B143921289}"/>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4A3564D8-083A-4789-B6F3-4737A3923DC2}"/>
              </a:ext>
            </a:extLst>
          </p:cNvPr>
          <p:cNvSpPr>
            <a:spLocks noGrp="1"/>
          </p:cNvSpPr>
          <p:nvPr>
            <p:ph type="sldNum" sz="quarter" idx="12"/>
          </p:nvPr>
        </p:nvSpPr>
        <p:spPr/>
        <p:txBody>
          <a:bodyPr/>
          <a:lstStyle>
            <a:lvl1pPr>
              <a:defRPr/>
            </a:lvl1pPr>
          </a:lstStyle>
          <a:p>
            <a:pPr>
              <a:defRPr/>
            </a:pPr>
            <a:fld id="{F4CEFC62-A5C1-4C3A-AC40-34F66BE500CE}" type="slidenum">
              <a:rPr lang="en-US" altLang="en-US"/>
              <a:pPr>
                <a:defRPr/>
              </a:pPr>
              <a:t>‹#›</a:t>
            </a:fld>
            <a:endParaRPr lang="en-US" altLang="en-US"/>
          </a:p>
        </p:txBody>
      </p:sp>
    </p:spTree>
    <p:extLst>
      <p:ext uri="{BB962C8B-B14F-4D97-AF65-F5344CB8AC3E}">
        <p14:creationId xmlns:p14="http://schemas.microsoft.com/office/powerpoint/2010/main" val="333494977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497"/>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1799">
                <a:solidFill>
                  <a:schemeClr val="tx1">
                    <a:tint val="75000"/>
                  </a:schemeClr>
                </a:solidFill>
              </a:defRPr>
            </a:lvl1pPr>
            <a:lvl2pPr marL="342689" indent="0">
              <a:buNone/>
              <a:defRPr sz="1499">
                <a:solidFill>
                  <a:schemeClr val="tx1">
                    <a:tint val="75000"/>
                  </a:schemeClr>
                </a:solidFill>
              </a:defRPr>
            </a:lvl2pPr>
            <a:lvl3pPr marL="685377" indent="0">
              <a:buNone/>
              <a:defRPr sz="1349">
                <a:solidFill>
                  <a:schemeClr val="tx1">
                    <a:tint val="75000"/>
                  </a:schemeClr>
                </a:solidFill>
              </a:defRPr>
            </a:lvl3pPr>
            <a:lvl4pPr marL="1028066" indent="0">
              <a:buNone/>
              <a:defRPr sz="1199">
                <a:solidFill>
                  <a:schemeClr val="tx1">
                    <a:tint val="75000"/>
                  </a:schemeClr>
                </a:solidFill>
              </a:defRPr>
            </a:lvl4pPr>
            <a:lvl5pPr marL="1370754" indent="0">
              <a:buNone/>
              <a:defRPr sz="1199">
                <a:solidFill>
                  <a:schemeClr val="tx1">
                    <a:tint val="75000"/>
                  </a:schemeClr>
                </a:solidFill>
              </a:defRPr>
            </a:lvl5pPr>
            <a:lvl6pPr marL="1713442" indent="0">
              <a:buNone/>
              <a:defRPr sz="1199">
                <a:solidFill>
                  <a:schemeClr val="tx1">
                    <a:tint val="75000"/>
                  </a:schemeClr>
                </a:solidFill>
              </a:defRPr>
            </a:lvl6pPr>
            <a:lvl7pPr marL="2056130" indent="0">
              <a:buNone/>
              <a:defRPr sz="1199">
                <a:solidFill>
                  <a:schemeClr val="tx1">
                    <a:tint val="75000"/>
                  </a:schemeClr>
                </a:solidFill>
              </a:defRPr>
            </a:lvl7pPr>
            <a:lvl8pPr marL="2398819" indent="0">
              <a:buNone/>
              <a:defRPr sz="1199">
                <a:solidFill>
                  <a:schemeClr val="tx1">
                    <a:tint val="75000"/>
                  </a:schemeClr>
                </a:solidFill>
              </a:defRPr>
            </a:lvl8pPr>
            <a:lvl9pPr marL="2741507" indent="0">
              <a:buNone/>
              <a:defRPr sz="1199">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035835D-1D73-4F8F-A0A6-5F87031FC47C}"/>
              </a:ext>
            </a:extLst>
          </p:cNvPr>
          <p:cNvSpPr>
            <a:spLocks noGrp="1"/>
          </p:cNvSpPr>
          <p:nvPr>
            <p:ph type="dt" sz="half" idx="10"/>
          </p:nvPr>
        </p:nvSpPr>
        <p:spPr/>
        <p:txBody>
          <a:bodyPr/>
          <a:lstStyle>
            <a:lvl1pPr>
              <a:defRPr/>
            </a:lvl1pPr>
          </a:lstStyle>
          <a:p>
            <a:pPr>
              <a:defRPr/>
            </a:pPr>
            <a:fld id="{4999DB9E-F13C-47EA-8786-0BE35E4483CC}" type="datetimeFigureOut">
              <a:rPr lang="en-US"/>
              <a:pPr>
                <a:defRPr/>
              </a:pPr>
              <a:t>7/25/2022</a:t>
            </a:fld>
            <a:endParaRPr lang="en-US"/>
          </a:p>
        </p:txBody>
      </p:sp>
      <p:sp>
        <p:nvSpPr>
          <p:cNvPr id="5" name="Footer Placeholder 4">
            <a:extLst>
              <a:ext uri="{FF2B5EF4-FFF2-40B4-BE49-F238E27FC236}">
                <a16:creationId xmlns:a16="http://schemas.microsoft.com/office/drawing/2014/main" id="{ECB07801-6DD6-469E-B682-4CA67CD0E304}"/>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663DECC9-E6E3-4A4E-8910-5777C7153D14}"/>
              </a:ext>
            </a:extLst>
          </p:cNvPr>
          <p:cNvSpPr>
            <a:spLocks noGrp="1"/>
          </p:cNvSpPr>
          <p:nvPr>
            <p:ph type="sldNum" sz="quarter" idx="12"/>
          </p:nvPr>
        </p:nvSpPr>
        <p:spPr/>
        <p:txBody>
          <a:bodyPr/>
          <a:lstStyle>
            <a:lvl1pPr>
              <a:defRPr/>
            </a:lvl1pPr>
          </a:lstStyle>
          <a:p>
            <a:pPr>
              <a:defRPr/>
            </a:pPr>
            <a:fld id="{4535F37E-25FD-4D6A-9231-326C4A8A6C24}" type="slidenum">
              <a:rPr lang="en-US" altLang="en-US"/>
              <a:pPr>
                <a:defRPr/>
              </a:pPr>
              <a:t>‹#›</a:t>
            </a:fld>
            <a:endParaRPr lang="en-US" altLang="en-US"/>
          </a:p>
        </p:txBody>
      </p:sp>
    </p:spTree>
    <p:extLst>
      <p:ext uri="{BB962C8B-B14F-4D97-AF65-F5344CB8AC3E}">
        <p14:creationId xmlns:p14="http://schemas.microsoft.com/office/powerpoint/2010/main" val="177231111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AA8CCF8F-9F37-4816-A531-6E65C520F958}"/>
              </a:ext>
            </a:extLst>
          </p:cNvPr>
          <p:cNvSpPr>
            <a:spLocks noGrp="1"/>
          </p:cNvSpPr>
          <p:nvPr>
            <p:ph type="dt" sz="half" idx="10"/>
          </p:nvPr>
        </p:nvSpPr>
        <p:spPr/>
        <p:txBody>
          <a:bodyPr/>
          <a:lstStyle>
            <a:lvl1pPr>
              <a:defRPr/>
            </a:lvl1pPr>
          </a:lstStyle>
          <a:p>
            <a:pPr>
              <a:defRPr/>
            </a:pPr>
            <a:fld id="{99876476-6996-42C9-9C98-F78D89CE94BC}" type="datetimeFigureOut">
              <a:rPr lang="en-US"/>
              <a:pPr>
                <a:defRPr/>
              </a:pPr>
              <a:t>7/25/2022</a:t>
            </a:fld>
            <a:endParaRPr lang="en-US"/>
          </a:p>
        </p:txBody>
      </p:sp>
      <p:sp>
        <p:nvSpPr>
          <p:cNvPr id="6" name="Footer Placeholder 4">
            <a:extLst>
              <a:ext uri="{FF2B5EF4-FFF2-40B4-BE49-F238E27FC236}">
                <a16:creationId xmlns:a16="http://schemas.microsoft.com/office/drawing/2014/main" id="{36D9105B-B09C-4C84-98ED-169A0F671A6C}"/>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7" name="Slide Number Placeholder 5">
            <a:extLst>
              <a:ext uri="{FF2B5EF4-FFF2-40B4-BE49-F238E27FC236}">
                <a16:creationId xmlns:a16="http://schemas.microsoft.com/office/drawing/2014/main" id="{A3AE71A3-CFB8-45B3-8242-3E8334A66009}"/>
              </a:ext>
            </a:extLst>
          </p:cNvPr>
          <p:cNvSpPr>
            <a:spLocks noGrp="1"/>
          </p:cNvSpPr>
          <p:nvPr>
            <p:ph type="sldNum" sz="quarter" idx="12"/>
          </p:nvPr>
        </p:nvSpPr>
        <p:spPr/>
        <p:txBody>
          <a:bodyPr/>
          <a:lstStyle>
            <a:lvl1pPr>
              <a:defRPr/>
            </a:lvl1pPr>
          </a:lstStyle>
          <a:p>
            <a:pPr>
              <a:defRPr/>
            </a:pPr>
            <a:fld id="{7D6464D3-0256-4CED-BFAF-9332312AA35A}" type="slidenum">
              <a:rPr lang="en-US" altLang="en-US"/>
              <a:pPr>
                <a:defRPr/>
              </a:pPr>
              <a:t>‹#›</a:t>
            </a:fld>
            <a:endParaRPr lang="en-US" altLang="en-US"/>
          </a:p>
        </p:txBody>
      </p:sp>
    </p:spTree>
    <p:extLst>
      <p:ext uri="{BB962C8B-B14F-4D97-AF65-F5344CB8AC3E}">
        <p14:creationId xmlns:p14="http://schemas.microsoft.com/office/powerpoint/2010/main" val="153436912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2"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1" y="1681163"/>
            <a:ext cx="3868340" cy="823912"/>
          </a:xfrm>
        </p:spPr>
        <p:txBody>
          <a:bodyPr anchor="b"/>
          <a:lstStyle>
            <a:lvl1pPr marL="0" indent="0">
              <a:buNone/>
              <a:defRPr sz="1799" b="1"/>
            </a:lvl1pPr>
            <a:lvl2pPr marL="342689" indent="0">
              <a:buNone/>
              <a:defRPr sz="1499" b="1"/>
            </a:lvl2pPr>
            <a:lvl3pPr marL="685377" indent="0">
              <a:buNone/>
              <a:defRPr sz="1349" b="1"/>
            </a:lvl3pPr>
            <a:lvl4pPr marL="1028066" indent="0">
              <a:buNone/>
              <a:defRPr sz="1199" b="1"/>
            </a:lvl4pPr>
            <a:lvl5pPr marL="1370754" indent="0">
              <a:buNone/>
              <a:defRPr sz="1199" b="1"/>
            </a:lvl5pPr>
            <a:lvl6pPr marL="1713442" indent="0">
              <a:buNone/>
              <a:defRPr sz="1199" b="1"/>
            </a:lvl6pPr>
            <a:lvl7pPr marL="2056130" indent="0">
              <a:buNone/>
              <a:defRPr sz="1199" b="1"/>
            </a:lvl7pPr>
            <a:lvl8pPr marL="2398819" indent="0">
              <a:buNone/>
              <a:defRPr sz="1199" b="1"/>
            </a:lvl8pPr>
            <a:lvl9pPr marL="2741507" indent="0">
              <a:buNone/>
              <a:defRPr sz="1199" b="1"/>
            </a:lvl9pPr>
          </a:lstStyle>
          <a:p>
            <a:pPr lvl="0"/>
            <a:r>
              <a:rPr lang="en-US"/>
              <a:t>Click to edit Master text styles</a:t>
            </a:r>
          </a:p>
        </p:txBody>
      </p:sp>
      <p:sp>
        <p:nvSpPr>
          <p:cNvPr id="4" name="Content Placeholder 3"/>
          <p:cNvSpPr>
            <a:spLocks noGrp="1"/>
          </p:cNvSpPr>
          <p:nvPr>
            <p:ph sz="half" idx="2"/>
          </p:nvPr>
        </p:nvSpPr>
        <p:spPr>
          <a:xfrm>
            <a:off x="629841"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799" b="1"/>
            </a:lvl1pPr>
            <a:lvl2pPr marL="342689" indent="0">
              <a:buNone/>
              <a:defRPr sz="1499" b="1"/>
            </a:lvl2pPr>
            <a:lvl3pPr marL="685377" indent="0">
              <a:buNone/>
              <a:defRPr sz="1349" b="1"/>
            </a:lvl3pPr>
            <a:lvl4pPr marL="1028066" indent="0">
              <a:buNone/>
              <a:defRPr sz="1199" b="1"/>
            </a:lvl4pPr>
            <a:lvl5pPr marL="1370754" indent="0">
              <a:buNone/>
              <a:defRPr sz="1199" b="1"/>
            </a:lvl5pPr>
            <a:lvl6pPr marL="1713442" indent="0">
              <a:buNone/>
              <a:defRPr sz="1199" b="1"/>
            </a:lvl6pPr>
            <a:lvl7pPr marL="2056130" indent="0">
              <a:buNone/>
              <a:defRPr sz="1199" b="1"/>
            </a:lvl7pPr>
            <a:lvl8pPr marL="2398819" indent="0">
              <a:buNone/>
              <a:defRPr sz="1199" b="1"/>
            </a:lvl8pPr>
            <a:lvl9pPr marL="2741507" indent="0">
              <a:buNone/>
              <a:defRPr sz="1199"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9BACBD65-AB17-4B41-AABC-FA725B61ABD4}"/>
              </a:ext>
            </a:extLst>
          </p:cNvPr>
          <p:cNvSpPr>
            <a:spLocks noGrp="1"/>
          </p:cNvSpPr>
          <p:nvPr>
            <p:ph type="dt" sz="half" idx="10"/>
          </p:nvPr>
        </p:nvSpPr>
        <p:spPr/>
        <p:txBody>
          <a:bodyPr/>
          <a:lstStyle>
            <a:lvl1pPr>
              <a:defRPr/>
            </a:lvl1pPr>
          </a:lstStyle>
          <a:p>
            <a:pPr>
              <a:defRPr/>
            </a:pPr>
            <a:fld id="{D2DD8A81-3A41-4A0D-8A67-4B79B4FD8603}" type="datetimeFigureOut">
              <a:rPr lang="en-US"/>
              <a:pPr>
                <a:defRPr/>
              </a:pPr>
              <a:t>7/25/2022</a:t>
            </a:fld>
            <a:endParaRPr lang="en-US"/>
          </a:p>
        </p:txBody>
      </p:sp>
      <p:sp>
        <p:nvSpPr>
          <p:cNvPr id="8" name="Footer Placeholder 4">
            <a:extLst>
              <a:ext uri="{FF2B5EF4-FFF2-40B4-BE49-F238E27FC236}">
                <a16:creationId xmlns:a16="http://schemas.microsoft.com/office/drawing/2014/main" id="{431A0D2C-AC6C-410C-A657-38CFF9E3EC97}"/>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9" name="Slide Number Placeholder 5">
            <a:extLst>
              <a:ext uri="{FF2B5EF4-FFF2-40B4-BE49-F238E27FC236}">
                <a16:creationId xmlns:a16="http://schemas.microsoft.com/office/drawing/2014/main" id="{CA36F675-5C5C-4219-9574-1F20908D0C2B}"/>
              </a:ext>
            </a:extLst>
          </p:cNvPr>
          <p:cNvSpPr>
            <a:spLocks noGrp="1"/>
          </p:cNvSpPr>
          <p:nvPr>
            <p:ph type="sldNum" sz="quarter" idx="12"/>
          </p:nvPr>
        </p:nvSpPr>
        <p:spPr/>
        <p:txBody>
          <a:bodyPr/>
          <a:lstStyle>
            <a:lvl1pPr>
              <a:defRPr/>
            </a:lvl1pPr>
          </a:lstStyle>
          <a:p>
            <a:pPr>
              <a:defRPr/>
            </a:pPr>
            <a:fld id="{6ACA1AD3-F003-4615-8B58-E3DF494C544D}" type="slidenum">
              <a:rPr lang="en-US" altLang="en-US"/>
              <a:pPr>
                <a:defRPr/>
              </a:pPr>
              <a:t>‹#›</a:t>
            </a:fld>
            <a:endParaRPr lang="en-US" altLang="en-US"/>
          </a:p>
        </p:txBody>
      </p:sp>
    </p:spTree>
    <p:extLst>
      <p:ext uri="{BB962C8B-B14F-4D97-AF65-F5344CB8AC3E}">
        <p14:creationId xmlns:p14="http://schemas.microsoft.com/office/powerpoint/2010/main" val="19005124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26 April 2016</a:t>
            </a:r>
          </a:p>
        </p:txBody>
      </p:sp>
      <p:sp>
        <p:nvSpPr>
          <p:cNvPr id="3" name="Footer Placeholder 2"/>
          <p:cNvSpPr>
            <a:spLocks noGrp="1"/>
          </p:cNvSpPr>
          <p:nvPr>
            <p:ph type="ftr" sz="quarter" idx="11"/>
          </p:nvPr>
        </p:nvSpPr>
        <p:spPr/>
        <p:txBody>
          <a:bodyPr/>
          <a:lstStyle/>
          <a:p>
            <a:r>
              <a:rPr lang="en-US"/>
              <a:t>Amend presentation name in Footer and Apply to All</a:t>
            </a:r>
          </a:p>
        </p:txBody>
      </p:sp>
      <p:sp>
        <p:nvSpPr>
          <p:cNvPr id="4" name="Slide Number Placeholder 3"/>
          <p:cNvSpPr>
            <a:spLocks noGrp="1"/>
          </p:cNvSpPr>
          <p:nvPr>
            <p:ph type="sldNum" sz="quarter" idx="12"/>
          </p:nvPr>
        </p:nvSpPr>
        <p:spPr/>
        <p:txBody>
          <a:bodyPr/>
          <a:lstStyle/>
          <a:p>
            <a:fld id="{C3FDE51E-0052-334C-A4B2-C567FE9F326F}" type="slidenum">
              <a:rPr lang="en-US" smtClean="0"/>
              <a:pPr/>
              <a:t>‹#›</a:t>
            </a:fld>
            <a:endParaRPr lang="en-US"/>
          </a:p>
        </p:txBody>
      </p:sp>
      <p:sp>
        <p:nvSpPr>
          <p:cNvPr id="5" name="Rectangle 4"/>
          <p:cNvSpPr/>
          <p:nvPr userDrawn="1"/>
        </p:nvSpPr>
        <p:spPr>
          <a:xfrm>
            <a:off x="345179" y="1081128"/>
            <a:ext cx="8458854"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5189455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AECF30F9-5E01-4674-ADF7-C17C4FFFA780}"/>
              </a:ext>
            </a:extLst>
          </p:cNvPr>
          <p:cNvSpPr>
            <a:spLocks noGrp="1"/>
          </p:cNvSpPr>
          <p:nvPr>
            <p:ph type="dt" sz="half" idx="10"/>
          </p:nvPr>
        </p:nvSpPr>
        <p:spPr/>
        <p:txBody>
          <a:bodyPr/>
          <a:lstStyle>
            <a:lvl1pPr>
              <a:defRPr/>
            </a:lvl1pPr>
          </a:lstStyle>
          <a:p>
            <a:pPr>
              <a:defRPr/>
            </a:pPr>
            <a:fld id="{4CB92F1A-7DE2-4265-8188-7FB2DFB9BBC4}" type="datetimeFigureOut">
              <a:rPr lang="en-US"/>
              <a:pPr>
                <a:defRPr/>
              </a:pPr>
              <a:t>7/25/2022</a:t>
            </a:fld>
            <a:endParaRPr lang="en-US"/>
          </a:p>
        </p:txBody>
      </p:sp>
      <p:sp>
        <p:nvSpPr>
          <p:cNvPr id="4" name="Footer Placeholder 4">
            <a:extLst>
              <a:ext uri="{FF2B5EF4-FFF2-40B4-BE49-F238E27FC236}">
                <a16:creationId xmlns:a16="http://schemas.microsoft.com/office/drawing/2014/main" id="{8EEF02FA-E7CF-4F0C-8606-CA1966450E8E}"/>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5" name="Slide Number Placeholder 5">
            <a:extLst>
              <a:ext uri="{FF2B5EF4-FFF2-40B4-BE49-F238E27FC236}">
                <a16:creationId xmlns:a16="http://schemas.microsoft.com/office/drawing/2014/main" id="{9F268C60-B264-4F19-8107-EC056F7BFF97}"/>
              </a:ext>
            </a:extLst>
          </p:cNvPr>
          <p:cNvSpPr>
            <a:spLocks noGrp="1"/>
          </p:cNvSpPr>
          <p:nvPr>
            <p:ph type="sldNum" sz="quarter" idx="12"/>
          </p:nvPr>
        </p:nvSpPr>
        <p:spPr/>
        <p:txBody>
          <a:bodyPr/>
          <a:lstStyle>
            <a:lvl1pPr>
              <a:defRPr/>
            </a:lvl1pPr>
          </a:lstStyle>
          <a:p>
            <a:pPr>
              <a:defRPr/>
            </a:pPr>
            <a:fld id="{8C088489-095C-4517-844F-59A2AFABA315}" type="slidenum">
              <a:rPr lang="en-US" altLang="en-US"/>
              <a:pPr>
                <a:defRPr/>
              </a:pPr>
              <a:t>‹#›</a:t>
            </a:fld>
            <a:endParaRPr lang="en-US" altLang="en-US"/>
          </a:p>
        </p:txBody>
      </p:sp>
    </p:spTree>
    <p:extLst>
      <p:ext uri="{BB962C8B-B14F-4D97-AF65-F5344CB8AC3E}">
        <p14:creationId xmlns:p14="http://schemas.microsoft.com/office/powerpoint/2010/main" val="317963705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7345A8A-B693-4B7D-825C-455CC320B7D4}"/>
              </a:ext>
            </a:extLst>
          </p:cNvPr>
          <p:cNvSpPr>
            <a:spLocks noGrp="1"/>
          </p:cNvSpPr>
          <p:nvPr>
            <p:ph type="dt" sz="half" idx="10"/>
          </p:nvPr>
        </p:nvSpPr>
        <p:spPr/>
        <p:txBody>
          <a:bodyPr/>
          <a:lstStyle>
            <a:lvl1pPr>
              <a:defRPr/>
            </a:lvl1pPr>
          </a:lstStyle>
          <a:p>
            <a:pPr>
              <a:defRPr/>
            </a:pPr>
            <a:fld id="{C5EE6925-843A-431D-98A8-3EB9E5C8C94B}" type="datetimeFigureOut">
              <a:rPr lang="en-US"/>
              <a:pPr>
                <a:defRPr/>
              </a:pPr>
              <a:t>7/25/2022</a:t>
            </a:fld>
            <a:endParaRPr lang="en-US"/>
          </a:p>
        </p:txBody>
      </p:sp>
      <p:sp>
        <p:nvSpPr>
          <p:cNvPr id="3" name="Footer Placeholder 4">
            <a:extLst>
              <a:ext uri="{FF2B5EF4-FFF2-40B4-BE49-F238E27FC236}">
                <a16:creationId xmlns:a16="http://schemas.microsoft.com/office/drawing/2014/main" id="{E86A9281-AFAB-482D-A02F-7AF5783E963E}"/>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4" name="Slide Number Placeholder 5">
            <a:extLst>
              <a:ext uri="{FF2B5EF4-FFF2-40B4-BE49-F238E27FC236}">
                <a16:creationId xmlns:a16="http://schemas.microsoft.com/office/drawing/2014/main" id="{D606C6C6-8157-49FE-9DF0-88442FFB17C6}"/>
              </a:ext>
            </a:extLst>
          </p:cNvPr>
          <p:cNvSpPr>
            <a:spLocks noGrp="1"/>
          </p:cNvSpPr>
          <p:nvPr>
            <p:ph type="sldNum" sz="quarter" idx="12"/>
          </p:nvPr>
        </p:nvSpPr>
        <p:spPr/>
        <p:txBody>
          <a:bodyPr/>
          <a:lstStyle>
            <a:lvl1pPr>
              <a:defRPr/>
            </a:lvl1pPr>
          </a:lstStyle>
          <a:p>
            <a:pPr>
              <a:defRPr/>
            </a:pPr>
            <a:fld id="{F392D94F-AEC4-4AE0-947C-99444A667135}" type="slidenum">
              <a:rPr lang="en-US" altLang="en-US"/>
              <a:pPr>
                <a:defRPr/>
              </a:pPr>
              <a:t>‹#›</a:t>
            </a:fld>
            <a:endParaRPr lang="en-US" altLang="en-US"/>
          </a:p>
        </p:txBody>
      </p:sp>
    </p:spTree>
    <p:extLst>
      <p:ext uri="{BB962C8B-B14F-4D97-AF65-F5344CB8AC3E}">
        <p14:creationId xmlns:p14="http://schemas.microsoft.com/office/powerpoint/2010/main" val="5654403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398"/>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398"/>
            </a:lvl1pPr>
            <a:lvl2pPr>
              <a:defRPr sz="2099"/>
            </a:lvl2pPr>
            <a:lvl3pPr>
              <a:defRPr sz="1799"/>
            </a:lvl3pPr>
            <a:lvl4pPr>
              <a:defRPr sz="1499"/>
            </a:lvl4pPr>
            <a:lvl5pPr>
              <a:defRPr sz="1499"/>
            </a:lvl5pPr>
            <a:lvl6pPr>
              <a:defRPr sz="1499"/>
            </a:lvl6pPr>
            <a:lvl7pPr>
              <a:defRPr sz="1499"/>
            </a:lvl7pPr>
            <a:lvl8pPr>
              <a:defRPr sz="1499"/>
            </a:lvl8pPr>
            <a:lvl9pPr>
              <a:defRPr sz="14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199"/>
            </a:lvl1pPr>
            <a:lvl2pPr marL="342689" indent="0">
              <a:buNone/>
              <a:defRPr sz="1049"/>
            </a:lvl2pPr>
            <a:lvl3pPr marL="685377" indent="0">
              <a:buNone/>
              <a:defRPr sz="899"/>
            </a:lvl3pPr>
            <a:lvl4pPr marL="1028066" indent="0">
              <a:buNone/>
              <a:defRPr sz="750"/>
            </a:lvl4pPr>
            <a:lvl5pPr marL="1370754" indent="0">
              <a:buNone/>
              <a:defRPr sz="750"/>
            </a:lvl5pPr>
            <a:lvl6pPr marL="1713442" indent="0">
              <a:buNone/>
              <a:defRPr sz="750"/>
            </a:lvl6pPr>
            <a:lvl7pPr marL="2056130" indent="0">
              <a:buNone/>
              <a:defRPr sz="750"/>
            </a:lvl7pPr>
            <a:lvl8pPr marL="2398819" indent="0">
              <a:buNone/>
              <a:defRPr sz="750"/>
            </a:lvl8pPr>
            <a:lvl9pPr marL="2741507"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75ACF4D5-5657-4222-9CBC-6E6B1AF5F7B2}"/>
              </a:ext>
            </a:extLst>
          </p:cNvPr>
          <p:cNvSpPr>
            <a:spLocks noGrp="1"/>
          </p:cNvSpPr>
          <p:nvPr>
            <p:ph type="dt" sz="half" idx="10"/>
          </p:nvPr>
        </p:nvSpPr>
        <p:spPr/>
        <p:txBody>
          <a:bodyPr/>
          <a:lstStyle>
            <a:lvl1pPr>
              <a:defRPr/>
            </a:lvl1pPr>
          </a:lstStyle>
          <a:p>
            <a:pPr>
              <a:defRPr/>
            </a:pPr>
            <a:fld id="{53F54247-5CBD-4781-B904-EA1E00466A0D}" type="datetimeFigureOut">
              <a:rPr lang="en-US"/>
              <a:pPr>
                <a:defRPr/>
              </a:pPr>
              <a:t>7/25/2022</a:t>
            </a:fld>
            <a:endParaRPr lang="en-US"/>
          </a:p>
        </p:txBody>
      </p:sp>
      <p:sp>
        <p:nvSpPr>
          <p:cNvPr id="6" name="Footer Placeholder 4">
            <a:extLst>
              <a:ext uri="{FF2B5EF4-FFF2-40B4-BE49-F238E27FC236}">
                <a16:creationId xmlns:a16="http://schemas.microsoft.com/office/drawing/2014/main" id="{132759E2-55AF-4310-BCC9-0C9CB8E69893}"/>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7" name="Slide Number Placeholder 5">
            <a:extLst>
              <a:ext uri="{FF2B5EF4-FFF2-40B4-BE49-F238E27FC236}">
                <a16:creationId xmlns:a16="http://schemas.microsoft.com/office/drawing/2014/main" id="{432DDE07-ED18-4125-946E-1D1BDAFD2C49}"/>
              </a:ext>
            </a:extLst>
          </p:cNvPr>
          <p:cNvSpPr>
            <a:spLocks noGrp="1"/>
          </p:cNvSpPr>
          <p:nvPr>
            <p:ph type="sldNum" sz="quarter" idx="12"/>
          </p:nvPr>
        </p:nvSpPr>
        <p:spPr/>
        <p:txBody>
          <a:bodyPr/>
          <a:lstStyle>
            <a:lvl1pPr>
              <a:defRPr/>
            </a:lvl1pPr>
          </a:lstStyle>
          <a:p>
            <a:pPr>
              <a:defRPr/>
            </a:pPr>
            <a:fld id="{05DBD82D-9F78-486C-8122-CBE94FCB26D7}" type="slidenum">
              <a:rPr lang="en-US" altLang="en-US"/>
              <a:pPr>
                <a:defRPr/>
              </a:pPr>
              <a:t>‹#›</a:t>
            </a:fld>
            <a:endParaRPr lang="en-US" altLang="en-US"/>
          </a:p>
        </p:txBody>
      </p:sp>
    </p:spTree>
    <p:extLst>
      <p:ext uri="{BB962C8B-B14F-4D97-AF65-F5344CB8AC3E}">
        <p14:creationId xmlns:p14="http://schemas.microsoft.com/office/powerpoint/2010/main" val="334514626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398"/>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rtlCol="0">
            <a:normAutofit/>
          </a:bodyPr>
          <a:lstStyle>
            <a:lvl1pPr marL="0" indent="0">
              <a:buNone/>
              <a:defRPr sz="2398"/>
            </a:lvl1pPr>
            <a:lvl2pPr marL="342689" indent="0">
              <a:buNone/>
              <a:defRPr sz="2099"/>
            </a:lvl2pPr>
            <a:lvl3pPr marL="685377" indent="0">
              <a:buNone/>
              <a:defRPr sz="1799"/>
            </a:lvl3pPr>
            <a:lvl4pPr marL="1028066" indent="0">
              <a:buNone/>
              <a:defRPr sz="1499"/>
            </a:lvl4pPr>
            <a:lvl5pPr marL="1370754" indent="0">
              <a:buNone/>
              <a:defRPr sz="1499"/>
            </a:lvl5pPr>
            <a:lvl6pPr marL="1713442" indent="0">
              <a:buNone/>
              <a:defRPr sz="1499"/>
            </a:lvl6pPr>
            <a:lvl7pPr marL="2056130" indent="0">
              <a:buNone/>
              <a:defRPr sz="1499"/>
            </a:lvl7pPr>
            <a:lvl8pPr marL="2398819" indent="0">
              <a:buNone/>
              <a:defRPr sz="1499"/>
            </a:lvl8pPr>
            <a:lvl9pPr marL="2741507" indent="0">
              <a:buNone/>
              <a:defRPr sz="1499"/>
            </a:lvl9pPr>
          </a:lstStyle>
          <a:p>
            <a:pPr lvl="0"/>
            <a:endParaRPr lang="en-US" noProof="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199"/>
            </a:lvl1pPr>
            <a:lvl2pPr marL="342689" indent="0">
              <a:buNone/>
              <a:defRPr sz="1049"/>
            </a:lvl2pPr>
            <a:lvl3pPr marL="685377" indent="0">
              <a:buNone/>
              <a:defRPr sz="899"/>
            </a:lvl3pPr>
            <a:lvl4pPr marL="1028066" indent="0">
              <a:buNone/>
              <a:defRPr sz="750"/>
            </a:lvl4pPr>
            <a:lvl5pPr marL="1370754" indent="0">
              <a:buNone/>
              <a:defRPr sz="750"/>
            </a:lvl5pPr>
            <a:lvl6pPr marL="1713442" indent="0">
              <a:buNone/>
              <a:defRPr sz="750"/>
            </a:lvl6pPr>
            <a:lvl7pPr marL="2056130" indent="0">
              <a:buNone/>
              <a:defRPr sz="750"/>
            </a:lvl7pPr>
            <a:lvl8pPr marL="2398819" indent="0">
              <a:buNone/>
              <a:defRPr sz="750"/>
            </a:lvl8pPr>
            <a:lvl9pPr marL="2741507"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6B4DA844-AE43-45A6-9F8C-2BF91609B871}"/>
              </a:ext>
            </a:extLst>
          </p:cNvPr>
          <p:cNvSpPr>
            <a:spLocks noGrp="1"/>
          </p:cNvSpPr>
          <p:nvPr>
            <p:ph type="dt" sz="half" idx="10"/>
          </p:nvPr>
        </p:nvSpPr>
        <p:spPr/>
        <p:txBody>
          <a:bodyPr/>
          <a:lstStyle>
            <a:lvl1pPr>
              <a:defRPr/>
            </a:lvl1pPr>
          </a:lstStyle>
          <a:p>
            <a:pPr>
              <a:defRPr/>
            </a:pPr>
            <a:fld id="{E1E4C124-3186-477C-86CC-171290A89047}" type="datetimeFigureOut">
              <a:rPr lang="en-US"/>
              <a:pPr>
                <a:defRPr/>
              </a:pPr>
              <a:t>7/25/2022</a:t>
            </a:fld>
            <a:endParaRPr lang="en-US"/>
          </a:p>
        </p:txBody>
      </p:sp>
      <p:sp>
        <p:nvSpPr>
          <p:cNvPr id="6" name="Footer Placeholder 4">
            <a:extLst>
              <a:ext uri="{FF2B5EF4-FFF2-40B4-BE49-F238E27FC236}">
                <a16:creationId xmlns:a16="http://schemas.microsoft.com/office/drawing/2014/main" id="{509AE676-77BA-40A6-948F-C1A87C7E1210}"/>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7" name="Slide Number Placeholder 5">
            <a:extLst>
              <a:ext uri="{FF2B5EF4-FFF2-40B4-BE49-F238E27FC236}">
                <a16:creationId xmlns:a16="http://schemas.microsoft.com/office/drawing/2014/main" id="{774D7F64-9DEA-40B7-9184-15AE6F4A4ACB}"/>
              </a:ext>
            </a:extLst>
          </p:cNvPr>
          <p:cNvSpPr>
            <a:spLocks noGrp="1"/>
          </p:cNvSpPr>
          <p:nvPr>
            <p:ph type="sldNum" sz="quarter" idx="12"/>
          </p:nvPr>
        </p:nvSpPr>
        <p:spPr/>
        <p:txBody>
          <a:bodyPr/>
          <a:lstStyle>
            <a:lvl1pPr>
              <a:defRPr/>
            </a:lvl1pPr>
          </a:lstStyle>
          <a:p>
            <a:pPr>
              <a:defRPr/>
            </a:pPr>
            <a:fld id="{BBD48A95-930D-48DC-9F6D-0194081B9154}" type="slidenum">
              <a:rPr lang="en-US" altLang="en-US"/>
              <a:pPr>
                <a:defRPr/>
              </a:pPr>
              <a:t>‹#›</a:t>
            </a:fld>
            <a:endParaRPr lang="en-US" altLang="en-US"/>
          </a:p>
        </p:txBody>
      </p:sp>
    </p:spTree>
    <p:extLst>
      <p:ext uri="{BB962C8B-B14F-4D97-AF65-F5344CB8AC3E}">
        <p14:creationId xmlns:p14="http://schemas.microsoft.com/office/powerpoint/2010/main" val="357674466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6D9E33-2A12-4E3B-A6C0-458B35B43326}"/>
              </a:ext>
            </a:extLst>
          </p:cNvPr>
          <p:cNvSpPr>
            <a:spLocks noGrp="1"/>
          </p:cNvSpPr>
          <p:nvPr>
            <p:ph type="dt" sz="half" idx="10"/>
          </p:nvPr>
        </p:nvSpPr>
        <p:spPr/>
        <p:txBody>
          <a:bodyPr/>
          <a:lstStyle>
            <a:lvl1pPr>
              <a:defRPr/>
            </a:lvl1pPr>
          </a:lstStyle>
          <a:p>
            <a:pPr>
              <a:defRPr/>
            </a:pPr>
            <a:fld id="{EB9C1079-25F7-4B8A-9E76-1DB60F8A1D38}" type="datetimeFigureOut">
              <a:rPr lang="en-US"/>
              <a:pPr>
                <a:defRPr/>
              </a:pPr>
              <a:t>7/25/2022</a:t>
            </a:fld>
            <a:endParaRPr lang="en-US"/>
          </a:p>
        </p:txBody>
      </p:sp>
      <p:sp>
        <p:nvSpPr>
          <p:cNvPr id="5" name="Footer Placeholder 4">
            <a:extLst>
              <a:ext uri="{FF2B5EF4-FFF2-40B4-BE49-F238E27FC236}">
                <a16:creationId xmlns:a16="http://schemas.microsoft.com/office/drawing/2014/main" id="{7A630907-C97A-42CA-98DD-862AB2C4B56E}"/>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F3CB777E-77F3-48BA-B96F-FA0410A9334D}"/>
              </a:ext>
            </a:extLst>
          </p:cNvPr>
          <p:cNvSpPr>
            <a:spLocks noGrp="1"/>
          </p:cNvSpPr>
          <p:nvPr>
            <p:ph type="sldNum" sz="quarter" idx="12"/>
          </p:nvPr>
        </p:nvSpPr>
        <p:spPr/>
        <p:txBody>
          <a:bodyPr/>
          <a:lstStyle>
            <a:lvl1pPr>
              <a:defRPr/>
            </a:lvl1pPr>
          </a:lstStyle>
          <a:p>
            <a:pPr>
              <a:defRPr/>
            </a:pPr>
            <a:fld id="{242699B4-7953-4FC6-B2C7-1C204828C18C}" type="slidenum">
              <a:rPr lang="en-US" altLang="en-US"/>
              <a:pPr>
                <a:defRPr/>
              </a:pPr>
              <a:t>‹#›</a:t>
            </a:fld>
            <a:endParaRPr lang="en-US" altLang="en-US"/>
          </a:p>
        </p:txBody>
      </p:sp>
    </p:spTree>
    <p:extLst>
      <p:ext uri="{BB962C8B-B14F-4D97-AF65-F5344CB8AC3E}">
        <p14:creationId xmlns:p14="http://schemas.microsoft.com/office/powerpoint/2010/main" val="42759327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2F686F-57D6-462E-9BA8-29EB8E04A2DD}"/>
              </a:ext>
            </a:extLst>
          </p:cNvPr>
          <p:cNvSpPr>
            <a:spLocks noGrp="1"/>
          </p:cNvSpPr>
          <p:nvPr>
            <p:ph type="dt" sz="half" idx="10"/>
          </p:nvPr>
        </p:nvSpPr>
        <p:spPr/>
        <p:txBody>
          <a:bodyPr/>
          <a:lstStyle>
            <a:lvl1pPr>
              <a:defRPr/>
            </a:lvl1pPr>
          </a:lstStyle>
          <a:p>
            <a:pPr>
              <a:defRPr/>
            </a:pPr>
            <a:fld id="{DC74FEC1-17D1-40FB-BE1A-AE0C05441898}" type="datetimeFigureOut">
              <a:rPr lang="en-US"/>
              <a:pPr>
                <a:defRPr/>
              </a:pPr>
              <a:t>7/25/2022</a:t>
            </a:fld>
            <a:endParaRPr lang="en-US"/>
          </a:p>
        </p:txBody>
      </p:sp>
      <p:sp>
        <p:nvSpPr>
          <p:cNvPr id="5" name="Footer Placeholder 4">
            <a:extLst>
              <a:ext uri="{FF2B5EF4-FFF2-40B4-BE49-F238E27FC236}">
                <a16:creationId xmlns:a16="http://schemas.microsoft.com/office/drawing/2014/main" id="{841B4AF7-14AC-461F-8E71-6A4F8784EC9B}"/>
              </a:ext>
            </a:extLst>
          </p:cNvPr>
          <p:cNvSpPr>
            <a:spLocks noGrp="1"/>
          </p:cNvSpPr>
          <p:nvPr>
            <p:ph type="ftr" sz="quarter" idx="11"/>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8CF2D6C2-E591-49E1-979C-4B7FE0B1789B}"/>
              </a:ext>
            </a:extLst>
          </p:cNvPr>
          <p:cNvSpPr>
            <a:spLocks noGrp="1"/>
          </p:cNvSpPr>
          <p:nvPr>
            <p:ph type="sldNum" sz="quarter" idx="12"/>
          </p:nvPr>
        </p:nvSpPr>
        <p:spPr/>
        <p:txBody>
          <a:bodyPr/>
          <a:lstStyle>
            <a:lvl1pPr>
              <a:defRPr/>
            </a:lvl1pPr>
          </a:lstStyle>
          <a:p>
            <a:pPr>
              <a:defRPr/>
            </a:pPr>
            <a:fld id="{3D6CFB92-F1D7-4ED5-BD88-FFE9E9DBC946}" type="slidenum">
              <a:rPr lang="en-US" altLang="en-US"/>
              <a:pPr>
                <a:defRPr/>
              </a:pPr>
              <a:t>‹#›</a:t>
            </a:fld>
            <a:endParaRPr lang="en-US" altLang="en-US"/>
          </a:p>
        </p:txBody>
      </p:sp>
    </p:spTree>
    <p:extLst>
      <p:ext uri="{BB962C8B-B14F-4D97-AF65-F5344CB8AC3E}">
        <p14:creationId xmlns:p14="http://schemas.microsoft.com/office/powerpoint/2010/main" val="27758759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obj">
  <p:cSld name="1_Two Content">
    <p:spTree>
      <p:nvGrpSpPr>
        <p:cNvPr id="1" name=""/>
        <p:cNvGrpSpPr/>
        <p:nvPr/>
      </p:nvGrpSpPr>
      <p:grpSpPr>
        <a:xfrm>
          <a:off x="0" y="0"/>
          <a:ext cx="0" cy="0"/>
          <a:chOff x="0" y="0"/>
          <a:chExt cx="0" cy="0"/>
        </a:xfrm>
      </p:grpSpPr>
      <p:sp>
        <p:nvSpPr>
          <p:cNvPr id="5" name="bk object 16">
            <a:extLst>
              <a:ext uri="{FF2B5EF4-FFF2-40B4-BE49-F238E27FC236}">
                <a16:creationId xmlns:a16="http://schemas.microsoft.com/office/drawing/2014/main" id="{7085FCE7-014B-4CA8-B3B8-E30337533278}"/>
              </a:ext>
            </a:extLst>
          </p:cNvPr>
          <p:cNvSpPr>
            <a:spLocks noChangeArrowheads="1"/>
          </p:cNvSpPr>
          <p:nvPr/>
        </p:nvSpPr>
        <p:spPr bwMode="auto">
          <a:xfrm>
            <a:off x="0" y="0"/>
            <a:ext cx="9144918" cy="5854972"/>
          </a:xfrm>
          <a:prstGeom prst="rect">
            <a:avLst/>
          </a:prstGeom>
          <a:blipFill dpi="0" rotWithShape="1">
            <a:blip r:embed="rId2"/>
            <a:srcRect/>
            <a:stretch>
              <a:fillRect/>
            </a:stretch>
          </a:blipFill>
          <a:ln>
            <a:noFill/>
          </a:ln>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040"/>
          </a:p>
        </p:txBody>
      </p:sp>
      <p:sp>
        <p:nvSpPr>
          <p:cNvPr id="6" name="bk object 17">
            <a:extLst>
              <a:ext uri="{FF2B5EF4-FFF2-40B4-BE49-F238E27FC236}">
                <a16:creationId xmlns:a16="http://schemas.microsoft.com/office/drawing/2014/main" id="{CEE7BACC-EFC2-42B4-BB00-75E994A6D64E}"/>
              </a:ext>
            </a:extLst>
          </p:cNvPr>
          <p:cNvSpPr>
            <a:spLocks noChangeArrowheads="1"/>
          </p:cNvSpPr>
          <p:nvPr/>
        </p:nvSpPr>
        <p:spPr bwMode="auto">
          <a:xfrm>
            <a:off x="0" y="0"/>
            <a:ext cx="9144918" cy="5854972"/>
          </a:xfrm>
          <a:prstGeom prst="rect">
            <a:avLst/>
          </a:prstGeom>
          <a:blipFill dpi="0" rotWithShape="1">
            <a:blip r:embed="rId3"/>
            <a:srcRect/>
            <a:stretch>
              <a:fillRect/>
            </a:stretch>
          </a:blipFill>
          <a:ln>
            <a:noFill/>
          </a:ln>
        </p:spPr>
        <p:txBody>
          <a:bodyPr lIns="0" tIns="0" rIns="0" bIns="0"/>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defRPr/>
            </a:pPr>
            <a:endParaRPr lang="en-US" altLang="en-US" sz="1040"/>
          </a:p>
        </p:txBody>
      </p:sp>
      <p:sp>
        <p:nvSpPr>
          <p:cNvPr id="7" name="bk object 18">
            <a:extLst>
              <a:ext uri="{FF2B5EF4-FFF2-40B4-BE49-F238E27FC236}">
                <a16:creationId xmlns:a16="http://schemas.microsoft.com/office/drawing/2014/main" id="{09560910-9C1E-417C-B814-8BF5D08E0DAD}"/>
              </a:ext>
            </a:extLst>
          </p:cNvPr>
          <p:cNvSpPr>
            <a:spLocks/>
          </p:cNvSpPr>
          <p:nvPr/>
        </p:nvSpPr>
        <p:spPr bwMode="auto">
          <a:xfrm>
            <a:off x="0" y="5795377"/>
            <a:ext cx="9144918" cy="118273"/>
          </a:xfrm>
          <a:custGeom>
            <a:avLst/>
            <a:gdLst>
              <a:gd name="T0" fmla="*/ 0 w 15825596"/>
              <a:gd name="T1" fmla="*/ 0 h 204177"/>
              <a:gd name="T2" fmla="*/ 0 w 15825596"/>
              <a:gd name="T3" fmla="*/ 205399 h 204177"/>
              <a:gd name="T4" fmla="*/ 15825980 w 15825596"/>
              <a:gd name="T5" fmla="*/ 205399 h 204177"/>
              <a:gd name="T6" fmla="*/ 15825980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 name="bk object 19">
            <a:extLst>
              <a:ext uri="{FF2B5EF4-FFF2-40B4-BE49-F238E27FC236}">
                <a16:creationId xmlns:a16="http://schemas.microsoft.com/office/drawing/2014/main" id="{B95B8B46-7C56-49CC-9685-763EDAB01637}"/>
              </a:ext>
            </a:extLst>
          </p:cNvPr>
          <p:cNvSpPr>
            <a:spLocks/>
          </p:cNvSpPr>
          <p:nvPr/>
        </p:nvSpPr>
        <p:spPr bwMode="auto">
          <a:xfrm>
            <a:off x="0" y="5603756"/>
            <a:ext cx="1436547" cy="191621"/>
          </a:xfrm>
          <a:custGeom>
            <a:avLst/>
            <a:gdLst>
              <a:gd name="T0" fmla="*/ 0 w 2486525"/>
              <a:gd name="T1" fmla="*/ 330940 h 332638"/>
              <a:gd name="T2" fmla="*/ 2438021 w 2486525"/>
              <a:gd name="T3" fmla="*/ 330940 h 332638"/>
              <a:gd name="T4" fmla="*/ 2460182 w 2486525"/>
              <a:gd name="T5" fmla="*/ 330621 h 332638"/>
              <a:gd name="T6" fmla="*/ 2485517 w 2486525"/>
              <a:gd name="T7" fmla="*/ 291061 h 332638"/>
              <a:gd name="T8" fmla="*/ 2485525 w 2486525"/>
              <a:gd name="T9" fmla="*/ 47281 h 332638"/>
              <a:gd name="T10" fmla="*/ 2485204 w 2486525"/>
              <a:gd name="T11" fmla="*/ 25222 h 332638"/>
              <a:gd name="T12" fmla="*/ 2445458 w 2486525"/>
              <a:gd name="T13" fmla="*/ 7 h 332638"/>
              <a:gd name="T14" fmla="*/ 0 w 2486525"/>
              <a:gd name="T15" fmla="*/ 0 h 332638"/>
              <a:gd name="T16" fmla="*/ 0 w 2486525"/>
              <a:gd name="T17" fmla="*/ 330940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 name="bk object 20">
            <a:extLst>
              <a:ext uri="{FF2B5EF4-FFF2-40B4-BE49-F238E27FC236}">
                <a16:creationId xmlns:a16="http://schemas.microsoft.com/office/drawing/2014/main" id="{879B567E-323A-405A-B1CE-63F0C9B7EDF5}"/>
              </a:ext>
            </a:extLst>
          </p:cNvPr>
          <p:cNvSpPr>
            <a:spLocks/>
          </p:cNvSpPr>
          <p:nvPr/>
        </p:nvSpPr>
        <p:spPr bwMode="auto">
          <a:xfrm>
            <a:off x="0" y="0"/>
            <a:ext cx="9144918" cy="118273"/>
          </a:xfrm>
          <a:custGeom>
            <a:avLst/>
            <a:gdLst>
              <a:gd name="T0" fmla="*/ 0 w 15825596"/>
              <a:gd name="T1" fmla="*/ 205401 h 204177"/>
              <a:gd name="T2" fmla="*/ 15825980 w 15825596"/>
              <a:gd name="T3" fmla="*/ 205401 h 204177"/>
              <a:gd name="T4" fmla="*/ 15825980 w 15825596"/>
              <a:gd name="T5" fmla="*/ 0 h 204177"/>
              <a:gd name="T6" fmla="*/ 0 w 15825596"/>
              <a:gd name="T7" fmla="*/ 0 h 204177"/>
              <a:gd name="T8" fmla="*/ 0 w 15825596"/>
              <a:gd name="T9" fmla="*/ 205401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 name="bk object 21">
            <a:extLst>
              <a:ext uri="{FF2B5EF4-FFF2-40B4-BE49-F238E27FC236}">
                <a16:creationId xmlns:a16="http://schemas.microsoft.com/office/drawing/2014/main" id="{7BBFCE78-3AD8-4F1A-8294-A87F2A6C3653}"/>
              </a:ext>
            </a:extLst>
          </p:cNvPr>
          <p:cNvSpPr>
            <a:spLocks/>
          </p:cNvSpPr>
          <p:nvPr/>
        </p:nvSpPr>
        <p:spPr bwMode="auto">
          <a:xfrm>
            <a:off x="8428478" y="264051"/>
            <a:ext cx="716439"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 name="Holder 2"/>
          <p:cNvSpPr>
            <a:spLocks noGrp="1"/>
          </p:cNvSpPr>
          <p:nvPr>
            <p:ph type="title"/>
          </p:nvPr>
        </p:nvSpPr>
        <p:spPr/>
        <p:txBody>
          <a:bodyPr/>
          <a:lstStyle/>
          <a:p>
            <a:endParaRPr/>
          </a:p>
        </p:txBody>
      </p:sp>
      <p:sp>
        <p:nvSpPr>
          <p:cNvPr id="3" name="Holder 3"/>
          <p:cNvSpPr>
            <a:spLocks noGrp="1"/>
          </p:cNvSpPr>
          <p:nvPr>
            <p:ph sz="half" idx="2"/>
          </p:nvPr>
        </p:nvSpPr>
        <p:spPr>
          <a:xfrm>
            <a:off x="457255" y="1577340"/>
            <a:ext cx="3978118" cy="4526280"/>
          </a:xfrm>
          <a:prstGeom prst="rect">
            <a:avLst/>
          </a:prstGeom>
        </p:spPr>
        <p:txBody>
          <a:bodyPr>
            <a:noAutofit/>
          </a:bodyPr>
          <a:lstStyle/>
          <a:p>
            <a:endParaRPr/>
          </a:p>
        </p:txBody>
      </p:sp>
      <p:sp>
        <p:nvSpPr>
          <p:cNvPr id="4" name="Holder 4"/>
          <p:cNvSpPr>
            <a:spLocks noGrp="1"/>
          </p:cNvSpPr>
          <p:nvPr>
            <p:ph sz="half" idx="3"/>
          </p:nvPr>
        </p:nvSpPr>
        <p:spPr>
          <a:xfrm>
            <a:off x="4709727" y="1577340"/>
            <a:ext cx="3978118" cy="4526280"/>
          </a:xfrm>
          <a:prstGeom prst="rect">
            <a:avLst/>
          </a:prstGeom>
        </p:spPr>
        <p:txBody>
          <a:bodyPr>
            <a:noAutofit/>
          </a:bodyPr>
          <a:lstStyle/>
          <a:p>
            <a:endParaRPr/>
          </a:p>
        </p:txBody>
      </p:sp>
      <p:sp>
        <p:nvSpPr>
          <p:cNvPr id="11" name="Holder 5">
            <a:extLst>
              <a:ext uri="{FF2B5EF4-FFF2-40B4-BE49-F238E27FC236}">
                <a16:creationId xmlns:a16="http://schemas.microsoft.com/office/drawing/2014/main" id="{4C478CED-EFA9-421F-9B06-39E7849802D0}"/>
              </a:ext>
            </a:extLst>
          </p:cNvPr>
          <p:cNvSpPr>
            <a:spLocks noGrp="1"/>
          </p:cNvSpPr>
          <p:nvPr>
            <p:ph type="ftr" sz="quarter" idx="10"/>
          </p:nvPr>
        </p:nvSpPr>
        <p:spPr/>
        <p:txBody>
          <a:bodyPr/>
          <a:lstStyle>
            <a:lvl1pPr>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12" name="Holder 6">
            <a:extLst>
              <a:ext uri="{FF2B5EF4-FFF2-40B4-BE49-F238E27FC236}">
                <a16:creationId xmlns:a16="http://schemas.microsoft.com/office/drawing/2014/main" id="{062E6647-1186-4E8F-98E3-4D89644FBA66}"/>
              </a:ext>
            </a:extLst>
          </p:cNvPr>
          <p:cNvSpPr>
            <a:spLocks noGrp="1"/>
          </p:cNvSpPr>
          <p:nvPr>
            <p:ph type="dt" sz="half" idx="11"/>
          </p:nvPr>
        </p:nvSpPr>
        <p:spPr/>
        <p:txBody>
          <a:bodyPr/>
          <a:lstStyle>
            <a:lvl1pPr algn="l">
              <a:defRPr>
                <a:solidFill>
                  <a:schemeClr val="tx1">
                    <a:tint val="75000"/>
                  </a:schemeClr>
                </a:solidFill>
              </a:defRPr>
            </a:lvl1pPr>
          </a:lstStyle>
          <a:p>
            <a:pPr>
              <a:defRPr/>
            </a:pPr>
            <a:fld id="{98530891-6DD1-4045-8E08-6FD886470B9B}" type="datetimeFigureOut">
              <a:rPr lang="en-US"/>
              <a:pPr>
                <a:defRPr/>
              </a:pPr>
              <a:t>7/25/2022</a:t>
            </a:fld>
            <a:endParaRPr lang="en-US"/>
          </a:p>
        </p:txBody>
      </p:sp>
      <p:sp>
        <p:nvSpPr>
          <p:cNvPr id="13" name="Holder 7">
            <a:extLst>
              <a:ext uri="{FF2B5EF4-FFF2-40B4-BE49-F238E27FC236}">
                <a16:creationId xmlns:a16="http://schemas.microsoft.com/office/drawing/2014/main" id="{6D999AC5-909E-4876-A2C2-4E5B3D71279F}"/>
              </a:ext>
            </a:extLst>
          </p:cNvPr>
          <p:cNvSpPr>
            <a:spLocks noGrp="1"/>
          </p:cNvSpPr>
          <p:nvPr>
            <p:ph type="sldNum" sz="quarter" idx="12"/>
          </p:nvPr>
        </p:nvSpPr>
        <p:spPr/>
        <p:txBody>
          <a:bodyPr/>
          <a:lstStyle>
            <a:lvl1pPr>
              <a:defRPr/>
            </a:lvl1pPr>
          </a:lstStyle>
          <a:p>
            <a:pPr>
              <a:defRPr/>
            </a:pPr>
            <a:fld id="{852AD6BF-573E-42FE-8E8F-3C072A117026}" type="slidenum">
              <a:rPr lang="en-US" altLang="en-US"/>
              <a:pPr>
                <a:defRPr/>
              </a:pPr>
              <a:t>‹#›</a:t>
            </a:fld>
            <a:endParaRPr lang="en-US" altLang="en-US"/>
          </a:p>
        </p:txBody>
      </p:sp>
    </p:spTree>
    <p:extLst>
      <p:ext uri="{BB962C8B-B14F-4D97-AF65-F5344CB8AC3E}">
        <p14:creationId xmlns:p14="http://schemas.microsoft.com/office/powerpoint/2010/main" val="2130627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tement &amp; imag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26 April 2016</a:t>
            </a:r>
          </a:p>
        </p:txBody>
      </p:sp>
      <p:sp>
        <p:nvSpPr>
          <p:cNvPr id="3" name="Footer Placeholder 2"/>
          <p:cNvSpPr>
            <a:spLocks noGrp="1"/>
          </p:cNvSpPr>
          <p:nvPr>
            <p:ph type="ftr" sz="quarter" idx="11"/>
          </p:nvPr>
        </p:nvSpPr>
        <p:spPr/>
        <p:txBody>
          <a:bodyPr/>
          <a:lstStyle/>
          <a:p>
            <a:r>
              <a:rPr lang="en-US"/>
              <a:t>Amend presentation name in Footer and Apply to All</a:t>
            </a:r>
          </a:p>
        </p:txBody>
      </p:sp>
      <p:sp>
        <p:nvSpPr>
          <p:cNvPr id="4" name="Slide Number Placeholder 3"/>
          <p:cNvSpPr>
            <a:spLocks noGrp="1"/>
          </p:cNvSpPr>
          <p:nvPr>
            <p:ph type="sldNum" sz="quarter" idx="12"/>
          </p:nvPr>
        </p:nvSpPr>
        <p:spPr/>
        <p:txBody>
          <a:bodyPr/>
          <a:lstStyle/>
          <a:p>
            <a:fld id="{C3FDE51E-0052-334C-A4B2-C567FE9F326F}" type="slidenum">
              <a:rPr lang="en-US" smtClean="0"/>
              <a:pPr/>
              <a:t>‹#›</a:t>
            </a:fld>
            <a:endParaRPr lang="en-US"/>
          </a:p>
        </p:txBody>
      </p:sp>
      <p:sp>
        <p:nvSpPr>
          <p:cNvPr id="5" name="Rectangle 4"/>
          <p:cNvSpPr/>
          <p:nvPr userDrawn="1"/>
        </p:nvSpPr>
        <p:spPr>
          <a:xfrm>
            <a:off x="345179" y="1081128"/>
            <a:ext cx="8458854" cy="182359"/>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Picture Placeholder 6"/>
          <p:cNvSpPr>
            <a:spLocks noGrp="1"/>
          </p:cNvSpPr>
          <p:nvPr>
            <p:ph type="pic" sz="quarter" idx="13"/>
          </p:nvPr>
        </p:nvSpPr>
        <p:spPr>
          <a:xfrm>
            <a:off x="147637" y="147638"/>
            <a:ext cx="8837613" cy="6159500"/>
          </a:xfrm>
        </p:spPr>
        <p:txBody>
          <a:bodyPr/>
          <a:lstStyle/>
          <a:p>
            <a:r>
              <a:rPr lang="en-US"/>
              <a:t>Click icon to add picture</a:t>
            </a:r>
          </a:p>
        </p:txBody>
      </p:sp>
    </p:spTree>
    <p:extLst>
      <p:ext uri="{BB962C8B-B14F-4D97-AF65-F5344CB8AC3E}">
        <p14:creationId xmlns:p14="http://schemas.microsoft.com/office/powerpoint/2010/main" val="41904909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6" Type="http://schemas.openxmlformats.org/officeDocument/2006/relationships/image" Target="../media/image11.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3.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1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heme" Target="../theme/theme4.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theme" Target="../theme/theme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0"/>
            <a:ext cx="9144000" cy="1172308"/>
          </a:xfrm>
          <a:prstGeom prst="rect">
            <a:avLst/>
          </a:prstGeom>
          <a:gradFill flip="none" rotWithShape="1">
            <a:gsLst>
              <a:gs pos="40000">
                <a:srgbClr val="FA0007"/>
              </a:gs>
              <a:gs pos="100000">
                <a:srgbClr val="761706"/>
              </a:gs>
            </a:gsLst>
            <a:lin ang="189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156308" y="149795"/>
            <a:ext cx="8824871" cy="108112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4634" y="202995"/>
            <a:ext cx="8282640" cy="506900"/>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431147" y="1600200"/>
            <a:ext cx="8276127" cy="47069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448991" y="6441019"/>
            <a:ext cx="1581319" cy="365125"/>
          </a:xfrm>
          <a:prstGeom prst="rect">
            <a:avLst/>
          </a:prstGeom>
        </p:spPr>
        <p:txBody>
          <a:bodyPr vert="horz" lIns="91440" tIns="45720" rIns="91440" bIns="45720" rtlCol="0" anchor="ctr"/>
          <a:lstStyle>
            <a:lvl1pPr algn="l">
              <a:defRPr sz="1000" b="0" i="0">
                <a:solidFill>
                  <a:schemeClr val="tx1"/>
                </a:solidFill>
                <a:latin typeface="Gill Sans Infant Std"/>
                <a:cs typeface="Gill Sans Infant Std"/>
              </a:defRPr>
            </a:lvl1pPr>
          </a:lstStyle>
          <a:p>
            <a:r>
              <a:rPr lang="en-US"/>
              <a:t>26 April 2016</a:t>
            </a:r>
          </a:p>
        </p:txBody>
      </p:sp>
      <p:sp>
        <p:nvSpPr>
          <p:cNvPr id="5" name="Footer Placeholder 4"/>
          <p:cNvSpPr>
            <a:spLocks noGrp="1"/>
          </p:cNvSpPr>
          <p:nvPr>
            <p:ph type="ftr" sz="quarter" idx="3"/>
          </p:nvPr>
        </p:nvSpPr>
        <p:spPr>
          <a:xfrm>
            <a:off x="2525022" y="6441019"/>
            <a:ext cx="3824978" cy="365125"/>
          </a:xfrm>
          <a:prstGeom prst="rect">
            <a:avLst/>
          </a:prstGeom>
        </p:spPr>
        <p:txBody>
          <a:bodyPr vert="horz" lIns="91440" tIns="45720" rIns="91440" bIns="45720" rtlCol="0" anchor="ctr"/>
          <a:lstStyle>
            <a:lvl1pPr algn="l">
              <a:defRPr sz="1000" b="0" i="0">
                <a:solidFill>
                  <a:schemeClr val="tx1"/>
                </a:solidFill>
                <a:latin typeface="Gill Sans Infant Std"/>
                <a:cs typeface="Gill Sans Infant Std"/>
              </a:defRPr>
            </a:lvl1pPr>
          </a:lstStyle>
          <a:p>
            <a:r>
              <a:rPr lang="en-US"/>
              <a:t>Amend presentation name in Footer and Apply to All</a:t>
            </a:r>
          </a:p>
        </p:txBody>
      </p:sp>
      <p:sp>
        <p:nvSpPr>
          <p:cNvPr id="6" name="Slide Number Placeholder 5"/>
          <p:cNvSpPr>
            <a:spLocks noGrp="1"/>
          </p:cNvSpPr>
          <p:nvPr>
            <p:ph type="sldNum" sz="quarter" idx="4"/>
          </p:nvPr>
        </p:nvSpPr>
        <p:spPr>
          <a:xfrm>
            <a:off x="8030310" y="6441019"/>
            <a:ext cx="773723" cy="365125"/>
          </a:xfrm>
          <a:prstGeom prst="rect">
            <a:avLst/>
          </a:prstGeom>
        </p:spPr>
        <p:txBody>
          <a:bodyPr vert="horz" lIns="91440" tIns="45720" rIns="91440" bIns="45720" rtlCol="0" anchor="ctr"/>
          <a:lstStyle>
            <a:lvl1pPr algn="r">
              <a:defRPr sz="1000" b="0" i="0">
                <a:solidFill>
                  <a:schemeClr val="tx1"/>
                </a:solidFill>
                <a:latin typeface="Gill Sans Infant Std"/>
                <a:cs typeface="Gill Sans Infant Std"/>
              </a:defRPr>
            </a:lvl1pPr>
          </a:lstStyle>
          <a:p>
            <a:fld id="{C3FDE51E-0052-334C-A4B2-C567FE9F326F}" type="slidenum">
              <a:rPr lang="en-US" smtClean="0"/>
              <a:pPr/>
              <a:t>‹#›</a:t>
            </a:fld>
            <a:endParaRPr lang="en-US"/>
          </a:p>
        </p:txBody>
      </p:sp>
      <p:pic>
        <p:nvPicPr>
          <p:cNvPr id="11" name="Picture 10" descr="Save_the_Children_logo.png"/>
          <p:cNvPicPr>
            <a:picLocks noChangeAspect="1"/>
          </p:cNvPicPr>
          <p:nvPr/>
        </p:nvPicPr>
        <p:blipFill>
          <a:blip r:embed="rId39" cstate="print">
            <a:extLst>
              <a:ext uri="{28A0092B-C50C-407E-A947-70E740481C1C}">
                <a14:useLocalDpi xmlns:a14="http://schemas.microsoft.com/office/drawing/2010/main"/>
              </a:ext>
            </a:extLst>
          </a:blip>
          <a:stretch>
            <a:fillRect/>
          </a:stretch>
        </p:blipFill>
        <p:spPr>
          <a:xfrm>
            <a:off x="437660" y="6425702"/>
            <a:ext cx="1861366" cy="380442"/>
          </a:xfrm>
          <a:prstGeom prst="rect">
            <a:avLst/>
          </a:prstGeom>
        </p:spPr>
      </p:pic>
      <p:cxnSp>
        <p:nvCxnSpPr>
          <p:cNvPr id="13" name="Straight Connector 12"/>
          <p:cNvCxnSpPr/>
          <p:nvPr/>
        </p:nvCxnSpPr>
        <p:spPr>
          <a:xfrm flipH="1">
            <a:off x="2466405"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flipH="1">
            <a:off x="6390374" y="6432215"/>
            <a:ext cx="6513" cy="36512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9" name="Picture 8" descr="Underscore_line.png"/>
          <p:cNvPicPr>
            <a:picLocks noChangeAspect="1"/>
          </p:cNvPicPr>
          <p:nvPr/>
        </p:nvPicPr>
        <p:blipFill>
          <a:blip r:embed="rId40" cstate="print">
            <a:extLst>
              <a:ext uri="{28A0092B-C50C-407E-A947-70E740481C1C}">
                <a14:useLocalDpi xmlns:a14="http://schemas.microsoft.com/office/drawing/2010/main"/>
              </a:ext>
            </a:extLst>
          </a:blip>
          <a:stretch>
            <a:fillRect/>
          </a:stretch>
        </p:blipFill>
        <p:spPr>
          <a:xfrm>
            <a:off x="424636" y="1124217"/>
            <a:ext cx="8305800" cy="57912"/>
          </a:xfrm>
          <a:prstGeom prst="rect">
            <a:avLst/>
          </a:prstGeom>
        </p:spPr>
      </p:pic>
    </p:spTree>
    <p:extLst>
      <p:ext uri="{BB962C8B-B14F-4D97-AF65-F5344CB8AC3E}">
        <p14:creationId xmlns:p14="http://schemas.microsoft.com/office/powerpoint/2010/main" val="293077126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49" r:id="rId16"/>
    <p:sldLayoutId id="2147483651" r:id="rId17"/>
    <p:sldLayoutId id="2147483660" r:id="rId18"/>
    <p:sldLayoutId id="2147483662" r:id="rId19"/>
    <p:sldLayoutId id="2147483663" r:id="rId20"/>
    <p:sldLayoutId id="2147483655" r:id="rId21"/>
    <p:sldLayoutId id="2147483669" r:id="rId22"/>
    <p:sldLayoutId id="2147483670" r:id="rId23"/>
    <p:sldLayoutId id="2147483671" r:id="rId24"/>
    <p:sldLayoutId id="2147483672" r:id="rId25"/>
    <p:sldLayoutId id="2147483667" r:id="rId26"/>
    <p:sldLayoutId id="2147483673" r:id="rId27"/>
    <p:sldLayoutId id="2147483674" r:id="rId28"/>
    <p:sldLayoutId id="2147483675" r:id="rId29"/>
    <p:sldLayoutId id="2147483676" r:id="rId30"/>
    <p:sldLayoutId id="2147483679" r:id="rId31"/>
    <p:sldLayoutId id="2147483699" r:id="rId32"/>
    <p:sldLayoutId id="2147483700" r:id="rId33"/>
    <p:sldLayoutId id="2147483717" r:id="rId34"/>
    <p:sldLayoutId id="2147483749" r:id="rId35"/>
    <p:sldLayoutId id="2147483750" r:id="rId36"/>
    <p:sldLayoutId id="2147483751" r:id="rId37"/>
  </p:sldLayoutIdLst>
  <p:hf hdr="0"/>
  <p:txStyles>
    <p:title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p:titleStyle>
    <p:bodyStyle>
      <a:lvl1pPr marL="0" indent="0" algn="l" defTabSz="457200" rtl="0" eaLnBrk="1" latinLnBrk="0" hangingPunct="1">
        <a:spcBef>
          <a:spcPts val="0"/>
        </a:spcBef>
        <a:spcAft>
          <a:spcPts val="600"/>
        </a:spcAft>
        <a:buFont typeface="Arial"/>
        <a:buNone/>
        <a:defRPr sz="1800" b="1" i="0" kern="1200">
          <a:solidFill>
            <a:schemeClr val="tx2"/>
          </a:solidFill>
          <a:latin typeface="Gill Sans Infant Std"/>
          <a:ea typeface="+mn-ea"/>
          <a:cs typeface="Gill Sans Infant Std"/>
        </a:defRPr>
      </a:lvl1pPr>
      <a:lvl2pPr marL="0" indent="0" algn="l" defTabSz="457200" rtl="0" eaLnBrk="1" latinLnBrk="0" hangingPunct="1">
        <a:spcBef>
          <a:spcPts val="0"/>
        </a:spcBef>
        <a:spcAft>
          <a:spcPts val="600"/>
        </a:spcAft>
        <a:buFont typeface="Arial"/>
        <a:buNone/>
        <a:defRPr sz="1500" b="0" i="0" kern="1200">
          <a:solidFill>
            <a:schemeClr val="tx1"/>
          </a:solidFill>
          <a:latin typeface="Gill Sans Infant Std"/>
          <a:ea typeface="+mn-ea"/>
          <a:cs typeface="Gill Sans Infant Std"/>
        </a:defRPr>
      </a:lvl2pPr>
      <a:lvl3pPr marL="266700" indent="-266700" algn="l" defTabSz="457200" rtl="0" eaLnBrk="1" latinLnBrk="0" hangingPunct="1">
        <a:spcBef>
          <a:spcPts val="0"/>
        </a:spcBef>
        <a:spcAft>
          <a:spcPts val="600"/>
        </a:spcAft>
        <a:buClr>
          <a:schemeClr val="tx2"/>
        </a:buClr>
        <a:buFont typeface="Arial"/>
        <a:buChar char="•"/>
        <a:defRPr sz="1400" b="0" i="0" kern="1200">
          <a:solidFill>
            <a:schemeClr val="tx1"/>
          </a:solidFill>
          <a:latin typeface="Gill Sans Infant Std"/>
          <a:ea typeface="+mn-ea"/>
          <a:cs typeface="Gill Sans Infant Std"/>
        </a:defRPr>
      </a:lvl3pPr>
      <a:lvl4pPr marL="541338" indent="-274638" algn="l" defTabSz="457200" rtl="0" eaLnBrk="1" latinLnBrk="0" hangingPunct="1">
        <a:spcBef>
          <a:spcPts val="0"/>
        </a:spcBef>
        <a:spcAft>
          <a:spcPts val="600"/>
        </a:spcAft>
        <a:buFont typeface="Arial"/>
        <a:buChar char="–"/>
        <a:defRPr sz="1300" b="0" i="0" kern="1200">
          <a:solidFill>
            <a:schemeClr val="tx1"/>
          </a:solidFill>
          <a:latin typeface="Gill Sans Infant Std"/>
          <a:ea typeface="+mn-ea"/>
          <a:cs typeface="Gill Sans Infant Std"/>
        </a:defRPr>
      </a:lvl4pPr>
      <a:lvl5pPr marL="808038" indent="-266700" algn="l" defTabSz="457200" rtl="0" eaLnBrk="1" latinLnBrk="0" hangingPunct="1">
        <a:spcBef>
          <a:spcPts val="0"/>
        </a:spcBef>
        <a:spcAft>
          <a:spcPts val="600"/>
        </a:spcAft>
        <a:buClr>
          <a:schemeClr val="tx2"/>
        </a:buClr>
        <a:buFont typeface="Arial"/>
        <a:buChar char="•"/>
        <a:defRPr sz="1200" b="0" i="0" kern="1200">
          <a:solidFill>
            <a:schemeClr val="tx1"/>
          </a:solidFill>
          <a:latin typeface="Gill Sans Infant Std"/>
          <a:ea typeface="+mn-ea"/>
          <a:cs typeface="Gill Sans Infan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7">
            <a:extLst>
              <a:ext uri="{FF2B5EF4-FFF2-40B4-BE49-F238E27FC236}">
                <a16:creationId xmlns:a16="http://schemas.microsoft.com/office/drawing/2014/main" id="{83244D4F-D7C7-49D4-9AD0-2C4450CBA74E}"/>
              </a:ext>
            </a:extLst>
          </p:cNvPr>
          <p:cNvSpPr>
            <a:spLocks noChangeArrowheads="1"/>
          </p:cNvSpPr>
          <p:nvPr/>
        </p:nvSpPr>
        <p:spPr bwMode="auto">
          <a:xfrm>
            <a:off x="0" y="1"/>
            <a:ext cx="9144000" cy="907676"/>
          </a:xfrm>
          <a:prstGeom prst="rect">
            <a:avLst/>
          </a:prstGeom>
          <a:solidFill>
            <a:srgbClr val="ED1C24"/>
          </a:solidFill>
          <a:ln>
            <a:noFill/>
          </a:ln>
          <a:effec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auto" hangingPunct="1">
              <a:spcBef>
                <a:spcPts val="0"/>
              </a:spcBef>
              <a:spcAft>
                <a:spcPts val="0"/>
              </a:spcAft>
              <a:defRPr/>
            </a:pPr>
            <a:endParaRPr lang="en-US" altLang="en-US" sz="1799">
              <a:solidFill>
                <a:srgbClr val="000000"/>
              </a:solidFill>
            </a:endParaRPr>
          </a:p>
        </p:txBody>
      </p:sp>
      <p:sp>
        <p:nvSpPr>
          <p:cNvPr id="3075" name="Rectangle 2">
            <a:extLst>
              <a:ext uri="{FF2B5EF4-FFF2-40B4-BE49-F238E27FC236}">
                <a16:creationId xmlns:a16="http://schemas.microsoft.com/office/drawing/2014/main" id="{030061DF-6E8D-41EA-B682-8245A231AF4C}"/>
              </a:ext>
            </a:extLst>
          </p:cNvPr>
          <p:cNvSpPr>
            <a:spLocks noGrp="1" noChangeArrowheads="1"/>
          </p:cNvSpPr>
          <p:nvPr>
            <p:ph type="title"/>
          </p:nvPr>
        </p:nvSpPr>
        <p:spPr bwMode="auto">
          <a:xfrm>
            <a:off x="468759" y="260384"/>
            <a:ext cx="8206483" cy="575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en-US"/>
              <a:t>Klicka här för att ändra format</a:t>
            </a:r>
            <a:endParaRPr lang="en-GB" altLang="en-US"/>
          </a:p>
        </p:txBody>
      </p:sp>
      <p:sp>
        <p:nvSpPr>
          <p:cNvPr id="1028" name="Rectangle 4">
            <a:extLst>
              <a:ext uri="{FF2B5EF4-FFF2-40B4-BE49-F238E27FC236}">
                <a16:creationId xmlns:a16="http://schemas.microsoft.com/office/drawing/2014/main" id="{82081DA3-974A-4862-985A-B29FAE2040BD}"/>
              </a:ext>
            </a:extLst>
          </p:cNvPr>
          <p:cNvSpPr>
            <a:spLocks noGrp="1" noChangeArrowheads="1"/>
          </p:cNvSpPr>
          <p:nvPr>
            <p:ph type="dt" sz="half" idx="2"/>
          </p:nvPr>
        </p:nvSpPr>
        <p:spPr bwMode="auto">
          <a:xfrm>
            <a:off x="456834" y="6245548"/>
            <a:ext cx="2133722" cy="475843"/>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fontAlgn="auto" hangingPunct="1">
              <a:spcBef>
                <a:spcPts val="0"/>
              </a:spcBef>
              <a:spcAft>
                <a:spcPts val="0"/>
              </a:spcAft>
              <a:defRPr sz="1399">
                <a:solidFill>
                  <a:srgbClr val="000000"/>
                </a:solidFill>
                <a:latin typeface="Arial" charset="0"/>
                <a:cs typeface="Arial" charset="0"/>
              </a:defRPr>
            </a:lvl1pPr>
          </a:lstStyle>
          <a:p>
            <a:pPr>
              <a:defRPr/>
            </a:pPr>
            <a:endParaRPr lang="en-GB"/>
          </a:p>
        </p:txBody>
      </p:sp>
      <p:sp>
        <p:nvSpPr>
          <p:cNvPr id="1029" name="Rectangle 5">
            <a:extLst>
              <a:ext uri="{FF2B5EF4-FFF2-40B4-BE49-F238E27FC236}">
                <a16:creationId xmlns:a16="http://schemas.microsoft.com/office/drawing/2014/main" id="{F86152A3-5B97-4E86-AB7D-84828118F973}"/>
              </a:ext>
            </a:extLst>
          </p:cNvPr>
          <p:cNvSpPr>
            <a:spLocks noGrp="1" noChangeArrowheads="1"/>
          </p:cNvSpPr>
          <p:nvPr>
            <p:ph type="ftr" sz="quarter" idx="3"/>
          </p:nvPr>
        </p:nvSpPr>
        <p:spPr bwMode="auto">
          <a:xfrm>
            <a:off x="3124445" y="6245548"/>
            <a:ext cx="2895111" cy="475843"/>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fontAlgn="auto" hangingPunct="1">
              <a:spcBef>
                <a:spcPts val="0"/>
              </a:spcBef>
              <a:spcAft>
                <a:spcPts val="0"/>
              </a:spcAft>
              <a:defRPr sz="1399">
                <a:solidFill>
                  <a:srgbClr val="000000"/>
                </a:solidFill>
                <a:latin typeface="Arial" charset="0"/>
                <a:cs typeface="Arial" charset="0"/>
              </a:defRPr>
            </a:lvl1pPr>
          </a:lstStyle>
          <a:p>
            <a:pPr>
              <a:defRPr/>
            </a:pPr>
            <a:endParaRPr lang="en-GB"/>
          </a:p>
        </p:txBody>
      </p:sp>
      <p:sp>
        <p:nvSpPr>
          <p:cNvPr id="1030" name="Rectangle 6">
            <a:extLst>
              <a:ext uri="{FF2B5EF4-FFF2-40B4-BE49-F238E27FC236}">
                <a16:creationId xmlns:a16="http://schemas.microsoft.com/office/drawing/2014/main" id="{137046E2-B0FF-47CF-A4A0-FD3CB64B0669}"/>
              </a:ext>
            </a:extLst>
          </p:cNvPr>
          <p:cNvSpPr>
            <a:spLocks noGrp="1" noChangeArrowheads="1"/>
          </p:cNvSpPr>
          <p:nvPr>
            <p:ph type="sldNum" sz="quarter" idx="4"/>
          </p:nvPr>
        </p:nvSpPr>
        <p:spPr bwMode="auto">
          <a:xfrm>
            <a:off x="6553445" y="6245548"/>
            <a:ext cx="2133722" cy="475843"/>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386">
                <a:solidFill>
                  <a:srgbClr val="000000"/>
                </a:solidFill>
              </a:defRPr>
            </a:lvl1pPr>
          </a:lstStyle>
          <a:p>
            <a:fld id="{70B143DC-DD6F-44BD-B14D-EA5A5FE5CF7D}" type="slidenum">
              <a:rPr lang="en-GB" altLang="sv-SE"/>
              <a:pPr/>
              <a:t>‹#›</a:t>
            </a:fld>
            <a:endParaRPr lang="en-GB" altLang="sv-SE"/>
          </a:p>
        </p:txBody>
      </p:sp>
      <p:sp>
        <p:nvSpPr>
          <p:cNvPr id="4103" name="Line 8">
            <a:extLst>
              <a:ext uri="{FF2B5EF4-FFF2-40B4-BE49-F238E27FC236}">
                <a16:creationId xmlns:a16="http://schemas.microsoft.com/office/drawing/2014/main" id="{0DF905FA-A111-41F2-8A75-261253D77058}"/>
              </a:ext>
            </a:extLst>
          </p:cNvPr>
          <p:cNvSpPr>
            <a:spLocks noChangeShapeType="1"/>
          </p:cNvSpPr>
          <p:nvPr/>
        </p:nvSpPr>
        <p:spPr bwMode="auto">
          <a:xfrm>
            <a:off x="0" y="5805462"/>
            <a:ext cx="9144000" cy="0"/>
          </a:xfrm>
          <a:prstGeom prst="line">
            <a:avLst/>
          </a:prstGeom>
          <a:noFill/>
          <a:ln w="25400">
            <a:solidFill>
              <a:srgbClr val="ED1C24"/>
            </a:solidFill>
            <a:round/>
            <a:headEnd/>
            <a:tailEnd/>
          </a:ln>
          <a:effectLst/>
        </p:spPr>
        <p:txBody>
          <a:bodyPr/>
          <a:lstStyle/>
          <a:p>
            <a:pPr eaLnBrk="1" fontAlgn="auto" hangingPunct="1">
              <a:spcBef>
                <a:spcPts val="0"/>
              </a:spcBef>
              <a:spcAft>
                <a:spcPts val="0"/>
              </a:spcAft>
              <a:defRPr/>
            </a:pPr>
            <a:endParaRPr lang="sv-SE" sz="1799">
              <a:latin typeface="Arial" charset="0"/>
              <a:cs typeface="Arial" charset="0"/>
            </a:endParaRPr>
          </a:p>
        </p:txBody>
      </p:sp>
      <p:pic>
        <p:nvPicPr>
          <p:cNvPr id="3080" name="Picture 11" descr="save_the_children_colour">
            <a:extLst>
              <a:ext uri="{FF2B5EF4-FFF2-40B4-BE49-F238E27FC236}">
                <a16:creationId xmlns:a16="http://schemas.microsoft.com/office/drawing/2014/main" id="{47DD59B7-775C-45DD-B896-DCE9B43334F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551714" y="5950324"/>
            <a:ext cx="3123528" cy="62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1" name="Rectangle 3">
            <a:extLst>
              <a:ext uri="{FF2B5EF4-FFF2-40B4-BE49-F238E27FC236}">
                <a16:creationId xmlns:a16="http://schemas.microsoft.com/office/drawing/2014/main" id="{8EB2B499-AE0D-42DB-AFBB-D83ACE47DBB1}"/>
              </a:ext>
            </a:extLst>
          </p:cNvPr>
          <p:cNvSpPr>
            <a:spLocks noGrp="1" noChangeArrowheads="1"/>
          </p:cNvSpPr>
          <p:nvPr>
            <p:ph type="body" idx="1"/>
          </p:nvPr>
        </p:nvSpPr>
        <p:spPr bwMode="auto">
          <a:xfrm>
            <a:off x="468759" y="1052538"/>
            <a:ext cx="8229416" cy="4525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v-SE" altLang="en-US"/>
              <a:t>Klicka här för att ändra format på bakgrundstexten</a:t>
            </a:r>
          </a:p>
          <a:p>
            <a:pPr lvl="1"/>
            <a:r>
              <a:rPr lang="sv-SE" altLang="en-US"/>
              <a:t>Nivå två</a:t>
            </a:r>
          </a:p>
          <a:p>
            <a:pPr lvl="2"/>
            <a:r>
              <a:rPr lang="sv-SE" altLang="en-US"/>
              <a:t>Nivå tre</a:t>
            </a:r>
          </a:p>
          <a:p>
            <a:pPr lvl="3"/>
            <a:r>
              <a:rPr lang="sv-SE" altLang="en-US"/>
              <a:t>Nivå fyra</a:t>
            </a:r>
          </a:p>
          <a:p>
            <a:pPr lvl="4"/>
            <a:r>
              <a:rPr lang="sv-SE" altLang="en-US"/>
              <a:t>Nivå fem</a:t>
            </a:r>
            <a:endParaRPr lang="en-US" altLang="en-US"/>
          </a:p>
        </p:txBody>
      </p:sp>
    </p:spTree>
    <p:extLst>
      <p:ext uri="{BB962C8B-B14F-4D97-AF65-F5344CB8AC3E}">
        <p14:creationId xmlns:p14="http://schemas.microsoft.com/office/powerpoint/2010/main" val="3749142936"/>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Lst>
  <p:transition spd="med">
    <p:wipe dir="r"/>
  </p:transition>
  <p:txStyles>
    <p:titleStyle>
      <a:lvl1pPr algn="l" rtl="0" fontAlgn="base">
        <a:spcBef>
          <a:spcPct val="0"/>
        </a:spcBef>
        <a:spcAft>
          <a:spcPct val="0"/>
        </a:spcAft>
        <a:defRPr sz="3176">
          <a:solidFill>
            <a:schemeClr val="bg1"/>
          </a:solidFill>
          <a:latin typeface="+mj-lt"/>
          <a:ea typeface="+mj-ea"/>
          <a:cs typeface="+mj-cs"/>
        </a:defRPr>
      </a:lvl1pPr>
      <a:lvl2pPr algn="l" rtl="0" fontAlgn="base">
        <a:spcBef>
          <a:spcPct val="0"/>
        </a:spcBef>
        <a:spcAft>
          <a:spcPct val="0"/>
        </a:spcAft>
        <a:defRPr sz="3176">
          <a:solidFill>
            <a:schemeClr val="bg1"/>
          </a:solidFill>
          <a:latin typeface="Gill Sans MT" pitchFamily="34" charset="0"/>
          <a:cs typeface="Arial" charset="0"/>
        </a:defRPr>
      </a:lvl2pPr>
      <a:lvl3pPr algn="l" rtl="0" fontAlgn="base">
        <a:spcBef>
          <a:spcPct val="0"/>
        </a:spcBef>
        <a:spcAft>
          <a:spcPct val="0"/>
        </a:spcAft>
        <a:defRPr sz="3176">
          <a:solidFill>
            <a:schemeClr val="bg1"/>
          </a:solidFill>
          <a:latin typeface="Gill Sans MT" pitchFamily="34" charset="0"/>
          <a:cs typeface="Arial" charset="0"/>
        </a:defRPr>
      </a:lvl3pPr>
      <a:lvl4pPr algn="l" rtl="0" fontAlgn="base">
        <a:spcBef>
          <a:spcPct val="0"/>
        </a:spcBef>
        <a:spcAft>
          <a:spcPct val="0"/>
        </a:spcAft>
        <a:defRPr sz="3176">
          <a:solidFill>
            <a:schemeClr val="bg1"/>
          </a:solidFill>
          <a:latin typeface="Gill Sans MT" pitchFamily="34" charset="0"/>
          <a:cs typeface="Arial" charset="0"/>
        </a:defRPr>
      </a:lvl4pPr>
      <a:lvl5pPr algn="l" rtl="0" fontAlgn="base">
        <a:spcBef>
          <a:spcPct val="0"/>
        </a:spcBef>
        <a:spcAft>
          <a:spcPct val="0"/>
        </a:spcAft>
        <a:defRPr sz="3176">
          <a:solidFill>
            <a:schemeClr val="bg1"/>
          </a:solidFill>
          <a:latin typeface="Gill Sans MT" pitchFamily="34" charset="0"/>
          <a:cs typeface="Arial" charset="0"/>
        </a:defRPr>
      </a:lvl5pPr>
      <a:lvl6pPr marL="456935" algn="l" rtl="0" eaLnBrk="1" fontAlgn="base" hangingPunct="1">
        <a:spcBef>
          <a:spcPct val="0"/>
        </a:spcBef>
        <a:spcAft>
          <a:spcPct val="0"/>
        </a:spcAft>
        <a:defRPr sz="3198">
          <a:solidFill>
            <a:schemeClr val="bg1"/>
          </a:solidFill>
          <a:latin typeface="Gill Sans MT" pitchFamily="34" charset="0"/>
          <a:cs typeface="Arial" charset="0"/>
        </a:defRPr>
      </a:lvl6pPr>
      <a:lvl7pPr marL="913871" algn="l" rtl="0" eaLnBrk="1" fontAlgn="base" hangingPunct="1">
        <a:spcBef>
          <a:spcPct val="0"/>
        </a:spcBef>
        <a:spcAft>
          <a:spcPct val="0"/>
        </a:spcAft>
        <a:defRPr sz="3198">
          <a:solidFill>
            <a:schemeClr val="bg1"/>
          </a:solidFill>
          <a:latin typeface="Gill Sans MT" pitchFamily="34" charset="0"/>
          <a:cs typeface="Arial" charset="0"/>
        </a:defRPr>
      </a:lvl7pPr>
      <a:lvl8pPr marL="1370807" algn="l" rtl="0" eaLnBrk="1" fontAlgn="base" hangingPunct="1">
        <a:spcBef>
          <a:spcPct val="0"/>
        </a:spcBef>
        <a:spcAft>
          <a:spcPct val="0"/>
        </a:spcAft>
        <a:defRPr sz="3198">
          <a:solidFill>
            <a:schemeClr val="bg1"/>
          </a:solidFill>
          <a:latin typeface="Gill Sans MT" pitchFamily="34" charset="0"/>
          <a:cs typeface="Arial" charset="0"/>
        </a:defRPr>
      </a:lvl8pPr>
      <a:lvl9pPr marL="1827742" algn="l" rtl="0" eaLnBrk="1" fontAlgn="base" hangingPunct="1">
        <a:spcBef>
          <a:spcPct val="0"/>
        </a:spcBef>
        <a:spcAft>
          <a:spcPct val="0"/>
        </a:spcAft>
        <a:defRPr sz="3198">
          <a:solidFill>
            <a:schemeClr val="bg1"/>
          </a:solidFill>
          <a:latin typeface="Gill Sans MT" pitchFamily="34" charset="0"/>
          <a:cs typeface="Arial" charset="0"/>
        </a:defRPr>
      </a:lvl9pPr>
    </p:titleStyle>
    <p:bodyStyle>
      <a:lvl1pPr marL="341960" indent="-341960" algn="l" rtl="0" fontAlgn="base">
        <a:spcBef>
          <a:spcPct val="20000"/>
        </a:spcBef>
        <a:spcAft>
          <a:spcPct val="0"/>
        </a:spcAft>
        <a:buClr>
          <a:srgbClr val="ED1C24"/>
        </a:buClr>
        <a:buChar char="•"/>
        <a:defRPr sz="3176">
          <a:solidFill>
            <a:schemeClr val="tx1"/>
          </a:solidFill>
          <a:latin typeface="+mn-lt"/>
          <a:ea typeface="+mn-ea"/>
          <a:cs typeface="+mn-cs"/>
        </a:defRPr>
      </a:lvl1pPr>
      <a:lvl2pPr marL="741676" indent="-285119" algn="l" rtl="0" fontAlgn="base">
        <a:spcBef>
          <a:spcPct val="20000"/>
        </a:spcBef>
        <a:spcAft>
          <a:spcPct val="0"/>
        </a:spcAft>
        <a:buClr>
          <a:srgbClr val="ED1C24"/>
        </a:buClr>
        <a:buFont typeface="Gill Sans MT" panose="020B0502020104020203" pitchFamily="34" charset="0"/>
        <a:buChar char="–"/>
        <a:defRPr sz="2772">
          <a:solidFill>
            <a:schemeClr val="tx1"/>
          </a:solidFill>
          <a:latin typeface="+mn-lt"/>
          <a:cs typeface="+mn-cs"/>
        </a:defRPr>
      </a:lvl2pPr>
      <a:lvl3pPr marL="1142309" indent="-228279" algn="l" rtl="0" fontAlgn="base">
        <a:spcBef>
          <a:spcPct val="20000"/>
        </a:spcBef>
        <a:spcAft>
          <a:spcPct val="0"/>
        </a:spcAft>
        <a:buClr>
          <a:srgbClr val="ED1C24"/>
        </a:buClr>
        <a:buChar char="•"/>
        <a:defRPr sz="2368">
          <a:solidFill>
            <a:schemeClr val="tx1"/>
          </a:solidFill>
          <a:latin typeface="+mn-lt"/>
          <a:cs typeface="+mn-cs"/>
        </a:defRPr>
      </a:lvl3pPr>
      <a:lvl4pPr marL="1598867" indent="-228279" algn="l" rtl="0" fontAlgn="base">
        <a:spcBef>
          <a:spcPct val="20000"/>
        </a:spcBef>
        <a:spcAft>
          <a:spcPct val="0"/>
        </a:spcAft>
        <a:buClr>
          <a:srgbClr val="ED1C24"/>
        </a:buClr>
        <a:buFont typeface="Gill Sans MT" panose="020B0502020104020203" pitchFamily="34" charset="0"/>
        <a:buChar char="–"/>
        <a:defRPr sz="1964">
          <a:solidFill>
            <a:schemeClr val="tx1"/>
          </a:solidFill>
          <a:latin typeface="+mn-lt"/>
          <a:cs typeface="+mn-cs"/>
        </a:defRPr>
      </a:lvl4pPr>
      <a:lvl5pPr marL="2055424" indent="-228279" algn="l" rtl="0" fontAlgn="base">
        <a:spcBef>
          <a:spcPct val="20000"/>
        </a:spcBef>
        <a:spcAft>
          <a:spcPct val="0"/>
        </a:spcAft>
        <a:buClr>
          <a:srgbClr val="ED1C24"/>
        </a:buClr>
        <a:buFont typeface="Gill Sans MT" panose="020B0502020104020203" pitchFamily="34" charset="0"/>
        <a:buChar char="»"/>
        <a:defRPr sz="1964">
          <a:solidFill>
            <a:schemeClr val="tx1"/>
          </a:solidFill>
          <a:latin typeface="+mn-lt"/>
          <a:cs typeface="+mn-cs"/>
        </a:defRPr>
      </a:lvl5pPr>
      <a:lvl6pPr marL="2513145" indent="-228468" algn="l" rtl="0" eaLnBrk="1" fontAlgn="base" hangingPunct="1">
        <a:spcBef>
          <a:spcPct val="20000"/>
        </a:spcBef>
        <a:spcAft>
          <a:spcPct val="0"/>
        </a:spcAft>
        <a:buClr>
          <a:srgbClr val="ED1C24"/>
        </a:buClr>
        <a:buFont typeface="Gill Sans MT" pitchFamily="34" charset="0"/>
        <a:buChar char="»"/>
        <a:defRPr sz="1999">
          <a:solidFill>
            <a:schemeClr val="tx1"/>
          </a:solidFill>
          <a:latin typeface="+mn-lt"/>
          <a:cs typeface="+mn-cs"/>
        </a:defRPr>
      </a:lvl6pPr>
      <a:lvl7pPr marL="2970081" indent="-228468" algn="l" rtl="0" eaLnBrk="1" fontAlgn="base" hangingPunct="1">
        <a:spcBef>
          <a:spcPct val="20000"/>
        </a:spcBef>
        <a:spcAft>
          <a:spcPct val="0"/>
        </a:spcAft>
        <a:buClr>
          <a:srgbClr val="ED1C24"/>
        </a:buClr>
        <a:buFont typeface="Gill Sans MT" pitchFamily="34" charset="0"/>
        <a:buChar char="»"/>
        <a:defRPr sz="1999">
          <a:solidFill>
            <a:schemeClr val="tx1"/>
          </a:solidFill>
          <a:latin typeface="+mn-lt"/>
          <a:cs typeface="+mn-cs"/>
        </a:defRPr>
      </a:lvl7pPr>
      <a:lvl8pPr marL="3427016" indent="-228468" algn="l" rtl="0" eaLnBrk="1" fontAlgn="base" hangingPunct="1">
        <a:spcBef>
          <a:spcPct val="20000"/>
        </a:spcBef>
        <a:spcAft>
          <a:spcPct val="0"/>
        </a:spcAft>
        <a:buClr>
          <a:srgbClr val="ED1C24"/>
        </a:buClr>
        <a:buFont typeface="Gill Sans MT" pitchFamily="34" charset="0"/>
        <a:buChar char="»"/>
        <a:defRPr sz="1999">
          <a:solidFill>
            <a:schemeClr val="tx1"/>
          </a:solidFill>
          <a:latin typeface="+mn-lt"/>
          <a:cs typeface="+mn-cs"/>
        </a:defRPr>
      </a:lvl8pPr>
      <a:lvl9pPr marL="3883952" indent="-228468" algn="l" rtl="0" eaLnBrk="1" fontAlgn="base" hangingPunct="1">
        <a:spcBef>
          <a:spcPct val="20000"/>
        </a:spcBef>
        <a:spcAft>
          <a:spcPct val="0"/>
        </a:spcAft>
        <a:buClr>
          <a:srgbClr val="ED1C24"/>
        </a:buClr>
        <a:buFont typeface="Gill Sans MT" pitchFamily="34" charset="0"/>
        <a:buChar char="»"/>
        <a:defRPr sz="1999">
          <a:solidFill>
            <a:schemeClr val="tx1"/>
          </a:solidFill>
          <a:latin typeface="+mn-lt"/>
          <a:cs typeface="+mn-cs"/>
        </a:defRPr>
      </a:lvl9pPr>
    </p:bodyStyle>
    <p:otherStyle>
      <a:defPPr>
        <a:defRPr lang="en-US"/>
      </a:defPPr>
      <a:lvl1pPr marL="0" algn="l" defTabSz="913871" rtl="0" eaLnBrk="1" latinLnBrk="0" hangingPunct="1">
        <a:defRPr sz="1799" kern="1200">
          <a:solidFill>
            <a:schemeClr val="tx1"/>
          </a:solidFill>
          <a:latin typeface="+mn-lt"/>
          <a:ea typeface="+mn-ea"/>
          <a:cs typeface="+mn-cs"/>
        </a:defRPr>
      </a:lvl1pPr>
      <a:lvl2pPr marL="456935" algn="l" defTabSz="913871" rtl="0" eaLnBrk="1" latinLnBrk="0" hangingPunct="1">
        <a:defRPr sz="1799" kern="1200">
          <a:solidFill>
            <a:schemeClr val="tx1"/>
          </a:solidFill>
          <a:latin typeface="+mn-lt"/>
          <a:ea typeface="+mn-ea"/>
          <a:cs typeface="+mn-cs"/>
        </a:defRPr>
      </a:lvl2pPr>
      <a:lvl3pPr marL="913871" algn="l" defTabSz="913871" rtl="0" eaLnBrk="1" latinLnBrk="0" hangingPunct="1">
        <a:defRPr sz="1799" kern="1200">
          <a:solidFill>
            <a:schemeClr val="tx1"/>
          </a:solidFill>
          <a:latin typeface="+mn-lt"/>
          <a:ea typeface="+mn-ea"/>
          <a:cs typeface="+mn-cs"/>
        </a:defRPr>
      </a:lvl3pPr>
      <a:lvl4pPr marL="1370807" algn="l" defTabSz="913871" rtl="0" eaLnBrk="1" latinLnBrk="0" hangingPunct="1">
        <a:defRPr sz="1799" kern="1200">
          <a:solidFill>
            <a:schemeClr val="tx1"/>
          </a:solidFill>
          <a:latin typeface="+mn-lt"/>
          <a:ea typeface="+mn-ea"/>
          <a:cs typeface="+mn-cs"/>
        </a:defRPr>
      </a:lvl4pPr>
      <a:lvl5pPr marL="1827742" algn="l" defTabSz="913871" rtl="0" eaLnBrk="1" latinLnBrk="0" hangingPunct="1">
        <a:defRPr sz="1799" kern="1200">
          <a:solidFill>
            <a:schemeClr val="tx1"/>
          </a:solidFill>
          <a:latin typeface="+mn-lt"/>
          <a:ea typeface="+mn-ea"/>
          <a:cs typeface="+mn-cs"/>
        </a:defRPr>
      </a:lvl5pPr>
      <a:lvl6pPr marL="2284678" algn="l" defTabSz="913871" rtl="0" eaLnBrk="1" latinLnBrk="0" hangingPunct="1">
        <a:defRPr sz="1799" kern="1200">
          <a:solidFill>
            <a:schemeClr val="tx1"/>
          </a:solidFill>
          <a:latin typeface="+mn-lt"/>
          <a:ea typeface="+mn-ea"/>
          <a:cs typeface="+mn-cs"/>
        </a:defRPr>
      </a:lvl6pPr>
      <a:lvl7pPr marL="2741613" algn="l" defTabSz="913871" rtl="0" eaLnBrk="1" latinLnBrk="0" hangingPunct="1">
        <a:defRPr sz="1799" kern="1200">
          <a:solidFill>
            <a:schemeClr val="tx1"/>
          </a:solidFill>
          <a:latin typeface="+mn-lt"/>
          <a:ea typeface="+mn-ea"/>
          <a:cs typeface="+mn-cs"/>
        </a:defRPr>
      </a:lvl7pPr>
      <a:lvl8pPr marL="3198548" algn="l" defTabSz="913871" rtl="0" eaLnBrk="1" latinLnBrk="0" hangingPunct="1">
        <a:defRPr sz="1799" kern="1200">
          <a:solidFill>
            <a:schemeClr val="tx1"/>
          </a:solidFill>
          <a:latin typeface="+mn-lt"/>
          <a:ea typeface="+mn-ea"/>
          <a:cs typeface="+mn-cs"/>
        </a:defRPr>
      </a:lvl8pPr>
      <a:lvl9pPr marL="3655484" algn="l" defTabSz="913871"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07" name="Text Box 7"/>
          <p:cNvSpPr txBox="1">
            <a:spLocks noChangeArrowheads="1"/>
          </p:cNvSpPr>
          <p:nvPr/>
        </p:nvSpPr>
        <p:spPr bwMode="auto">
          <a:xfrm>
            <a:off x="4501365" y="6660880"/>
            <a:ext cx="289878" cy="141194"/>
          </a:xfrm>
          <a:prstGeom prst="rect">
            <a:avLst/>
          </a:prstGeom>
          <a:noFill/>
          <a:ln w="9525">
            <a:noFill/>
            <a:miter lim="800000"/>
            <a:headEnd/>
            <a:tailEnd/>
          </a:ln>
          <a:effectLst/>
        </p:spPr>
        <p:txBody>
          <a:bodyPr wrap="none" lIns="0" tIns="0" rIns="0" bIns="0" anchor="b">
            <a:spAutoFit/>
          </a:bodyPr>
          <a:lstStyle>
            <a:lvl1pPr>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pPr fontAlgn="base">
              <a:spcBef>
                <a:spcPct val="0"/>
              </a:spcBef>
              <a:spcAft>
                <a:spcPct val="0"/>
              </a:spcAft>
            </a:pPr>
            <a:r>
              <a:rPr lang="en-US" altLang="en-US" sz="900" b="1">
                <a:solidFill>
                  <a:srgbClr val="000000"/>
                </a:solidFill>
                <a:latin typeface="Arial" pitchFamily="34" charset="0"/>
                <a:ea typeface="SimHei" pitchFamily="49" charset="-122"/>
              </a:rPr>
              <a:t>- </a:t>
            </a:r>
            <a:fld id="{EE2EDEB9-033E-41E3-A774-6285177DD3AB}" type="slidenum">
              <a:rPr lang="en-US" altLang="en-US" sz="900" b="1">
                <a:solidFill>
                  <a:srgbClr val="000000"/>
                </a:solidFill>
                <a:latin typeface="Arial" pitchFamily="34" charset="0"/>
                <a:ea typeface="SimHei" pitchFamily="49" charset="-122"/>
              </a:rPr>
              <a:pPr fontAlgn="base">
                <a:spcBef>
                  <a:spcPct val="0"/>
                </a:spcBef>
                <a:spcAft>
                  <a:spcPct val="0"/>
                </a:spcAft>
              </a:pPr>
              <a:t>‹#›</a:t>
            </a:fld>
            <a:r>
              <a:rPr lang="en-US" altLang="en-US" sz="900" b="1">
                <a:solidFill>
                  <a:srgbClr val="000000"/>
                </a:solidFill>
                <a:latin typeface="Arial" pitchFamily="34" charset="0"/>
                <a:ea typeface="SimHei" pitchFamily="49" charset="-122"/>
              </a:rPr>
              <a:t> -</a:t>
            </a:r>
          </a:p>
        </p:txBody>
      </p:sp>
      <p:sp>
        <p:nvSpPr>
          <p:cNvPr id="1027" name="Rectangle 72"/>
          <p:cNvSpPr>
            <a:spLocks noChangeArrowheads="1"/>
          </p:cNvSpPr>
          <p:nvPr/>
        </p:nvSpPr>
        <p:spPr bwMode="auto">
          <a:xfrm>
            <a:off x="0" y="0"/>
            <a:ext cx="9144000" cy="971856"/>
          </a:xfrm>
          <a:prstGeom prst="rect">
            <a:avLst/>
          </a:prstGeom>
          <a:solidFill>
            <a:srgbClr val="EE1B2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52780" tIns="26390" rIns="52780" bIns="26390" anchor="ctr"/>
          <a:lstStyle/>
          <a:p>
            <a:pPr algn="ctr" eaLnBrk="0" fontAlgn="base" hangingPunct="0">
              <a:spcBef>
                <a:spcPct val="0"/>
              </a:spcBef>
              <a:spcAft>
                <a:spcPct val="0"/>
              </a:spcAft>
            </a:pPr>
            <a:endParaRPr lang="en-GB" altLang="en-US" sz="2200" baseline="-25000">
              <a:solidFill>
                <a:srgbClr val="000000"/>
              </a:solidFill>
              <a:latin typeface="Times" pitchFamily="18" charset="0"/>
              <a:ea typeface="SimHei" pitchFamily="49" charset="-122"/>
            </a:endParaRPr>
          </a:p>
        </p:txBody>
      </p:sp>
      <p:sp>
        <p:nvSpPr>
          <p:cNvPr id="4100" name="Line 73"/>
          <p:cNvSpPr>
            <a:spLocks noChangeShapeType="1"/>
          </p:cNvSpPr>
          <p:nvPr/>
        </p:nvSpPr>
        <p:spPr bwMode="auto">
          <a:xfrm>
            <a:off x="0" y="5805462"/>
            <a:ext cx="9144000" cy="0"/>
          </a:xfrm>
          <a:prstGeom prst="line">
            <a:avLst/>
          </a:prstGeom>
          <a:noFill/>
          <a:ln w="25400">
            <a:solidFill>
              <a:srgbClr val="EE1B2E"/>
            </a:solidFill>
            <a:round/>
            <a:headEnd/>
            <a:tailEnd/>
          </a:ln>
          <a:extLst>
            <a:ext uri="{909E8E84-426E-40DD-AFC4-6F175D3DCCD1}">
              <a14:hiddenFill xmlns:a14="http://schemas.microsoft.com/office/drawing/2010/main">
                <a:noFill/>
              </a14:hiddenFill>
            </a:ext>
          </a:extLst>
        </p:spPr>
        <p:txBody>
          <a:bodyPr wrap="none" lIns="52780" tIns="26390" rIns="52780" bIns="26390" anchor="ctr"/>
          <a:lstStyle/>
          <a:p>
            <a:pPr eaLnBrk="0" fontAlgn="base" hangingPunct="0">
              <a:spcBef>
                <a:spcPct val="0"/>
              </a:spcBef>
              <a:spcAft>
                <a:spcPct val="0"/>
              </a:spcAft>
            </a:pPr>
            <a:endParaRPr lang="en-US">
              <a:solidFill>
                <a:srgbClr val="000000"/>
              </a:solidFill>
              <a:latin typeface="Gill Sans MT" pitchFamily="34" charset="0"/>
            </a:endParaRPr>
          </a:p>
        </p:txBody>
      </p:sp>
      <p:pic>
        <p:nvPicPr>
          <p:cNvPr id="4101" name="Picture 7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066340" y="5946658"/>
            <a:ext cx="3077660" cy="867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36293642"/>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Lst>
  <p:txStyles>
    <p:titleStyle>
      <a:lvl1pPr algn="l" rtl="0" eaLnBrk="0" fontAlgn="base" hangingPunct="0">
        <a:lnSpc>
          <a:spcPct val="95000"/>
        </a:lnSpc>
        <a:spcBef>
          <a:spcPct val="0"/>
        </a:spcBef>
        <a:spcAft>
          <a:spcPct val="0"/>
        </a:spcAft>
        <a:defRPr sz="2500" b="1">
          <a:solidFill>
            <a:srgbClr val="FC0128"/>
          </a:solidFill>
          <a:latin typeface="+mj-lt"/>
          <a:ea typeface="+mj-ea"/>
          <a:cs typeface="+mj-cs"/>
        </a:defRPr>
      </a:lvl1pPr>
      <a:lvl2pPr algn="l" rtl="0" eaLnBrk="0" fontAlgn="base" hangingPunct="0">
        <a:lnSpc>
          <a:spcPct val="95000"/>
        </a:lnSpc>
        <a:spcBef>
          <a:spcPct val="0"/>
        </a:spcBef>
        <a:spcAft>
          <a:spcPct val="0"/>
        </a:spcAft>
        <a:defRPr sz="2500" b="1">
          <a:solidFill>
            <a:srgbClr val="FC0128"/>
          </a:solidFill>
          <a:latin typeface="Arial" charset="0"/>
          <a:cs typeface="Arial" charset="0"/>
        </a:defRPr>
      </a:lvl2pPr>
      <a:lvl3pPr algn="l" rtl="0" eaLnBrk="0" fontAlgn="base" hangingPunct="0">
        <a:lnSpc>
          <a:spcPct val="95000"/>
        </a:lnSpc>
        <a:spcBef>
          <a:spcPct val="0"/>
        </a:spcBef>
        <a:spcAft>
          <a:spcPct val="0"/>
        </a:spcAft>
        <a:defRPr sz="2500" b="1">
          <a:solidFill>
            <a:srgbClr val="FC0128"/>
          </a:solidFill>
          <a:latin typeface="Arial" charset="0"/>
          <a:cs typeface="Arial" charset="0"/>
        </a:defRPr>
      </a:lvl3pPr>
      <a:lvl4pPr algn="l" rtl="0" eaLnBrk="0" fontAlgn="base" hangingPunct="0">
        <a:lnSpc>
          <a:spcPct val="95000"/>
        </a:lnSpc>
        <a:spcBef>
          <a:spcPct val="0"/>
        </a:spcBef>
        <a:spcAft>
          <a:spcPct val="0"/>
        </a:spcAft>
        <a:defRPr sz="2500" b="1">
          <a:solidFill>
            <a:srgbClr val="FC0128"/>
          </a:solidFill>
          <a:latin typeface="Arial" charset="0"/>
          <a:cs typeface="Arial" charset="0"/>
        </a:defRPr>
      </a:lvl4pPr>
      <a:lvl5pPr algn="l" rtl="0" eaLnBrk="0" fontAlgn="base" hangingPunct="0">
        <a:lnSpc>
          <a:spcPct val="95000"/>
        </a:lnSpc>
        <a:spcBef>
          <a:spcPct val="0"/>
        </a:spcBef>
        <a:spcAft>
          <a:spcPct val="0"/>
        </a:spcAft>
        <a:defRPr sz="2500" b="1">
          <a:solidFill>
            <a:srgbClr val="FC0128"/>
          </a:solidFill>
          <a:latin typeface="Arial" charset="0"/>
          <a:cs typeface="Arial" charset="0"/>
        </a:defRPr>
      </a:lvl5pPr>
      <a:lvl6pPr marL="421537" algn="l" rtl="0" fontAlgn="base">
        <a:lnSpc>
          <a:spcPct val="95000"/>
        </a:lnSpc>
        <a:spcBef>
          <a:spcPct val="0"/>
        </a:spcBef>
        <a:spcAft>
          <a:spcPct val="0"/>
        </a:spcAft>
        <a:defRPr sz="2600" b="1">
          <a:solidFill>
            <a:srgbClr val="FC0128"/>
          </a:solidFill>
          <a:latin typeface="Arial" charset="0"/>
          <a:cs typeface="Arial" charset="0"/>
        </a:defRPr>
      </a:lvl6pPr>
      <a:lvl7pPr marL="843075" algn="l" rtl="0" fontAlgn="base">
        <a:lnSpc>
          <a:spcPct val="95000"/>
        </a:lnSpc>
        <a:spcBef>
          <a:spcPct val="0"/>
        </a:spcBef>
        <a:spcAft>
          <a:spcPct val="0"/>
        </a:spcAft>
        <a:defRPr sz="2600" b="1">
          <a:solidFill>
            <a:srgbClr val="FC0128"/>
          </a:solidFill>
          <a:latin typeface="Arial" charset="0"/>
          <a:cs typeface="Arial" charset="0"/>
        </a:defRPr>
      </a:lvl7pPr>
      <a:lvl8pPr marL="1264614" algn="l" rtl="0" fontAlgn="base">
        <a:lnSpc>
          <a:spcPct val="95000"/>
        </a:lnSpc>
        <a:spcBef>
          <a:spcPct val="0"/>
        </a:spcBef>
        <a:spcAft>
          <a:spcPct val="0"/>
        </a:spcAft>
        <a:defRPr sz="2600" b="1">
          <a:solidFill>
            <a:srgbClr val="FC0128"/>
          </a:solidFill>
          <a:latin typeface="Arial" charset="0"/>
          <a:cs typeface="Arial" charset="0"/>
        </a:defRPr>
      </a:lvl8pPr>
      <a:lvl9pPr marL="1686151" algn="l" rtl="0" fontAlgn="base">
        <a:lnSpc>
          <a:spcPct val="95000"/>
        </a:lnSpc>
        <a:spcBef>
          <a:spcPct val="0"/>
        </a:spcBef>
        <a:spcAft>
          <a:spcPct val="0"/>
        </a:spcAft>
        <a:defRPr sz="2600" b="1">
          <a:solidFill>
            <a:srgbClr val="FC0128"/>
          </a:solidFill>
          <a:latin typeface="Arial" charset="0"/>
          <a:cs typeface="Arial" charset="0"/>
        </a:defRPr>
      </a:lvl9pPr>
    </p:titleStyle>
    <p:bodyStyle>
      <a:lvl1pPr marL="316119" indent="-316119" algn="l" rtl="0" eaLnBrk="0" fontAlgn="base" hangingPunct="0">
        <a:lnSpc>
          <a:spcPct val="97000"/>
        </a:lnSpc>
        <a:spcBef>
          <a:spcPct val="39000"/>
        </a:spcBef>
        <a:spcAft>
          <a:spcPct val="0"/>
        </a:spcAft>
        <a:buChar char="•"/>
        <a:defRPr sz="1400" b="1">
          <a:solidFill>
            <a:schemeClr val="tx1"/>
          </a:solidFill>
          <a:latin typeface="+mn-lt"/>
          <a:ea typeface="+mn-ea"/>
          <a:cs typeface="+mn-cs"/>
        </a:defRPr>
      </a:lvl1pPr>
      <a:lvl2pPr marL="895211" indent="-421490" algn="l" rtl="0" eaLnBrk="0" fontAlgn="base" hangingPunct="0">
        <a:lnSpc>
          <a:spcPct val="97000"/>
        </a:lnSpc>
        <a:spcBef>
          <a:spcPct val="39000"/>
        </a:spcBef>
        <a:spcAft>
          <a:spcPct val="0"/>
        </a:spcAft>
        <a:buChar char="•"/>
        <a:defRPr sz="1400" b="1">
          <a:solidFill>
            <a:schemeClr val="tx1"/>
          </a:solidFill>
          <a:latin typeface="+mn-lt"/>
          <a:cs typeface="+mn-cs"/>
        </a:defRPr>
      </a:lvl2pPr>
      <a:lvl3pPr marL="1422077" indent="-316119" algn="l" rtl="0" eaLnBrk="0" fontAlgn="base" hangingPunct="0">
        <a:lnSpc>
          <a:spcPct val="97000"/>
        </a:lnSpc>
        <a:spcBef>
          <a:spcPct val="39000"/>
        </a:spcBef>
        <a:spcAft>
          <a:spcPct val="0"/>
        </a:spcAft>
        <a:buChar char="-"/>
        <a:defRPr sz="1400" b="1">
          <a:solidFill>
            <a:schemeClr val="tx1"/>
          </a:solidFill>
          <a:latin typeface="+mn-lt"/>
          <a:cs typeface="+mn-cs"/>
        </a:defRPr>
      </a:lvl3pPr>
      <a:lvl4pPr marL="1948944" indent="-316119" algn="l" rtl="0" eaLnBrk="0" fontAlgn="base" hangingPunct="0">
        <a:lnSpc>
          <a:spcPct val="97000"/>
        </a:lnSpc>
        <a:spcBef>
          <a:spcPct val="39000"/>
        </a:spcBef>
        <a:spcAft>
          <a:spcPct val="0"/>
        </a:spcAft>
        <a:buChar char="·"/>
        <a:defRPr sz="1400" b="1">
          <a:solidFill>
            <a:schemeClr val="tx1"/>
          </a:solidFill>
          <a:latin typeface="+mn-lt"/>
          <a:cs typeface="+mn-cs"/>
        </a:defRPr>
      </a:lvl4pPr>
      <a:lvl5pPr marL="4952526" indent="-262981" algn="l" rtl="0" eaLnBrk="0" fontAlgn="base" hangingPunct="0">
        <a:lnSpc>
          <a:spcPct val="97000"/>
        </a:lnSpc>
        <a:spcBef>
          <a:spcPct val="39000"/>
        </a:spcBef>
        <a:spcAft>
          <a:spcPct val="0"/>
        </a:spcAft>
        <a:buChar char="-"/>
        <a:defRPr sz="1400" b="1">
          <a:solidFill>
            <a:schemeClr val="tx1"/>
          </a:solidFill>
          <a:latin typeface="+mn-lt"/>
          <a:cs typeface="+mn-cs"/>
        </a:defRPr>
      </a:lvl5pPr>
      <a:lvl6pPr marL="5374618" indent="-263468" algn="l" rtl="0" fontAlgn="base">
        <a:lnSpc>
          <a:spcPct val="97000"/>
        </a:lnSpc>
        <a:spcBef>
          <a:spcPct val="39000"/>
        </a:spcBef>
        <a:spcAft>
          <a:spcPct val="0"/>
        </a:spcAft>
        <a:buChar char="-"/>
        <a:defRPr sz="1500" b="1">
          <a:solidFill>
            <a:schemeClr val="tx1"/>
          </a:solidFill>
          <a:latin typeface="+mn-lt"/>
          <a:cs typeface="+mn-cs"/>
        </a:defRPr>
      </a:lvl6pPr>
      <a:lvl7pPr marL="5796165" indent="-263468" algn="l" rtl="0" fontAlgn="base">
        <a:lnSpc>
          <a:spcPct val="97000"/>
        </a:lnSpc>
        <a:spcBef>
          <a:spcPct val="39000"/>
        </a:spcBef>
        <a:spcAft>
          <a:spcPct val="0"/>
        </a:spcAft>
        <a:buChar char="-"/>
        <a:defRPr sz="1500" b="1">
          <a:solidFill>
            <a:schemeClr val="tx1"/>
          </a:solidFill>
          <a:latin typeface="+mn-lt"/>
          <a:cs typeface="+mn-cs"/>
        </a:defRPr>
      </a:lvl7pPr>
      <a:lvl8pPr marL="6217687" indent="-263468" algn="l" rtl="0" fontAlgn="base">
        <a:lnSpc>
          <a:spcPct val="97000"/>
        </a:lnSpc>
        <a:spcBef>
          <a:spcPct val="39000"/>
        </a:spcBef>
        <a:spcAft>
          <a:spcPct val="0"/>
        </a:spcAft>
        <a:buChar char="-"/>
        <a:defRPr sz="1500" b="1">
          <a:solidFill>
            <a:schemeClr val="tx1"/>
          </a:solidFill>
          <a:latin typeface="+mn-lt"/>
          <a:cs typeface="+mn-cs"/>
        </a:defRPr>
      </a:lvl8pPr>
      <a:lvl9pPr marL="6639234" indent="-263468" algn="l" rtl="0" fontAlgn="base">
        <a:lnSpc>
          <a:spcPct val="97000"/>
        </a:lnSpc>
        <a:spcBef>
          <a:spcPct val="39000"/>
        </a:spcBef>
        <a:spcAft>
          <a:spcPct val="0"/>
        </a:spcAft>
        <a:buChar char="-"/>
        <a:defRPr sz="1500" b="1">
          <a:solidFill>
            <a:schemeClr val="tx1"/>
          </a:solidFill>
          <a:latin typeface="+mn-lt"/>
          <a:cs typeface="+mn-cs"/>
        </a:defRPr>
      </a:lvl9pPr>
    </p:bodyStyle>
    <p:otherStyle>
      <a:defPPr>
        <a:defRPr lang="en-US"/>
      </a:defPPr>
      <a:lvl1pPr marL="0" algn="l" defTabSz="843075" rtl="0" eaLnBrk="1" latinLnBrk="0" hangingPunct="1">
        <a:defRPr sz="1700" kern="1200">
          <a:solidFill>
            <a:schemeClr val="tx1"/>
          </a:solidFill>
          <a:latin typeface="+mn-lt"/>
          <a:ea typeface="+mn-ea"/>
          <a:cs typeface="+mn-cs"/>
        </a:defRPr>
      </a:lvl1pPr>
      <a:lvl2pPr marL="421537" algn="l" defTabSz="843075" rtl="0" eaLnBrk="1" latinLnBrk="0" hangingPunct="1">
        <a:defRPr sz="1700" kern="1200">
          <a:solidFill>
            <a:schemeClr val="tx1"/>
          </a:solidFill>
          <a:latin typeface="+mn-lt"/>
          <a:ea typeface="+mn-ea"/>
          <a:cs typeface="+mn-cs"/>
        </a:defRPr>
      </a:lvl2pPr>
      <a:lvl3pPr marL="843075" algn="l" defTabSz="843075" rtl="0" eaLnBrk="1" latinLnBrk="0" hangingPunct="1">
        <a:defRPr sz="1700" kern="1200">
          <a:solidFill>
            <a:schemeClr val="tx1"/>
          </a:solidFill>
          <a:latin typeface="+mn-lt"/>
          <a:ea typeface="+mn-ea"/>
          <a:cs typeface="+mn-cs"/>
        </a:defRPr>
      </a:lvl3pPr>
      <a:lvl4pPr marL="1264614" algn="l" defTabSz="843075" rtl="0" eaLnBrk="1" latinLnBrk="0" hangingPunct="1">
        <a:defRPr sz="1700" kern="1200">
          <a:solidFill>
            <a:schemeClr val="tx1"/>
          </a:solidFill>
          <a:latin typeface="+mn-lt"/>
          <a:ea typeface="+mn-ea"/>
          <a:cs typeface="+mn-cs"/>
        </a:defRPr>
      </a:lvl4pPr>
      <a:lvl5pPr marL="1686151" algn="l" defTabSz="843075" rtl="0" eaLnBrk="1" latinLnBrk="0" hangingPunct="1">
        <a:defRPr sz="1700" kern="1200">
          <a:solidFill>
            <a:schemeClr val="tx1"/>
          </a:solidFill>
          <a:latin typeface="+mn-lt"/>
          <a:ea typeface="+mn-ea"/>
          <a:cs typeface="+mn-cs"/>
        </a:defRPr>
      </a:lvl5pPr>
      <a:lvl6pPr marL="2107695" algn="l" defTabSz="843075" rtl="0" eaLnBrk="1" latinLnBrk="0" hangingPunct="1">
        <a:defRPr sz="1700" kern="1200">
          <a:solidFill>
            <a:schemeClr val="tx1"/>
          </a:solidFill>
          <a:latin typeface="+mn-lt"/>
          <a:ea typeface="+mn-ea"/>
          <a:cs typeface="+mn-cs"/>
        </a:defRPr>
      </a:lvl6pPr>
      <a:lvl7pPr marL="2529234" algn="l" defTabSz="843075" rtl="0" eaLnBrk="1" latinLnBrk="0" hangingPunct="1">
        <a:defRPr sz="1700" kern="1200">
          <a:solidFill>
            <a:schemeClr val="tx1"/>
          </a:solidFill>
          <a:latin typeface="+mn-lt"/>
          <a:ea typeface="+mn-ea"/>
          <a:cs typeface="+mn-cs"/>
        </a:defRPr>
      </a:lvl7pPr>
      <a:lvl8pPr marL="2950768" algn="l" defTabSz="843075" rtl="0" eaLnBrk="1" latinLnBrk="0" hangingPunct="1">
        <a:defRPr sz="1700" kern="1200">
          <a:solidFill>
            <a:schemeClr val="tx1"/>
          </a:solidFill>
          <a:latin typeface="+mn-lt"/>
          <a:ea typeface="+mn-ea"/>
          <a:cs typeface="+mn-cs"/>
        </a:defRPr>
      </a:lvl8pPr>
      <a:lvl9pPr marL="3372313" algn="l" defTabSz="843075"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D11EDE6B-7B34-40C0-99F9-DFB98D4D7701}"/>
              </a:ext>
            </a:extLst>
          </p:cNvPr>
          <p:cNvSpPr>
            <a:spLocks noGrp="1" noChangeArrowheads="1"/>
          </p:cNvSpPr>
          <p:nvPr>
            <p:ph type="title"/>
          </p:nvPr>
        </p:nvSpPr>
        <p:spPr bwMode="auto">
          <a:xfrm>
            <a:off x="628376" y="364904"/>
            <a:ext cx="7887250" cy="13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a16="http://schemas.microsoft.com/office/drawing/2014/main" id="{45EF0380-F3DB-471C-AC82-ABED69CF70AB}"/>
              </a:ext>
            </a:extLst>
          </p:cNvPr>
          <p:cNvSpPr>
            <a:spLocks noGrp="1" noChangeArrowheads="1"/>
          </p:cNvSpPr>
          <p:nvPr>
            <p:ph type="body" idx="1"/>
          </p:nvPr>
        </p:nvSpPr>
        <p:spPr bwMode="auto">
          <a:xfrm>
            <a:off x="628376" y="1825439"/>
            <a:ext cx="7887250" cy="435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A310E229-27DF-4A9A-8A1C-1BD0F6AAD83F}"/>
              </a:ext>
            </a:extLst>
          </p:cNvPr>
          <p:cNvSpPr>
            <a:spLocks noGrp="1"/>
          </p:cNvSpPr>
          <p:nvPr>
            <p:ph type="dt" sz="half" idx="2"/>
          </p:nvPr>
        </p:nvSpPr>
        <p:spPr>
          <a:xfrm>
            <a:off x="628375" y="6356487"/>
            <a:ext cx="2057583" cy="364904"/>
          </a:xfrm>
          <a:prstGeom prst="rect">
            <a:avLst/>
          </a:prstGeom>
        </p:spPr>
        <p:txBody>
          <a:bodyPr vert="horz" lIns="91440" tIns="45720" rIns="91440" bIns="45720" rtlCol="0" anchor="ctr"/>
          <a:lstStyle>
            <a:lvl1pPr algn="l">
              <a:defRPr sz="899">
                <a:solidFill>
                  <a:schemeClr val="tx1">
                    <a:tint val="75000"/>
                  </a:schemeClr>
                </a:solidFill>
              </a:defRPr>
            </a:lvl1pPr>
          </a:lstStyle>
          <a:p>
            <a:pPr>
              <a:defRPr/>
            </a:pPr>
            <a:fld id="{1D47BDD9-26AF-4AFB-8919-A894593CE263}" type="datetimeFigureOut">
              <a:rPr lang="en-US"/>
              <a:pPr>
                <a:defRPr/>
              </a:pPr>
              <a:t>7/25/2022</a:t>
            </a:fld>
            <a:endParaRPr lang="en-US"/>
          </a:p>
        </p:txBody>
      </p:sp>
      <p:sp>
        <p:nvSpPr>
          <p:cNvPr id="5" name="Footer Placeholder 4">
            <a:extLst>
              <a:ext uri="{FF2B5EF4-FFF2-40B4-BE49-F238E27FC236}">
                <a16:creationId xmlns:a16="http://schemas.microsoft.com/office/drawing/2014/main" id="{22BC06C5-2DDE-444E-A316-335BDEB6B9CB}"/>
              </a:ext>
            </a:extLst>
          </p:cNvPr>
          <p:cNvSpPr>
            <a:spLocks noGrp="1"/>
          </p:cNvSpPr>
          <p:nvPr>
            <p:ph type="ftr" sz="quarter" idx="3"/>
          </p:nvPr>
        </p:nvSpPr>
        <p:spPr>
          <a:xfrm>
            <a:off x="3029042" y="6356487"/>
            <a:ext cx="3085917" cy="364904"/>
          </a:xfrm>
          <a:prstGeom prst="rect">
            <a:avLst/>
          </a:prstGeom>
        </p:spPr>
        <p:txBody>
          <a:bodyPr vert="horz" lIns="91440" tIns="45720" rIns="91440" bIns="45720" rtlCol="0" anchor="ctr"/>
          <a:lstStyle>
            <a:lvl1pPr algn="ctr">
              <a:defRPr sz="899">
                <a:solidFill>
                  <a:schemeClr val="tx1">
                    <a:tint val="75000"/>
                  </a:schemeClr>
                </a:solidFill>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49585FC3-81D0-42F4-8134-62DF15BF036B}"/>
              </a:ext>
            </a:extLst>
          </p:cNvPr>
          <p:cNvSpPr>
            <a:spLocks noGrp="1"/>
          </p:cNvSpPr>
          <p:nvPr>
            <p:ph type="sldNum" sz="quarter" idx="4"/>
          </p:nvPr>
        </p:nvSpPr>
        <p:spPr>
          <a:xfrm>
            <a:off x="6458042" y="6356487"/>
            <a:ext cx="2057584" cy="364904"/>
          </a:xfrm>
          <a:prstGeom prst="rect">
            <a:avLst/>
          </a:prstGeom>
        </p:spPr>
        <p:txBody>
          <a:bodyPr vert="horz" lIns="91440" tIns="45720" rIns="91440" bIns="45720" rtlCol="0" anchor="ctr"/>
          <a:lstStyle>
            <a:lvl1pPr algn="r">
              <a:defRPr sz="899">
                <a:solidFill>
                  <a:schemeClr val="tx1">
                    <a:tint val="75000"/>
                  </a:schemeClr>
                </a:solidFill>
              </a:defRPr>
            </a:lvl1pPr>
          </a:lstStyle>
          <a:p>
            <a:pPr>
              <a:defRPr/>
            </a:pPr>
            <a:fld id="{C6A23DD9-4DD3-47A3-A3D9-BA530E7FD976}" type="slidenum">
              <a:rPr lang="en-US" altLang="en-US"/>
              <a:pPr>
                <a:defRPr/>
              </a:pPr>
              <a:t>‹#›</a:t>
            </a:fld>
            <a:endParaRPr lang="en-US" altLang="en-US"/>
          </a:p>
        </p:txBody>
      </p:sp>
    </p:spTree>
    <p:extLst>
      <p:ext uri="{BB962C8B-B14F-4D97-AF65-F5344CB8AC3E}">
        <p14:creationId xmlns:p14="http://schemas.microsoft.com/office/powerpoint/2010/main" val="116534877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xStyles>
    <p:titleStyle>
      <a:lvl1pPr algn="l" defTabSz="684836" rtl="0" eaLnBrk="0" fontAlgn="base" hangingPunct="0">
        <a:lnSpc>
          <a:spcPct val="90000"/>
        </a:lnSpc>
        <a:spcBef>
          <a:spcPct val="0"/>
        </a:spcBef>
        <a:spcAft>
          <a:spcPct val="0"/>
        </a:spcAft>
        <a:defRPr sz="3292" kern="1200">
          <a:solidFill>
            <a:schemeClr val="tx1"/>
          </a:solidFill>
          <a:latin typeface="+mj-lt"/>
          <a:ea typeface="+mj-ea"/>
          <a:cs typeface="+mj-cs"/>
        </a:defRPr>
      </a:lvl1pPr>
      <a:lvl2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2pPr>
      <a:lvl3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3pPr>
      <a:lvl4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4pPr>
      <a:lvl5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5pPr>
      <a:lvl6pPr marL="264033" algn="l" defTabSz="684836" rtl="0" fontAlgn="base">
        <a:lnSpc>
          <a:spcPct val="90000"/>
        </a:lnSpc>
        <a:spcBef>
          <a:spcPct val="0"/>
        </a:spcBef>
        <a:spcAft>
          <a:spcPct val="0"/>
        </a:spcAft>
        <a:defRPr sz="3292">
          <a:solidFill>
            <a:schemeClr val="tx1"/>
          </a:solidFill>
          <a:latin typeface="Calibri Light" panose="020F0302020204030204" pitchFamily="34" charset="0"/>
        </a:defRPr>
      </a:lvl6pPr>
      <a:lvl7pPr marL="528066" algn="l" defTabSz="684836" rtl="0" fontAlgn="base">
        <a:lnSpc>
          <a:spcPct val="90000"/>
        </a:lnSpc>
        <a:spcBef>
          <a:spcPct val="0"/>
        </a:spcBef>
        <a:spcAft>
          <a:spcPct val="0"/>
        </a:spcAft>
        <a:defRPr sz="3292">
          <a:solidFill>
            <a:schemeClr val="tx1"/>
          </a:solidFill>
          <a:latin typeface="Calibri Light" panose="020F0302020204030204" pitchFamily="34" charset="0"/>
        </a:defRPr>
      </a:lvl7pPr>
      <a:lvl8pPr marL="792099" algn="l" defTabSz="684836" rtl="0" fontAlgn="base">
        <a:lnSpc>
          <a:spcPct val="90000"/>
        </a:lnSpc>
        <a:spcBef>
          <a:spcPct val="0"/>
        </a:spcBef>
        <a:spcAft>
          <a:spcPct val="0"/>
        </a:spcAft>
        <a:defRPr sz="3292">
          <a:solidFill>
            <a:schemeClr val="tx1"/>
          </a:solidFill>
          <a:latin typeface="Calibri Light" panose="020F0302020204030204" pitchFamily="34" charset="0"/>
        </a:defRPr>
      </a:lvl8pPr>
      <a:lvl9pPr marL="1056132" algn="l" defTabSz="684836" rtl="0" fontAlgn="base">
        <a:lnSpc>
          <a:spcPct val="90000"/>
        </a:lnSpc>
        <a:spcBef>
          <a:spcPct val="0"/>
        </a:spcBef>
        <a:spcAft>
          <a:spcPct val="0"/>
        </a:spcAft>
        <a:defRPr sz="3292">
          <a:solidFill>
            <a:schemeClr val="tx1"/>
          </a:solidFill>
          <a:latin typeface="Calibri Light" panose="020F0302020204030204" pitchFamily="34" charset="0"/>
        </a:defRPr>
      </a:lvl9pPr>
    </p:titleStyle>
    <p:bodyStyle>
      <a:lvl1pPr marL="170521" indent="-170521" algn="l" defTabSz="684836" rtl="0" eaLnBrk="0" fontAlgn="base" hangingPunct="0">
        <a:lnSpc>
          <a:spcPct val="90000"/>
        </a:lnSpc>
        <a:spcBef>
          <a:spcPts val="751"/>
        </a:spcBef>
        <a:spcAft>
          <a:spcPct val="0"/>
        </a:spcAft>
        <a:buFont typeface="Arial" panose="020B0604020202020204" pitchFamily="34" charset="0"/>
        <a:buChar char="•"/>
        <a:defRPr sz="2079" kern="1200">
          <a:solidFill>
            <a:schemeClr val="tx1"/>
          </a:solidFill>
          <a:latin typeface="+mn-lt"/>
          <a:ea typeface="+mn-ea"/>
          <a:cs typeface="+mn-cs"/>
        </a:defRPr>
      </a:lvl1pPr>
      <a:lvl2pPr marL="513398" indent="-170521" algn="l" defTabSz="684836" rtl="0" eaLnBrk="0" fontAlgn="base" hangingPunct="0">
        <a:lnSpc>
          <a:spcPct val="90000"/>
        </a:lnSpc>
        <a:spcBef>
          <a:spcPts val="375"/>
        </a:spcBef>
        <a:spcAft>
          <a:spcPct val="0"/>
        </a:spcAft>
        <a:buFont typeface="Arial" panose="020B0604020202020204" pitchFamily="34" charset="0"/>
        <a:buChar char="•"/>
        <a:defRPr sz="1790" kern="1200">
          <a:solidFill>
            <a:schemeClr val="tx1"/>
          </a:solidFill>
          <a:latin typeface="+mn-lt"/>
          <a:ea typeface="+mn-ea"/>
          <a:cs typeface="+mn-cs"/>
        </a:defRPr>
      </a:lvl2pPr>
      <a:lvl3pPr marL="856274" indent="-170521" algn="l" defTabSz="684836" rtl="0" eaLnBrk="0" fontAlgn="base" hangingPunct="0">
        <a:lnSpc>
          <a:spcPct val="90000"/>
        </a:lnSpc>
        <a:spcBef>
          <a:spcPts val="375"/>
        </a:spcBef>
        <a:spcAft>
          <a:spcPct val="0"/>
        </a:spcAft>
        <a:buFont typeface="Arial" panose="020B0604020202020204" pitchFamily="34" charset="0"/>
        <a:buChar char="•"/>
        <a:defRPr sz="1444" kern="1200">
          <a:solidFill>
            <a:schemeClr val="tx1"/>
          </a:solidFill>
          <a:latin typeface="+mn-lt"/>
          <a:ea typeface="+mn-ea"/>
          <a:cs typeface="+mn-cs"/>
        </a:defRPr>
      </a:lvl3pPr>
      <a:lvl4pPr marL="1199150" indent="-170521" algn="l" defTabSz="684836" rtl="0" eaLnBrk="0" fontAlgn="base" hangingPunct="0">
        <a:lnSpc>
          <a:spcPct val="90000"/>
        </a:lnSpc>
        <a:spcBef>
          <a:spcPts val="375"/>
        </a:spcBef>
        <a:spcAft>
          <a:spcPct val="0"/>
        </a:spcAft>
        <a:buFont typeface="Arial" panose="020B0604020202020204" pitchFamily="34" charset="0"/>
        <a:buChar char="•"/>
        <a:defRPr sz="1328" kern="1200">
          <a:solidFill>
            <a:schemeClr val="tx1"/>
          </a:solidFill>
          <a:latin typeface="+mn-lt"/>
          <a:ea typeface="+mn-ea"/>
          <a:cs typeface="+mn-cs"/>
        </a:defRPr>
      </a:lvl4pPr>
      <a:lvl5pPr marL="1542026" indent="-170521" algn="l" defTabSz="684836" rtl="0" eaLnBrk="0" fontAlgn="base" hangingPunct="0">
        <a:lnSpc>
          <a:spcPct val="90000"/>
        </a:lnSpc>
        <a:spcBef>
          <a:spcPts val="375"/>
        </a:spcBef>
        <a:spcAft>
          <a:spcPct val="0"/>
        </a:spcAft>
        <a:buFont typeface="Arial" panose="020B0604020202020204" pitchFamily="34" charset="0"/>
        <a:buChar char="•"/>
        <a:defRPr sz="1328" kern="1200">
          <a:solidFill>
            <a:schemeClr val="tx1"/>
          </a:solidFill>
          <a:latin typeface="+mn-lt"/>
          <a:ea typeface="+mn-ea"/>
          <a:cs typeface="+mn-cs"/>
        </a:defRPr>
      </a:lvl5pPr>
      <a:lvl6pPr marL="1884786"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475"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163"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852"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377" rtl="0" eaLnBrk="1" latinLnBrk="0" hangingPunct="1">
        <a:defRPr sz="1349" kern="1200">
          <a:solidFill>
            <a:schemeClr val="tx1"/>
          </a:solidFill>
          <a:latin typeface="+mn-lt"/>
          <a:ea typeface="+mn-ea"/>
          <a:cs typeface="+mn-cs"/>
        </a:defRPr>
      </a:lvl1pPr>
      <a:lvl2pPr marL="342689" algn="l" defTabSz="685377" rtl="0" eaLnBrk="1" latinLnBrk="0" hangingPunct="1">
        <a:defRPr sz="1349" kern="1200">
          <a:solidFill>
            <a:schemeClr val="tx1"/>
          </a:solidFill>
          <a:latin typeface="+mn-lt"/>
          <a:ea typeface="+mn-ea"/>
          <a:cs typeface="+mn-cs"/>
        </a:defRPr>
      </a:lvl2pPr>
      <a:lvl3pPr marL="685377" algn="l" defTabSz="685377" rtl="0" eaLnBrk="1" latinLnBrk="0" hangingPunct="1">
        <a:defRPr sz="1349" kern="1200">
          <a:solidFill>
            <a:schemeClr val="tx1"/>
          </a:solidFill>
          <a:latin typeface="+mn-lt"/>
          <a:ea typeface="+mn-ea"/>
          <a:cs typeface="+mn-cs"/>
        </a:defRPr>
      </a:lvl3pPr>
      <a:lvl4pPr marL="1028066" algn="l" defTabSz="685377" rtl="0" eaLnBrk="1" latinLnBrk="0" hangingPunct="1">
        <a:defRPr sz="1349" kern="1200">
          <a:solidFill>
            <a:schemeClr val="tx1"/>
          </a:solidFill>
          <a:latin typeface="+mn-lt"/>
          <a:ea typeface="+mn-ea"/>
          <a:cs typeface="+mn-cs"/>
        </a:defRPr>
      </a:lvl4pPr>
      <a:lvl5pPr marL="1370754" algn="l" defTabSz="685377" rtl="0" eaLnBrk="1" latinLnBrk="0" hangingPunct="1">
        <a:defRPr sz="1349" kern="1200">
          <a:solidFill>
            <a:schemeClr val="tx1"/>
          </a:solidFill>
          <a:latin typeface="+mn-lt"/>
          <a:ea typeface="+mn-ea"/>
          <a:cs typeface="+mn-cs"/>
        </a:defRPr>
      </a:lvl5pPr>
      <a:lvl6pPr marL="1713442" algn="l" defTabSz="685377" rtl="0" eaLnBrk="1" latinLnBrk="0" hangingPunct="1">
        <a:defRPr sz="1349" kern="1200">
          <a:solidFill>
            <a:schemeClr val="tx1"/>
          </a:solidFill>
          <a:latin typeface="+mn-lt"/>
          <a:ea typeface="+mn-ea"/>
          <a:cs typeface="+mn-cs"/>
        </a:defRPr>
      </a:lvl6pPr>
      <a:lvl7pPr marL="2056130" algn="l" defTabSz="685377" rtl="0" eaLnBrk="1" latinLnBrk="0" hangingPunct="1">
        <a:defRPr sz="1349" kern="1200">
          <a:solidFill>
            <a:schemeClr val="tx1"/>
          </a:solidFill>
          <a:latin typeface="+mn-lt"/>
          <a:ea typeface="+mn-ea"/>
          <a:cs typeface="+mn-cs"/>
        </a:defRPr>
      </a:lvl7pPr>
      <a:lvl8pPr marL="2398819" algn="l" defTabSz="685377" rtl="0" eaLnBrk="1" latinLnBrk="0" hangingPunct="1">
        <a:defRPr sz="1349" kern="1200">
          <a:solidFill>
            <a:schemeClr val="tx1"/>
          </a:solidFill>
          <a:latin typeface="+mn-lt"/>
          <a:ea typeface="+mn-ea"/>
          <a:cs typeface="+mn-cs"/>
        </a:defRPr>
      </a:lvl8pPr>
      <a:lvl9pPr marL="2741507" algn="l" defTabSz="685377" rtl="0" eaLnBrk="1" latinLnBrk="0" hangingPunct="1">
        <a:defRPr sz="134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7D73C2AA-9154-4C4C-9581-EC50839EE96D}"/>
              </a:ext>
            </a:extLst>
          </p:cNvPr>
          <p:cNvSpPr>
            <a:spLocks noGrp="1" noChangeArrowheads="1"/>
          </p:cNvSpPr>
          <p:nvPr>
            <p:ph type="title"/>
          </p:nvPr>
        </p:nvSpPr>
        <p:spPr bwMode="auto">
          <a:xfrm>
            <a:off x="628376" y="364904"/>
            <a:ext cx="7887250" cy="1325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a16="http://schemas.microsoft.com/office/drawing/2014/main" id="{361C35B4-8112-460D-A835-4E6F99A15B3F}"/>
              </a:ext>
            </a:extLst>
          </p:cNvPr>
          <p:cNvSpPr>
            <a:spLocks noGrp="1" noChangeArrowheads="1"/>
          </p:cNvSpPr>
          <p:nvPr>
            <p:ph type="body" idx="1"/>
          </p:nvPr>
        </p:nvSpPr>
        <p:spPr bwMode="auto">
          <a:xfrm>
            <a:off x="628376" y="1825439"/>
            <a:ext cx="7887250" cy="435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159F4D09-3A80-4A30-9398-9BBB03CCFE08}"/>
              </a:ext>
            </a:extLst>
          </p:cNvPr>
          <p:cNvSpPr>
            <a:spLocks noGrp="1"/>
          </p:cNvSpPr>
          <p:nvPr>
            <p:ph type="dt" sz="half" idx="2"/>
          </p:nvPr>
        </p:nvSpPr>
        <p:spPr>
          <a:xfrm>
            <a:off x="628375" y="6356487"/>
            <a:ext cx="2057583" cy="364904"/>
          </a:xfrm>
          <a:prstGeom prst="rect">
            <a:avLst/>
          </a:prstGeom>
        </p:spPr>
        <p:txBody>
          <a:bodyPr vert="horz" lIns="91440" tIns="45720" rIns="91440" bIns="45720" rtlCol="0" anchor="ctr"/>
          <a:lstStyle>
            <a:lvl1pPr algn="l">
              <a:defRPr sz="899">
                <a:solidFill>
                  <a:schemeClr val="tx1">
                    <a:tint val="75000"/>
                  </a:schemeClr>
                </a:solidFill>
              </a:defRPr>
            </a:lvl1pPr>
          </a:lstStyle>
          <a:p>
            <a:pPr>
              <a:defRPr/>
            </a:pPr>
            <a:fld id="{7E4C061F-B9CA-42A5-B179-8D559EB3BF85}" type="datetimeFigureOut">
              <a:rPr lang="en-US"/>
              <a:pPr>
                <a:defRPr/>
              </a:pPr>
              <a:t>7/25/2022</a:t>
            </a:fld>
            <a:endParaRPr lang="en-US"/>
          </a:p>
        </p:txBody>
      </p:sp>
      <p:sp>
        <p:nvSpPr>
          <p:cNvPr id="5" name="Footer Placeholder 4">
            <a:extLst>
              <a:ext uri="{FF2B5EF4-FFF2-40B4-BE49-F238E27FC236}">
                <a16:creationId xmlns:a16="http://schemas.microsoft.com/office/drawing/2014/main" id="{5B82392F-47FC-4C38-98C5-BACE6FFC2400}"/>
              </a:ext>
            </a:extLst>
          </p:cNvPr>
          <p:cNvSpPr>
            <a:spLocks noGrp="1"/>
          </p:cNvSpPr>
          <p:nvPr>
            <p:ph type="ftr" sz="quarter" idx="3"/>
          </p:nvPr>
        </p:nvSpPr>
        <p:spPr>
          <a:xfrm>
            <a:off x="3029042" y="6356487"/>
            <a:ext cx="3085917" cy="364904"/>
          </a:xfrm>
          <a:prstGeom prst="rect">
            <a:avLst/>
          </a:prstGeom>
        </p:spPr>
        <p:txBody>
          <a:bodyPr vert="horz" lIns="91440" tIns="45720" rIns="91440" bIns="45720" rtlCol="0" anchor="ctr"/>
          <a:lstStyle>
            <a:lvl1pPr algn="ctr">
              <a:defRPr sz="899">
                <a:solidFill>
                  <a:schemeClr val="tx1">
                    <a:tint val="75000"/>
                  </a:schemeClr>
                </a:solidFill>
              </a:defRPr>
            </a:lvl1pPr>
          </a:lstStyle>
          <a:p>
            <a:pPr>
              <a:defRPr/>
            </a:pPr>
            <a:r>
              <a:rPr lang="en-US"/>
              <a:t>Se</a:t>
            </a:r>
            <a:r>
              <a:rPr lang="en-US" spc="9"/>
              <a:t>c</a:t>
            </a:r>
            <a:r>
              <a:rPr lang="en-US" spc="12"/>
              <a:t>t</a:t>
            </a:r>
            <a:r>
              <a:rPr lang="en-US" spc="-6"/>
              <a:t>i</a:t>
            </a:r>
            <a:r>
              <a:rPr lang="en-US"/>
              <a:t>on</a:t>
            </a:r>
            <a:r>
              <a:rPr lang="en-US" spc="3"/>
              <a:t> </a:t>
            </a:r>
            <a:r>
              <a:rPr lang="en-US" spc="17"/>
              <a:t>C</a:t>
            </a:r>
            <a:r>
              <a:rPr lang="en-US"/>
              <a:t>:</a:t>
            </a:r>
            <a:endParaRPr lang="en-US">
              <a:solidFill>
                <a:schemeClr val="tx1"/>
              </a:solidFill>
            </a:endParaRPr>
          </a:p>
        </p:txBody>
      </p:sp>
      <p:sp>
        <p:nvSpPr>
          <p:cNvPr id="6" name="Slide Number Placeholder 5">
            <a:extLst>
              <a:ext uri="{FF2B5EF4-FFF2-40B4-BE49-F238E27FC236}">
                <a16:creationId xmlns:a16="http://schemas.microsoft.com/office/drawing/2014/main" id="{CA849E63-66AF-44A9-BDA8-FB7779B50A4C}"/>
              </a:ext>
            </a:extLst>
          </p:cNvPr>
          <p:cNvSpPr>
            <a:spLocks noGrp="1"/>
          </p:cNvSpPr>
          <p:nvPr>
            <p:ph type="sldNum" sz="quarter" idx="4"/>
          </p:nvPr>
        </p:nvSpPr>
        <p:spPr>
          <a:xfrm>
            <a:off x="6458042" y="6356487"/>
            <a:ext cx="2057584" cy="364904"/>
          </a:xfrm>
          <a:prstGeom prst="rect">
            <a:avLst/>
          </a:prstGeom>
        </p:spPr>
        <p:txBody>
          <a:bodyPr vert="horz" lIns="91440" tIns="45720" rIns="91440" bIns="45720" rtlCol="0" anchor="ctr"/>
          <a:lstStyle>
            <a:lvl1pPr algn="r">
              <a:defRPr sz="899">
                <a:solidFill>
                  <a:schemeClr val="tx1">
                    <a:tint val="75000"/>
                  </a:schemeClr>
                </a:solidFill>
              </a:defRPr>
            </a:lvl1pPr>
          </a:lstStyle>
          <a:p>
            <a:pPr>
              <a:defRPr/>
            </a:pPr>
            <a:fld id="{3DF6E082-DAE9-40AB-BF61-50DF4D4D458D}" type="slidenum">
              <a:rPr lang="en-US" altLang="en-US"/>
              <a:pPr>
                <a:defRPr/>
              </a:pPr>
              <a:t>‹#›</a:t>
            </a:fld>
            <a:endParaRPr lang="en-US" altLang="en-US"/>
          </a:p>
        </p:txBody>
      </p:sp>
    </p:spTree>
    <p:extLst>
      <p:ext uri="{BB962C8B-B14F-4D97-AF65-F5344CB8AC3E}">
        <p14:creationId xmlns:p14="http://schemas.microsoft.com/office/powerpoint/2010/main" val="12326438"/>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txStyles>
    <p:titleStyle>
      <a:lvl1pPr algn="l" defTabSz="684836" rtl="0" eaLnBrk="0" fontAlgn="base" hangingPunct="0">
        <a:lnSpc>
          <a:spcPct val="90000"/>
        </a:lnSpc>
        <a:spcBef>
          <a:spcPct val="0"/>
        </a:spcBef>
        <a:spcAft>
          <a:spcPct val="0"/>
        </a:spcAft>
        <a:defRPr sz="3292" kern="1200">
          <a:solidFill>
            <a:schemeClr val="tx1"/>
          </a:solidFill>
          <a:latin typeface="+mj-lt"/>
          <a:ea typeface="+mj-ea"/>
          <a:cs typeface="+mj-cs"/>
        </a:defRPr>
      </a:lvl1pPr>
      <a:lvl2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2pPr>
      <a:lvl3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3pPr>
      <a:lvl4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4pPr>
      <a:lvl5pPr algn="l" defTabSz="684836" rtl="0" eaLnBrk="0" fontAlgn="base" hangingPunct="0">
        <a:lnSpc>
          <a:spcPct val="90000"/>
        </a:lnSpc>
        <a:spcBef>
          <a:spcPct val="0"/>
        </a:spcBef>
        <a:spcAft>
          <a:spcPct val="0"/>
        </a:spcAft>
        <a:defRPr sz="3292">
          <a:solidFill>
            <a:schemeClr val="tx1"/>
          </a:solidFill>
          <a:latin typeface="Calibri Light" panose="020F0302020204030204" pitchFamily="34" charset="0"/>
        </a:defRPr>
      </a:lvl5pPr>
      <a:lvl6pPr marL="264033" algn="l" defTabSz="684836" rtl="0" fontAlgn="base">
        <a:lnSpc>
          <a:spcPct val="90000"/>
        </a:lnSpc>
        <a:spcBef>
          <a:spcPct val="0"/>
        </a:spcBef>
        <a:spcAft>
          <a:spcPct val="0"/>
        </a:spcAft>
        <a:defRPr sz="3292">
          <a:solidFill>
            <a:schemeClr val="tx1"/>
          </a:solidFill>
          <a:latin typeface="Calibri Light" panose="020F0302020204030204" pitchFamily="34" charset="0"/>
        </a:defRPr>
      </a:lvl6pPr>
      <a:lvl7pPr marL="528066" algn="l" defTabSz="684836" rtl="0" fontAlgn="base">
        <a:lnSpc>
          <a:spcPct val="90000"/>
        </a:lnSpc>
        <a:spcBef>
          <a:spcPct val="0"/>
        </a:spcBef>
        <a:spcAft>
          <a:spcPct val="0"/>
        </a:spcAft>
        <a:defRPr sz="3292">
          <a:solidFill>
            <a:schemeClr val="tx1"/>
          </a:solidFill>
          <a:latin typeface="Calibri Light" panose="020F0302020204030204" pitchFamily="34" charset="0"/>
        </a:defRPr>
      </a:lvl7pPr>
      <a:lvl8pPr marL="792099" algn="l" defTabSz="684836" rtl="0" fontAlgn="base">
        <a:lnSpc>
          <a:spcPct val="90000"/>
        </a:lnSpc>
        <a:spcBef>
          <a:spcPct val="0"/>
        </a:spcBef>
        <a:spcAft>
          <a:spcPct val="0"/>
        </a:spcAft>
        <a:defRPr sz="3292">
          <a:solidFill>
            <a:schemeClr val="tx1"/>
          </a:solidFill>
          <a:latin typeface="Calibri Light" panose="020F0302020204030204" pitchFamily="34" charset="0"/>
        </a:defRPr>
      </a:lvl8pPr>
      <a:lvl9pPr marL="1056132" algn="l" defTabSz="684836" rtl="0" fontAlgn="base">
        <a:lnSpc>
          <a:spcPct val="90000"/>
        </a:lnSpc>
        <a:spcBef>
          <a:spcPct val="0"/>
        </a:spcBef>
        <a:spcAft>
          <a:spcPct val="0"/>
        </a:spcAft>
        <a:defRPr sz="3292">
          <a:solidFill>
            <a:schemeClr val="tx1"/>
          </a:solidFill>
          <a:latin typeface="Calibri Light" panose="020F0302020204030204" pitchFamily="34" charset="0"/>
        </a:defRPr>
      </a:lvl9pPr>
    </p:titleStyle>
    <p:bodyStyle>
      <a:lvl1pPr marL="170521" indent="-170521" algn="l" defTabSz="684836" rtl="0" eaLnBrk="0" fontAlgn="base" hangingPunct="0">
        <a:lnSpc>
          <a:spcPct val="90000"/>
        </a:lnSpc>
        <a:spcBef>
          <a:spcPts val="751"/>
        </a:spcBef>
        <a:spcAft>
          <a:spcPct val="0"/>
        </a:spcAft>
        <a:buFont typeface="Arial" panose="020B0604020202020204" pitchFamily="34" charset="0"/>
        <a:buChar char="•"/>
        <a:defRPr sz="2079" kern="1200">
          <a:solidFill>
            <a:schemeClr val="tx1"/>
          </a:solidFill>
          <a:latin typeface="+mn-lt"/>
          <a:ea typeface="+mn-ea"/>
          <a:cs typeface="+mn-cs"/>
        </a:defRPr>
      </a:lvl1pPr>
      <a:lvl2pPr marL="513398" indent="-170521" algn="l" defTabSz="684836" rtl="0" eaLnBrk="0" fontAlgn="base" hangingPunct="0">
        <a:lnSpc>
          <a:spcPct val="90000"/>
        </a:lnSpc>
        <a:spcBef>
          <a:spcPts val="375"/>
        </a:spcBef>
        <a:spcAft>
          <a:spcPct val="0"/>
        </a:spcAft>
        <a:buFont typeface="Arial" panose="020B0604020202020204" pitchFamily="34" charset="0"/>
        <a:buChar char="•"/>
        <a:defRPr sz="1790" kern="1200">
          <a:solidFill>
            <a:schemeClr val="tx1"/>
          </a:solidFill>
          <a:latin typeface="+mn-lt"/>
          <a:ea typeface="+mn-ea"/>
          <a:cs typeface="+mn-cs"/>
        </a:defRPr>
      </a:lvl2pPr>
      <a:lvl3pPr marL="856274" indent="-170521" algn="l" defTabSz="684836" rtl="0" eaLnBrk="0" fontAlgn="base" hangingPunct="0">
        <a:lnSpc>
          <a:spcPct val="90000"/>
        </a:lnSpc>
        <a:spcBef>
          <a:spcPts val="375"/>
        </a:spcBef>
        <a:spcAft>
          <a:spcPct val="0"/>
        </a:spcAft>
        <a:buFont typeface="Arial" panose="020B0604020202020204" pitchFamily="34" charset="0"/>
        <a:buChar char="•"/>
        <a:defRPr sz="1444" kern="1200">
          <a:solidFill>
            <a:schemeClr val="tx1"/>
          </a:solidFill>
          <a:latin typeface="+mn-lt"/>
          <a:ea typeface="+mn-ea"/>
          <a:cs typeface="+mn-cs"/>
        </a:defRPr>
      </a:lvl3pPr>
      <a:lvl4pPr marL="1199150" indent="-170521" algn="l" defTabSz="684836" rtl="0" eaLnBrk="0" fontAlgn="base" hangingPunct="0">
        <a:lnSpc>
          <a:spcPct val="90000"/>
        </a:lnSpc>
        <a:spcBef>
          <a:spcPts val="375"/>
        </a:spcBef>
        <a:spcAft>
          <a:spcPct val="0"/>
        </a:spcAft>
        <a:buFont typeface="Arial" panose="020B0604020202020204" pitchFamily="34" charset="0"/>
        <a:buChar char="•"/>
        <a:defRPr sz="1328" kern="1200">
          <a:solidFill>
            <a:schemeClr val="tx1"/>
          </a:solidFill>
          <a:latin typeface="+mn-lt"/>
          <a:ea typeface="+mn-ea"/>
          <a:cs typeface="+mn-cs"/>
        </a:defRPr>
      </a:lvl4pPr>
      <a:lvl5pPr marL="1542026" indent="-170521" algn="l" defTabSz="684836" rtl="0" eaLnBrk="0" fontAlgn="base" hangingPunct="0">
        <a:lnSpc>
          <a:spcPct val="90000"/>
        </a:lnSpc>
        <a:spcBef>
          <a:spcPts val="375"/>
        </a:spcBef>
        <a:spcAft>
          <a:spcPct val="0"/>
        </a:spcAft>
        <a:buFont typeface="Arial" panose="020B0604020202020204" pitchFamily="34" charset="0"/>
        <a:buChar char="•"/>
        <a:defRPr sz="1328" kern="1200">
          <a:solidFill>
            <a:schemeClr val="tx1"/>
          </a:solidFill>
          <a:latin typeface="+mn-lt"/>
          <a:ea typeface="+mn-ea"/>
          <a:cs typeface="+mn-cs"/>
        </a:defRPr>
      </a:lvl5pPr>
      <a:lvl6pPr marL="1884786"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475"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163"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852" indent="-171344" algn="l" defTabSz="685377"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377" rtl="0" eaLnBrk="1" latinLnBrk="0" hangingPunct="1">
        <a:defRPr sz="1349" kern="1200">
          <a:solidFill>
            <a:schemeClr val="tx1"/>
          </a:solidFill>
          <a:latin typeface="+mn-lt"/>
          <a:ea typeface="+mn-ea"/>
          <a:cs typeface="+mn-cs"/>
        </a:defRPr>
      </a:lvl1pPr>
      <a:lvl2pPr marL="342689" algn="l" defTabSz="685377" rtl="0" eaLnBrk="1" latinLnBrk="0" hangingPunct="1">
        <a:defRPr sz="1349" kern="1200">
          <a:solidFill>
            <a:schemeClr val="tx1"/>
          </a:solidFill>
          <a:latin typeface="+mn-lt"/>
          <a:ea typeface="+mn-ea"/>
          <a:cs typeface="+mn-cs"/>
        </a:defRPr>
      </a:lvl2pPr>
      <a:lvl3pPr marL="685377" algn="l" defTabSz="685377" rtl="0" eaLnBrk="1" latinLnBrk="0" hangingPunct="1">
        <a:defRPr sz="1349" kern="1200">
          <a:solidFill>
            <a:schemeClr val="tx1"/>
          </a:solidFill>
          <a:latin typeface="+mn-lt"/>
          <a:ea typeface="+mn-ea"/>
          <a:cs typeface="+mn-cs"/>
        </a:defRPr>
      </a:lvl3pPr>
      <a:lvl4pPr marL="1028066" algn="l" defTabSz="685377" rtl="0" eaLnBrk="1" latinLnBrk="0" hangingPunct="1">
        <a:defRPr sz="1349" kern="1200">
          <a:solidFill>
            <a:schemeClr val="tx1"/>
          </a:solidFill>
          <a:latin typeface="+mn-lt"/>
          <a:ea typeface="+mn-ea"/>
          <a:cs typeface="+mn-cs"/>
        </a:defRPr>
      </a:lvl4pPr>
      <a:lvl5pPr marL="1370754" algn="l" defTabSz="685377" rtl="0" eaLnBrk="1" latinLnBrk="0" hangingPunct="1">
        <a:defRPr sz="1349" kern="1200">
          <a:solidFill>
            <a:schemeClr val="tx1"/>
          </a:solidFill>
          <a:latin typeface="+mn-lt"/>
          <a:ea typeface="+mn-ea"/>
          <a:cs typeface="+mn-cs"/>
        </a:defRPr>
      </a:lvl5pPr>
      <a:lvl6pPr marL="1713442" algn="l" defTabSz="685377" rtl="0" eaLnBrk="1" latinLnBrk="0" hangingPunct="1">
        <a:defRPr sz="1349" kern="1200">
          <a:solidFill>
            <a:schemeClr val="tx1"/>
          </a:solidFill>
          <a:latin typeface="+mn-lt"/>
          <a:ea typeface="+mn-ea"/>
          <a:cs typeface="+mn-cs"/>
        </a:defRPr>
      </a:lvl6pPr>
      <a:lvl7pPr marL="2056130" algn="l" defTabSz="685377" rtl="0" eaLnBrk="1" latinLnBrk="0" hangingPunct="1">
        <a:defRPr sz="1349" kern="1200">
          <a:solidFill>
            <a:schemeClr val="tx1"/>
          </a:solidFill>
          <a:latin typeface="+mn-lt"/>
          <a:ea typeface="+mn-ea"/>
          <a:cs typeface="+mn-cs"/>
        </a:defRPr>
      </a:lvl7pPr>
      <a:lvl8pPr marL="2398819" algn="l" defTabSz="685377" rtl="0" eaLnBrk="1" latinLnBrk="0" hangingPunct="1">
        <a:defRPr sz="1349" kern="1200">
          <a:solidFill>
            <a:schemeClr val="tx1"/>
          </a:solidFill>
          <a:latin typeface="+mn-lt"/>
          <a:ea typeface="+mn-ea"/>
          <a:cs typeface="+mn-cs"/>
        </a:defRPr>
      </a:lvl8pPr>
      <a:lvl9pPr marL="2741507" algn="l" defTabSz="685377" rtl="0" eaLnBrk="1" latinLnBrk="0" hangingPunct="1">
        <a:defRPr sz="134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23.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15.xml"/><Relationship Id="rId5" Type="http://schemas.openxmlformats.org/officeDocument/2006/relationships/image" Target="../media/image25.emf"/><Relationship Id="rId4" Type="http://schemas.openxmlformats.org/officeDocument/2006/relationships/image" Target="../media/image2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6.xml.rels><?xml version="1.0" encoding="UTF-8" standalone="yes"?>
<Relationships xmlns="http://schemas.openxmlformats.org/package/2006/relationships"><Relationship Id="rId2" Type="http://schemas.openxmlformats.org/officeDocument/2006/relationships/hyperlink" Target="https://www.youtube.com/watch?v=TlRqRlKVa20" TargetMode="Externa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hyperlink" Target="https://www.youtube.com/watch?v=qogYi6bN6Gg" TargetMode="Externa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9.xml"/><Relationship Id="rId1" Type="http://schemas.openxmlformats.org/officeDocument/2006/relationships/slideLayout" Target="../slideLayouts/slideLayout6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5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5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7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4.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4.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2.emf"/><Relationship Id="rId5" Type="http://schemas.openxmlformats.org/officeDocument/2006/relationships/oleObject" Target="../embeddings/oleObject1.bin"/><Relationship Id="rId4" Type="http://schemas.openxmlformats.org/officeDocument/2006/relationships/notesSlide" Target="../notesSlides/notesSlide3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9353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5301F-B7F5-4353-874F-3239EEBBA980}"/>
              </a:ext>
            </a:extLst>
          </p:cNvPr>
          <p:cNvSpPr>
            <a:spLocks noGrp="1"/>
          </p:cNvSpPr>
          <p:nvPr>
            <p:ph type="title"/>
          </p:nvPr>
        </p:nvSpPr>
        <p:spPr/>
        <p:txBody>
          <a:bodyPr/>
          <a:lstStyle/>
          <a:p>
            <a:r>
              <a:rPr lang="en-US" dirty="0" err="1"/>
              <a:t>ရှေးဦးသူနာပြုစုခြင်း</a:t>
            </a:r>
            <a:endParaRPr lang="en-US" dirty="0"/>
          </a:p>
        </p:txBody>
      </p:sp>
      <p:sp>
        <p:nvSpPr>
          <p:cNvPr id="3" name="Content Placeholder 2">
            <a:extLst>
              <a:ext uri="{FF2B5EF4-FFF2-40B4-BE49-F238E27FC236}">
                <a16:creationId xmlns:a16="http://schemas.microsoft.com/office/drawing/2014/main" id="{94B932EF-7E33-4E86-AB30-9DB1634C533F}"/>
              </a:ext>
            </a:extLst>
          </p:cNvPr>
          <p:cNvSpPr>
            <a:spLocks noGrp="1"/>
          </p:cNvSpPr>
          <p:nvPr>
            <p:ph idx="1"/>
          </p:nvPr>
        </p:nvSpPr>
        <p:spPr/>
        <p:txBody>
          <a:bodyPr/>
          <a:lstStyle/>
          <a:p>
            <a:pPr marL="342900" indent="-342900">
              <a:lnSpc>
                <a:spcPct val="150000"/>
              </a:lnSpc>
              <a:buFont typeface="+mj-lt"/>
              <a:buAutoNum type="arabicPeriod"/>
            </a:pPr>
            <a:r>
              <a:rPr lang="en-US" sz="2000" dirty="0" err="1"/>
              <a:t>ရုပ်ပိုင်းဆိုင်ရာ</a:t>
            </a:r>
            <a:endParaRPr lang="en-US" sz="2000" dirty="0"/>
          </a:p>
          <a:p>
            <a:pPr>
              <a:lnSpc>
                <a:spcPct val="150000"/>
              </a:lnSpc>
            </a:pPr>
            <a:r>
              <a:rPr lang="en-US" sz="2000" b="0" i="0" dirty="0" err="1">
                <a:solidFill>
                  <a:srgbClr val="202124"/>
                </a:solidFill>
                <a:effectLst/>
                <a:latin typeface="Helvetica Neue"/>
              </a:rPr>
              <a:t>ဆေးရုံ</a:t>
            </a:r>
            <a:r>
              <a:rPr lang="en-US" sz="2000" b="0" i="0" dirty="0">
                <a:solidFill>
                  <a:srgbClr val="202124"/>
                </a:solidFill>
                <a:effectLst/>
                <a:latin typeface="Helvetica Neue"/>
              </a:rPr>
              <a:t> </a:t>
            </a:r>
            <a:r>
              <a:rPr lang="en-US" sz="2000" b="0" i="0" dirty="0" err="1">
                <a:solidFill>
                  <a:srgbClr val="202124"/>
                </a:solidFill>
                <a:effectLst/>
                <a:latin typeface="Helvetica Neue"/>
              </a:rPr>
              <a:t>ဆေးခန်းနှင</a:t>
            </a:r>
            <a:r>
              <a:rPr lang="en-US" sz="2000" b="0" i="0" dirty="0">
                <a:solidFill>
                  <a:srgbClr val="202124"/>
                </a:solidFill>
                <a:effectLst/>
                <a:latin typeface="Helvetica Neue"/>
              </a:rPr>
              <a:t>့် </a:t>
            </a:r>
            <a:r>
              <a:rPr lang="en-US" sz="2000" b="0" i="0" dirty="0" err="1">
                <a:solidFill>
                  <a:srgbClr val="202124"/>
                </a:solidFill>
                <a:effectLst/>
                <a:latin typeface="Helvetica Neue"/>
              </a:rPr>
              <a:t>ဆေးပညာရှင်များမရှိသောအချိန်နှင</a:t>
            </a:r>
            <a:r>
              <a:rPr lang="en-US" sz="2000" b="0" i="0" dirty="0">
                <a:solidFill>
                  <a:srgbClr val="202124"/>
                </a:solidFill>
                <a:effectLst/>
                <a:latin typeface="Helvetica Neue"/>
              </a:rPr>
              <a:t>့် </a:t>
            </a:r>
            <a:r>
              <a:rPr lang="en-US" sz="2000" b="0" i="0" dirty="0" err="1">
                <a:solidFill>
                  <a:srgbClr val="202124"/>
                </a:solidFill>
                <a:effectLst/>
                <a:latin typeface="Helvetica Neue"/>
              </a:rPr>
              <a:t>နေရာများတွင</a:t>
            </a:r>
            <a:r>
              <a:rPr lang="en-US" sz="2000" b="0" i="0" dirty="0">
                <a:solidFill>
                  <a:srgbClr val="202124"/>
                </a:solidFill>
                <a:effectLst/>
                <a:latin typeface="Helvetica Neue"/>
              </a:rPr>
              <a:t>် </a:t>
            </a:r>
            <a:r>
              <a:rPr lang="en-US" sz="2000" b="0" i="0" dirty="0" err="1">
                <a:solidFill>
                  <a:srgbClr val="202124"/>
                </a:solidFill>
                <a:effectLst/>
                <a:latin typeface="Helvetica Neue"/>
              </a:rPr>
              <a:t>ထိခိုက်ဒဏ်ရာရသူနှင</a:t>
            </a:r>
            <a:r>
              <a:rPr lang="en-US" sz="2000" b="0" i="0" dirty="0">
                <a:solidFill>
                  <a:srgbClr val="202124"/>
                </a:solidFill>
                <a:effectLst/>
                <a:latin typeface="Helvetica Neue"/>
              </a:rPr>
              <a:t>့် </a:t>
            </a:r>
            <a:r>
              <a:rPr lang="en-US" sz="2000" b="0" i="0" dirty="0" err="1">
                <a:solidFill>
                  <a:srgbClr val="202124"/>
                </a:solidFill>
                <a:effectLst/>
                <a:latin typeface="Helvetica Neue"/>
              </a:rPr>
              <a:t>ပြင်းထန်စွာနေမကောင်းဖြစ်သူများကို</a:t>
            </a:r>
            <a:r>
              <a:rPr lang="en-US" sz="2000" b="0" i="0" dirty="0">
                <a:solidFill>
                  <a:srgbClr val="202124"/>
                </a:solidFill>
                <a:effectLst/>
                <a:latin typeface="Helvetica Neue"/>
              </a:rPr>
              <a:t> </a:t>
            </a:r>
            <a:r>
              <a:rPr lang="en-US" sz="2000" b="0" i="0" dirty="0" err="1">
                <a:solidFill>
                  <a:srgbClr val="202124"/>
                </a:solidFill>
                <a:effectLst/>
                <a:latin typeface="Helvetica Neue"/>
              </a:rPr>
              <a:t>အရေးပေ</a:t>
            </a:r>
            <a:r>
              <a:rPr lang="en-US" sz="2000" b="0" dirty="0">
                <a:solidFill>
                  <a:srgbClr val="202124"/>
                </a:solidFill>
                <a:latin typeface="Helvetica Neue"/>
              </a:rPr>
              <a:t>ါ်</a:t>
            </a:r>
            <a:r>
              <a:rPr lang="en-US" sz="2000" b="0" dirty="0" err="1">
                <a:solidFill>
                  <a:srgbClr val="202124"/>
                </a:solidFill>
                <a:latin typeface="Helvetica Neue"/>
              </a:rPr>
              <a:t>ကုသမှုပေးခြင်း</a:t>
            </a:r>
            <a:r>
              <a:rPr lang="en-US" sz="2000" b="0" i="0" dirty="0">
                <a:solidFill>
                  <a:srgbClr val="202124"/>
                </a:solidFill>
                <a:effectLst/>
                <a:latin typeface="Helvetica Neue"/>
              </a:rPr>
              <a:t> </a:t>
            </a:r>
          </a:p>
          <a:p>
            <a:pPr>
              <a:lnSpc>
                <a:spcPct val="150000"/>
              </a:lnSpc>
            </a:pPr>
            <a:r>
              <a:rPr lang="en-US" sz="2000" dirty="0" err="1"/>
              <a:t>စိတ်ပိုင်းဆိုင်ရာ</a:t>
            </a:r>
            <a:endParaRPr lang="en-US" sz="2000" dirty="0"/>
          </a:p>
          <a:p>
            <a:pPr marL="0" lvl="1" indent="0" defTabSz="666750">
              <a:lnSpc>
                <a:spcPct val="150000"/>
              </a:lnSpc>
              <a:spcBef>
                <a:spcPct val="0"/>
              </a:spcBef>
              <a:spcAft>
                <a:spcPct val="15000"/>
              </a:spcAft>
              <a:buClrTx/>
              <a:buNone/>
              <a:defRPr/>
            </a:pPr>
            <a:r>
              <a:rPr lang="en-US" altLang="en-US" sz="2000" dirty="0" err="1">
                <a:solidFill>
                  <a:srgbClr val="000000">
                    <a:hueOff val="0"/>
                    <a:satOff val="0"/>
                    <a:lumOff val="0"/>
                    <a:alphaOff val="0"/>
                  </a:srgbClr>
                </a:solidFill>
                <a:latin typeface="Zawgyi-One" panose="020B0604030504040204" pitchFamily="34" charset="0"/>
                <a:cs typeface="Zawgyi-One" panose="020B0604030504040204" pitchFamily="34" charset="0"/>
              </a:rPr>
              <a:t>မၾကာေသးခင္ကာလအတြင္းမွာ</a:t>
            </a:r>
            <a:r>
              <a:rPr lang="en-US" altLang="en-US" sz="2000" dirty="0">
                <a:solidFill>
                  <a:srgbClr val="000000">
                    <a:hueOff val="0"/>
                    <a:satOff val="0"/>
                    <a:lumOff val="0"/>
                    <a:alphaOff val="0"/>
                  </a:srgbClr>
                </a:solidFill>
                <a:latin typeface="Zawgyi-One" panose="020B0604030504040204" pitchFamily="34" charset="0"/>
                <a:cs typeface="Zawgyi-One" panose="020B0604030504040204" pitchFamily="34" charset="0"/>
              </a:rPr>
              <a:t> ျ</a:t>
            </a:r>
            <a:r>
              <a:rPr lang="en-US" altLang="en-US" sz="2000" dirty="0" err="1">
                <a:solidFill>
                  <a:srgbClr val="000000">
                    <a:hueOff val="0"/>
                    <a:satOff val="0"/>
                    <a:lumOff val="0"/>
                    <a:alphaOff val="0"/>
                  </a:srgbClr>
                </a:solidFill>
                <a:latin typeface="Zawgyi-One" panose="020B0604030504040204" pitchFamily="34" charset="0"/>
                <a:cs typeface="Zawgyi-One" panose="020B0604030504040204" pitchFamily="34" charset="0"/>
              </a:rPr>
              <a:t>ပင္းထန္ေသာ</a:t>
            </a:r>
            <a:r>
              <a:rPr lang="en-US" altLang="en-US" sz="2000" dirty="0">
                <a:solidFill>
                  <a:srgbClr val="000000">
                    <a:hueOff val="0"/>
                    <a:satOff val="0"/>
                    <a:lumOff val="0"/>
                    <a:alphaOff val="0"/>
                  </a:srgbClr>
                </a:solidFill>
                <a:latin typeface="Zawgyi-One" panose="020B0604030504040204" pitchFamily="34" charset="0"/>
                <a:cs typeface="Zawgyi-One" panose="020B0604030504040204" pitchFamily="34" charset="0"/>
              </a:rPr>
              <a:t> </a:t>
            </a:r>
            <a:r>
              <a:rPr lang="en-US" altLang="en-US" sz="2000" dirty="0" err="1">
                <a:solidFill>
                  <a:srgbClr val="000000">
                    <a:hueOff val="0"/>
                    <a:satOff val="0"/>
                    <a:lumOff val="0"/>
                    <a:alphaOff val="0"/>
                  </a:srgbClr>
                </a:solidFill>
                <a:latin typeface="Zawgyi-One" panose="020B0604030504040204" pitchFamily="34" charset="0"/>
                <a:cs typeface="Zawgyi-One" panose="020B0604030504040204" pitchFamily="34" charset="0"/>
              </a:rPr>
              <a:t>စိတ္ဖိစီးမ</a:t>
            </a:r>
            <a:r>
              <a:rPr lang="en-US" altLang="en-US" sz="2000" dirty="0">
                <a:solidFill>
                  <a:srgbClr val="000000">
                    <a:hueOff val="0"/>
                    <a:satOff val="0"/>
                    <a:lumOff val="0"/>
                    <a:alphaOff val="0"/>
                  </a:srgbClr>
                </a:solidFill>
                <a:latin typeface="Zawgyi-One" panose="020B0604030504040204" pitchFamily="34" charset="0"/>
                <a:cs typeface="Zawgyi-One" panose="020B0604030504040204" pitchFamily="34" charset="0"/>
              </a:rPr>
              <a:t>ႈ </a:t>
            </a:r>
            <a:r>
              <a:rPr lang="en-US" altLang="en-US" sz="2000" dirty="0" err="1">
                <a:solidFill>
                  <a:srgbClr val="000000">
                    <a:hueOff val="0"/>
                    <a:satOff val="0"/>
                    <a:lumOff val="0"/>
                    <a:alphaOff val="0"/>
                  </a:srgbClr>
                </a:solidFill>
                <a:latin typeface="Zawgyi-One" panose="020B0604030504040204" pitchFamily="34" charset="0"/>
                <a:cs typeface="Zawgyi-One" panose="020B0604030504040204" pitchFamily="34" charset="0"/>
              </a:rPr>
              <a:t>အေျခအေနကို</a:t>
            </a:r>
            <a:r>
              <a:rPr lang="en-US" altLang="en-US" sz="2000" dirty="0">
                <a:solidFill>
                  <a:srgbClr val="000000">
                    <a:hueOff val="0"/>
                    <a:satOff val="0"/>
                    <a:lumOff val="0"/>
                    <a:alphaOff val="0"/>
                  </a:srgbClr>
                </a:solidFill>
                <a:latin typeface="Zawgyi-One" panose="020B0604030504040204" pitchFamily="34" charset="0"/>
                <a:cs typeface="Zawgyi-One" panose="020B0604030504040204" pitchFamily="34" charset="0"/>
              </a:rPr>
              <a:t> ႀ</a:t>
            </a:r>
            <a:r>
              <a:rPr lang="en-US" altLang="en-US" sz="2000" dirty="0" err="1">
                <a:solidFill>
                  <a:srgbClr val="000000">
                    <a:hueOff val="0"/>
                    <a:satOff val="0"/>
                    <a:lumOff val="0"/>
                    <a:alphaOff val="0"/>
                  </a:srgbClr>
                </a:solidFill>
                <a:latin typeface="Zawgyi-One" panose="020B0604030504040204" pitchFamily="34" charset="0"/>
                <a:cs typeface="Zawgyi-One" panose="020B0604030504040204" pitchFamily="34" charset="0"/>
              </a:rPr>
              <a:t>ကံဳေတ</a:t>
            </a:r>
            <a:r>
              <a:rPr lang="en-US" altLang="en-US" sz="2000" dirty="0">
                <a:solidFill>
                  <a:srgbClr val="000000">
                    <a:hueOff val="0"/>
                    <a:satOff val="0"/>
                    <a:lumOff val="0"/>
                    <a:alphaOff val="0"/>
                  </a:srgbClr>
                </a:solidFill>
                <a:latin typeface="Zawgyi-One" panose="020B0604030504040204" pitchFamily="34" charset="0"/>
                <a:cs typeface="Zawgyi-One" panose="020B0604030504040204" pitchFamily="34" charset="0"/>
              </a:rPr>
              <a:t>ြ႕</a:t>
            </a:r>
            <a:r>
              <a:rPr lang="en-US" altLang="en-US" sz="2000" dirty="0" err="1">
                <a:solidFill>
                  <a:srgbClr val="000000">
                    <a:hueOff val="0"/>
                    <a:satOff val="0"/>
                    <a:lumOff val="0"/>
                    <a:alphaOff val="0"/>
                  </a:srgbClr>
                </a:solidFill>
                <a:latin typeface="Zawgyi-One" panose="020B0604030504040204" pitchFamily="34" charset="0"/>
                <a:cs typeface="Zawgyi-One" panose="020B0604030504040204" pitchFamily="34" charset="0"/>
              </a:rPr>
              <a:t>ခံစားခဲ့ရသူမ်ားအား</a:t>
            </a:r>
            <a:r>
              <a:rPr lang="en-US" altLang="en-US" sz="2000" dirty="0">
                <a:solidFill>
                  <a:srgbClr val="000000">
                    <a:hueOff val="0"/>
                    <a:satOff val="0"/>
                    <a:lumOff val="0"/>
                    <a:alphaOff val="0"/>
                  </a:srgbClr>
                </a:solidFill>
                <a:latin typeface="Zawgyi-One" panose="020B0604030504040204" pitchFamily="34" charset="0"/>
                <a:cs typeface="Zawgyi-One" panose="020B0604030504040204" pitchFamily="34" charset="0"/>
              </a:rPr>
              <a:t> </a:t>
            </a:r>
            <a:r>
              <a:rPr lang="en-US" altLang="en-US" sz="2000" dirty="0" err="1">
                <a:solidFill>
                  <a:srgbClr val="FF0000"/>
                </a:solidFill>
                <a:latin typeface="Zawgyi-One" panose="020B0604030504040204" pitchFamily="34" charset="0"/>
                <a:cs typeface="Zawgyi-One" panose="020B0604030504040204" pitchFamily="34" charset="0"/>
              </a:rPr>
              <a:t>လူသားခ်င္းစာနာေထာက္ထားမ</a:t>
            </a:r>
            <a:r>
              <a:rPr lang="en-US" altLang="en-US" sz="2000" dirty="0">
                <a:solidFill>
                  <a:srgbClr val="FF0000"/>
                </a:solidFill>
                <a:latin typeface="Zawgyi-One" panose="020B0604030504040204" pitchFamily="34" charset="0"/>
                <a:cs typeface="Zawgyi-One" panose="020B0604030504040204" pitchFamily="34" charset="0"/>
              </a:rPr>
              <a:t>ႈ၊ </a:t>
            </a:r>
            <a:r>
              <a:rPr lang="en-US" altLang="en-US" sz="2000" dirty="0" err="1">
                <a:solidFill>
                  <a:srgbClr val="FF0000"/>
                </a:solidFill>
                <a:latin typeface="Zawgyi-One" panose="020B0604030504040204" pitchFamily="34" charset="0"/>
                <a:cs typeface="Zawgyi-One" panose="020B0604030504040204" pitchFamily="34" charset="0"/>
              </a:rPr>
              <a:t>ပံ့ပုိးမ</a:t>
            </a:r>
            <a:r>
              <a:rPr lang="en-US" altLang="en-US" sz="2000" dirty="0">
                <a:solidFill>
                  <a:srgbClr val="FF0000"/>
                </a:solidFill>
                <a:latin typeface="Zawgyi-One" panose="020B0604030504040204" pitchFamily="34" charset="0"/>
                <a:cs typeface="Zawgyi-One" panose="020B0604030504040204" pitchFamily="34" charset="0"/>
              </a:rPr>
              <a:t>ႈႏွင့္ </a:t>
            </a:r>
            <a:r>
              <a:rPr lang="en-US" altLang="en-US" sz="2000" dirty="0" err="1">
                <a:solidFill>
                  <a:srgbClr val="FF0000"/>
                </a:solidFill>
                <a:latin typeface="Zawgyi-One" panose="020B0604030504040204" pitchFamily="34" charset="0"/>
                <a:cs typeface="Zawgyi-One" panose="020B0604030504040204" pitchFamily="34" charset="0"/>
              </a:rPr>
              <a:t>လက္ေတ</a:t>
            </a:r>
            <a:r>
              <a:rPr lang="en-US" altLang="en-US" sz="2000" dirty="0">
                <a:solidFill>
                  <a:srgbClr val="FF0000"/>
                </a:solidFill>
                <a:latin typeface="Zawgyi-One" panose="020B0604030504040204" pitchFamily="34" charset="0"/>
                <a:cs typeface="Zawgyi-One" panose="020B0604030504040204" pitchFamily="34" charset="0"/>
              </a:rPr>
              <a:t>ြ႕</a:t>
            </a:r>
            <a:r>
              <a:rPr lang="en-US" altLang="en-US" sz="2000" dirty="0" err="1">
                <a:solidFill>
                  <a:srgbClr val="FF0000"/>
                </a:solidFill>
                <a:latin typeface="Zawgyi-One" panose="020B0604030504040204" pitchFamily="34" charset="0"/>
                <a:cs typeface="Zawgyi-One" panose="020B0604030504040204" pitchFamily="34" charset="0"/>
              </a:rPr>
              <a:t>က်ေသာ</a:t>
            </a:r>
            <a:r>
              <a:rPr lang="en-US" altLang="en-US" sz="2000" dirty="0">
                <a:solidFill>
                  <a:srgbClr val="FF0000"/>
                </a:solidFill>
                <a:latin typeface="Zawgyi-One" panose="020B0604030504040204" pitchFamily="34" charset="0"/>
                <a:cs typeface="Zawgyi-One" panose="020B0604030504040204" pitchFamily="34" charset="0"/>
              </a:rPr>
              <a:t> </a:t>
            </a:r>
            <a:r>
              <a:rPr lang="en-US" altLang="en-US" sz="2000" dirty="0" err="1">
                <a:solidFill>
                  <a:srgbClr val="000000">
                    <a:hueOff val="0"/>
                    <a:satOff val="0"/>
                    <a:lumOff val="0"/>
                    <a:alphaOff val="0"/>
                  </a:srgbClr>
                </a:solidFill>
                <a:latin typeface="Zawgyi-One" panose="020B0604030504040204" pitchFamily="34" charset="0"/>
                <a:cs typeface="Zawgyi-One" panose="020B0604030504040204" pitchFamily="34" charset="0"/>
              </a:rPr>
              <a:t>အကူအညီေပးမ</a:t>
            </a:r>
            <a:r>
              <a:rPr lang="en-US" altLang="en-US" sz="2000" dirty="0">
                <a:solidFill>
                  <a:srgbClr val="000000">
                    <a:hueOff val="0"/>
                    <a:satOff val="0"/>
                    <a:lumOff val="0"/>
                    <a:alphaOff val="0"/>
                  </a:srgbClr>
                </a:solidFill>
                <a:latin typeface="Zawgyi-One" panose="020B0604030504040204" pitchFamily="34" charset="0"/>
                <a:cs typeface="Zawgyi-One" panose="020B0604030504040204" pitchFamily="34" charset="0"/>
              </a:rPr>
              <a:t>ႈ </a:t>
            </a:r>
          </a:p>
          <a:p>
            <a:pPr>
              <a:lnSpc>
                <a:spcPct val="150000"/>
              </a:lnSpc>
            </a:pPr>
            <a:endParaRPr lang="en-US" sz="2000" dirty="0"/>
          </a:p>
          <a:p>
            <a:pPr>
              <a:lnSpc>
                <a:spcPct val="150000"/>
              </a:lnSpc>
            </a:pPr>
            <a:endParaRPr lang="en-US" sz="2000" dirty="0"/>
          </a:p>
        </p:txBody>
      </p:sp>
      <p:sp>
        <p:nvSpPr>
          <p:cNvPr id="4" name="object 6">
            <a:extLst>
              <a:ext uri="{FF2B5EF4-FFF2-40B4-BE49-F238E27FC236}">
                <a16:creationId xmlns:a16="http://schemas.microsoft.com/office/drawing/2014/main" id="{1EC1381F-3BF2-4CB3-A27D-FB7FEF3A1C28}"/>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 name="object 7">
            <a:extLst>
              <a:ext uri="{FF2B5EF4-FFF2-40B4-BE49-F238E27FC236}">
                <a16:creationId xmlns:a16="http://schemas.microsoft.com/office/drawing/2014/main" id="{536291D4-AA97-457C-8361-77E29AF5BB30}"/>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9</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42600399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object 3">
            <a:extLst>
              <a:ext uri="{FF2B5EF4-FFF2-40B4-BE49-F238E27FC236}">
                <a16:creationId xmlns:a16="http://schemas.microsoft.com/office/drawing/2014/main" id="{2FF596D0-D0D6-4480-8E2C-3F7929268D2C}"/>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56" name="object 4">
            <a:extLst>
              <a:ext uri="{FF2B5EF4-FFF2-40B4-BE49-F238E27FC236}">
                <a16:creationId xmlns:a16="http://schemas.microsoft.com/office/drawing/2014/main" id="{91ED1A09-8F5A-4940-BE5F-1574B1F60ADF}"/>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57" name="object 6">
            <a:extLst>
              <a:ext uri="{FF2B5EF4-FFF2-40B4-BE49-F238E27FC236}">
                <a16:creationId xmlns:a16="http://schemas.microsoft.com/office/drawing/2014/main" id="{D1358003-0974-4241-AD8A-391BDA65130E}"/>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58" name="object 7">
            <a:extLst>
              <a:ext uri="{FF2B5EF4-FFF2-40B4-BE49-F238E27FC236}">
                <a16:creationId xmlns:a16="http://schemas.microsoft.com/office/drawing/2014/main" id="{A358FE6E-FB49-4253-B65F-7CA813DFD846}"/>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0</a:t>
            </a:r>
            <a:endParaRPr lang="en-US" altLang="en-US" sz="2021" dirty="0">
              <a:latin typeface="Gill Sans" pitchFamily="34" charset="0"/>
              <a:cs typeface="Gill Sans" pitchFamily="34" charset="0"/>
            </a:endParaRPr>
          </a:p>
        </p:txBody>
      </p:sp>
      <p:sp>
        <p:nvSpPr>
          <p:cNvPr id="23559" name="object 8">
            <a:extLst>
              <a:ext uri="{FF2B5EF4-FFF2-40B4-BE49-F238E27FC236}">
                <a16:creationId xmlns:a16="http://schemas.microsoft.com/office/drawing/2014/main" id="{2E1AD35A-FE67-4BA6-80E6-0D20501ACCA7}"/>
              </a:ext>
            </a:extLst>
          </p:cNvPr>
          <p:cNvSpPr>
            <a:spLocks/>
          </p:cNvSpPr>
          <p:nvPr/>
        </p:nvSpPr>
        <p:spPr bwMode="auto">
          <a:xfrm>
            <a:off x="7137332" y="6343651"/>
            <a:ext cx="116440" cy="163198"/>
          </a:xfrm>
          <a:custGeom>
            <a:avLst/>
            <a:gdLst>
              <a:gd name="T0" fmla="*/ 5640 w 201527"/>
              <a:gd name="T1" fmla="*/ 196283 h 282176"/>
              <a:gd name="T2" fmla="*/ 8677 w 201527"/>
              <a:gd name="T3" fmla="*/ 257130 h 282176"/>
              <a:gd name="T4" fmla="*/ 49711 w 201527"/>
              <a:gd name="T5" fmla="*/ 274727 h 282176"/>
              <a:gd name="T6" fmla="*/ 90485 w 201527"/>
              <a:gd name="T7" fmla="*/ 281658 h 282176"/>
              <a:gd name="T8" fmla="*/ 107731 w 201527"/>
              <a:gd name="T9" fmla="*/ 282176 h 282176"/>
              <a:gd name="T10" fmla="*/ 123607 w 201527"/>
              <a:gd name="T11" fmla="*/ 281179 h 282176"/>
              <a:gd name="T12" fmla="*/ 165022 w 201527"/>
              <a:gd name="T13" fmla="*/ 269253 h 282176"/>
              <a:gd name="T14" fmla="*/ 194586 w 201527"/>
              <a:gd name="T15" fmla="*/ 243732 h 282176"/>
              <a:gd name="T16" fmla="*/ 201527 w 201527"/>
              <a:gd name="T17" fmla="*/ 231399 h 282176"/>
              <a:gd name="T18" fmla="*/ 89385 w 201527"/>
              <a:gd name="T19" fmla="*/ 231399 h 282176"/>
              <a:gd name="T20" fmla="*/ 78461 w 201527"/>
              <a:gd name="T21" fmla="*/ 230048 h 282176"/>
              <a:gd name="T22" fmla="*/ 33026 w 201527"/>
              <a:gd name="T23" fmla="*/ 213043 h 282176"/>
              <a:gd name="T24" fmla="*/ 19938 w 201527"/>
              <a:gd name="T25" fmla="*/ 205428 h 282176"/>
              <a:gd name="T26" fmla="*/ 5640 w 201527"/>
              <a:gd name="T27" fmla="*/ 196283 h 282176"/>
              <a:gd name="T28" fmla="*/ 97394 w 201527"/>
              <a:gd name="T29" fmla="*/ 0 h 282176"/>
              <a:gd name="T30" fmla="*/ 50135 w 201527"/>
              <a:gd name="T31" fmla="*/ 9503 h 282176"/>
              <a:gd name="T32" fmla="*/ 17155 w 201527"/>
              <a:gd name="T33" fmla="*/ 32415 h 282176"/>
              <a:gd name="T34" fmla="*/ 0 w 201527"/>
              <a:gd name="T35" fmla="*/ 80392 h 282176"/>
              <a:gd name="T36" fmla="*/ 1613 w 201527"/>
              <a:gd name="T37" fmla="*/ 96400 h 282176"/>
              <a:gd name="T38" fmla="*/ 20167 w 201527"/>
              <a:gd name="T39" fmla="*/ 132500 h 282176"/>
              <a:gd name="T40" fmla="*/ 52208 w 201527"/>
              <a:gd name="T41" fmla="*/ 155308 h 282176"/>
              <a:gd name="T42" fmla="*/ 100167 w 201527"/>
              <a:gd name="T43" fmla="*/ 175259 h 282176"/>
              <a:gd name="T44" fmla="*/ 110843 w 201527"/>
              <a:gd name="T45" fmla="*/ 179838 h 282176"/>
              <a:gd name="T46" fmla="*/ 139478 w 201527"/>
              <a:gd name="T47" fmla="*/ 211224 h 282176"/>
              <a:gd name="T48" fmla="*/ 135082 w 201527"/>
              <a:gd name="T49" fmla="*/ 219958 h 282176"/>
              <a:gd name="T50" fmla="*/ 125635 w 201527"/>
              <a:gd name="T51" fmla="*/ 226358 h 282176"/>
              <a:gd name="T52" fmla="*/ 110587 w 201527"/>
              <a:gd name="T53" fmla="*/ 230235 h 282176"/>
              <a:gd name="T54" fmla="*/ 89385 w 201527"/>
              <a:gd name="T55" fmla="*/ 231399 h 282176"/>
              <a:gd name="T56" fmla="*/ 201527 w 201527"/>
              <a:gd name="T57" fmla="*/ 231399 h 282176"/>
              <a:gd name="T58" fmla="*/ 206103 w 201527"/>
              <a:gd name="T59" fmla="*/ 219047 h 282176"/>
              <a:gd name="T60" fmla="*/ 209043 w 201527"/>
              <a:gd name="T61" fmla="*/ 204376 h 282176"/>
              <a:gd name="T62" fmla="*/ 209942 w 201527"/>
              <a:gd name="T63" fmla="*/ 188141 h 282176"/>
              <a:gd name="T64" fmla="*/ 206744 w 201527"/>
              <a:gd name="T65" fmla="*/ 173333 h 282176"/>
              <a:gd name="T66" fmla="*/ 184021 w 201527"/>
              <a:gd name="T67" fmla="*/ 139885 h 282176"/>
              <a:gd name="T68" fmla="*/ 149308 w 201527"/>
              <a:gd name="T69" fmla="*/ 118293 h 282176"/>
              <a:gd name="T70" fmla="*/ 112516 w 201527"/>
              <a:gd name="T71" fmla="*/ 102634 h 282176"/>
              <a:gd name="T72" fmla="*/ 101503 w 201527"/>
              <a:gd name="T73" fmla="*/ 97708 h 282176"/>
              <a:gd name="T74" fmla="*/ 72331 w 201527"/>
              <a:gd name="T75" fmla="*/ 65412 h 282176"/>
              <a:gd name="T76" fmla="*/ 80154 w 201527"/>
              <a:gd name="T77" fmla="*/ 57314 h 282176"/>
              <a:gd name="T78" fmla="*/ 93652 w 201527"/>
              <a:gd name="T79" fmla="*/ 52113 h 282176"/>
              <a:gd name="T80" fmla="*/ 112174 w 201527"/>
              <a:gd name="T81" fmla="*/ 50278 h 282176"/>
              <a:gd name="T82" fmla="*/ 197432 w 201527"/>
              <a:gd name="T83" fmla="*/ 50278 h 282176"/>
              <a:gd name="T84" fmla="*/ 196707 w 201527"/>
              <a:gd name="T85" fmla="*/ 20659 h 282176"/>
              <a:gd name="T86" fmla="*/ 160233 w 201527"/>
              <a:gd name="T87" fmla="*/ 7703 h 282176"/>
              <a:gd name="T88" fmla="*/ 111068 w 201527"/>
              <a:gd name="T89" fmla="*/ 250 h 282176"/>
              <a:gd name="T90" fmla="*/ 97394 w 201527"/>
              <a:gd name="T91" fmla="*/ 0 h 282176"/>
              <a:gd name="T92" fmla="*/ 197432 w 201527"/>
              <a:gd name="T93" fmla="*/ 50278 h 282176"/>
              <a:gd name="T94" fmla="*/ 112174 w 201527"/>
              <a:gd name="T95" fmla="*/ 50278 h 282176"/>
              <a:gd name="T96" fmla="*/ 122111 w 201527"/>
              <a:gd name="T97" fmla="*/ 50802 h 282176"/>
              <a:gd name="T98" fmla="*/ 132391 w 201527"/>
              <a:gd name="T99" fmla="*/ 52212 h 282176"/>
              <a:gd name="T100" fmla="*/ 182137 w 201527"/>
              <a:gd name="T101" fmla="*/ 68036 h 282176"/>
              <a:gd name="T102" fmla="*/ 198033 w 201527"/>
              <a:gd name="T103" fmla="*/ 74871 h 282176"/>
              <a:gd name="T104" fmla="*/ 197432 w 201527"/>
              <a:gd name="T105" fmla="*/ 50278 h 28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0" name="object 9">
            <a:extLst>
              <a:ext uri="{FF2B5EF4-FFF2-40B4-BE49-F238E27FC236}">
                <a16:creationId xmlns:a16="http://schemas.microsoft.com/office/drawing/2014/main" id="{F919E80B-3D50-495B-975C-98C2B9151B49}"/>
              </a:ext>
            </a:extLst>
          </p:cNvPr>
          <p:cNvSpPr>
            <a:spLocks/>
          </p:cNvSpPr>
          <p:nvPr/>
        </p:nvSpPr>
        <p:spPr bwMode="auto">
          <a:xfrm>
            <a:off x="7271192" y="6394994"/>
            <a:ext cx="115522" cy="111855"/>
          </a:xfrm>
          <a:custGeom>
            <a:avLst/>
            <a:gdLst>
              <a:gd name="T0" fmla="*/ 66476 w 200263"/>
              <a:gd name="T1" fmla="*/ 39675 h 192883"/>
              <a:gd name="T2" fmla="*/ 100495 w 200263"/>
              <a:gd name="T3" fmla="*/ 46500 h 192883"/>
              <a:gd name="T4" fmla="*/ 110000 w 200263"/>
              <a:gd name="T5" fmla="*/ 65236 h 192883"/>
              <a:gd name="T6" fmla="*/ 55446 w 200263"/>
              <a:gd name="T7" fmla="*/ 85753 h 192883"/>
              <a:gd name="T8" fmla="*/ 0 w 200263"/>
              <a:gd name="T9" fmla="*/ 137558 h 192883"/>
              <a:gd name="T10" fmla="*/ 24597 w 200263"/>
              <a:gd name="T11" fmla="*/ 185847 h 192883"/>
              <a:gd name="T12" fmla="*/ 63017 w 200263"/>
              <a:gd name="T13" fmla="*/ 192206 h 192883"/>
              <a:gd name="T14" fmla="*/ 86370 w 200263"/>
              <a:gd name="T15" fmla="*/ 186242 h 192883"/>
              <a:gd name="T16" fmla="*/ 111205 w 200263"/>
              <a:gd name="T17" fmla="*/ 172930 h 192883"/>
              <a:gd name="T18" fmla="*/ 197471 w 200263"/>
              <a:gd name="T19" fmla="*/ 156999 h 192883"/>
              <a:gd name="T20" fmla="*/ 69768 w 200263"/>
              <a:gd name="T21" fmla="*/ 154725 h 192883"/>
              <a:gd name="T22" fmla="*/ 61380 w 200263"/>
              <a:gd name="T23" fmla="*/ 134110 h 192883"/>
              <a:gd name="T24" fmla="*/ 73272 w 200263"/>
              <a:gd name="T25" fmla="*/ 116262 h 192883"/>
              <a:gd name="T26" fmla="*/ 99093 w 200263"/>
              <a:gd name="T27" fmla="*/ 103309 h 192883"/>
              <a:gd name="T28" fmla="*/ 168398 w 200263"/>
              <a:gd name="T29" fmla="*/ 56143 h 192883"/>
              <a:gd name="T30" fmla="*/ 166143 w 200263"/>
              <a:gd name="T31" fmla="*/ 39675 h 192883"/>
              <a:gd name="T32" fmla="*/ 111205 w 200263"/>
              <a:gd name="T33" fmla="*/ 172930 h 192883"/>
              <a:gd name="T34" fmla="*/ 128176 w 200263"/>
              <a:gd name="T35" fmla="*/ 190465 h 192883"/>
              <a:gd name="T36" fmla="*/ 155289 w 200263"/>
              <a:gd name="T37" fmla="*/ 191925 h 192883"/>
              <a:gd name="T38" fmla="*/ 180758 w 200263"/>
              <a:gd name="T39" fmla="*/ 185216 h 192883"/>
              <a:gd name="T40" fmla="*/ 194234 w 200263"/>
              <a:gd name="T41" fmla="*/ 172930 h 192883"/>
              <a:gd name="T42" fmla="*/ 99093 w 200263"/>
              <a:gd name="T43" fmla="*/ 103309 h 192883"/>
              <a:gd name="T44" fmla="*/ 98785 w 200263"/>
              <a:gd name="T45" fmla="*/ 152179 h 192883"/>
              <a:gd name="T46" fmla="*/ 197471 w 200263"/>
              <a:gd name="T47" fmla="*/ 156999 h 192883"/>
              <a:gd name="T48" fmla="*/ 172031 w 200263"/>
              <a:gd name="T49" fmla="*/ 153755 h 192883"/>
              <a:gd name="T50" fmla="*/ 168398 w 200263"/>
              <a:gd name="T51" fmla="*/ 103309 h 192883"/>
              <a:gd name="T52" fmla="*/ 186547 w 200263"/>
              <a:gd name="T53" fmla="*/ 152942 h 192883"/>
              <a:gd name="T54" fmla="*/ 198131 w 200263"/>
              <a:gd name="T55" fmla="*/ 153755 h 192883"/>
              <a:gd name="T56" fmla="*/ 100921 w 200263"/>
              <a:gd name="T57" fmla="*/ 0 h 192883"/>
              <a:gd name="T58" fmla="*/ 13527 w 200263"/>
              <a:gd name="T59" fmla="*/ 19618 h 192883"/>
              <a:gd name="T60" fmla="*/ 19103 w 200263"/>
              <a:gd name="T61" fmla="*/ 60877 h 192883"/>
              <a:gd name="T62" fmla="*/ 41987 w 200263"/>
              <a:gd name="T63" fmla="*/ 47029 h 192883"/>
              <a:gd name="T64" fmla="*/ 66476 w 200263"/>
              <a:gd name="T65" fmla="*/ 39675 h 192883"/>
              <a:gd name="T66" fmla="*/ 162125 w 200263"/>
              <a:gd name="T67" fmla="*/ 29081 h 192883"/>
              <a:gd name="T68" fmla="*/ 144530 w 200263"/>
              <a:gd name="T69" fmla="*/ 11338 h 192883"/>
              <a:gd name="T70" fmla="*/ 117446 w 200263"/>
              <a:gd name="T71" fmla="*/ 1909 h 19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1" name="object 10">
            <a:extLst>
              <a:ext uri="{FF2B5EF4-FFF2-40B4-BE49-F238E27FC236}">
                <a16:creationId xmlns:a16="http://schemas.microsoft.com/office/drawing/2014/main" id="{E1A757E5-71C7-4DC9-9F6D-1358F3AC2E44}"/>
              </a:ext>
            </a:extLst>
          </p:cNvPr>
          <p:cNvSpPr>
            <a:spLocks/>
          </p:cNvSpPr>
          <p:nvPr/>
        </p:nvSpPr>
        <p:spPr bwMode="auto">
          <a:xfrm>
            <a:off x="7382130" y="6396827"/>
            <a:ext cx="118273" cy="110021"/>
          </a:xfrm>
          <a:custGeom>
            <a:avLst/>
            <a:gdLst>
              <a:gd name="T0" fmla="*/ 62522 w 204089"/>
              <a:gd name="T1" fmla="*/ 0 h 189572"/>
              <a:gd name="T2" fmla="*/ 0 w 204089"/>
              <a:gd name="T3" fmla="*/ 0 h 189572"/>
              <a:gd name="T4" fmla="*/ 85915 w 204089"/>
              <a:gd name="T5" fmla="*/ 189572 h 189572"/>
              <a:gd name="T6" fmla="*/ 118579 w 204089"/>
              <a:gd name="T7" fmla="*/ 189572 h 189572"/>
              <a:gd name="T8" fmla="*/ 157877 w 204089"/>
              <a:gd name="T9" fmla="*/ 102450 h 189572"/>
              <a:gd name="T10" fmla="*/ 102044 w 204089"/>
              <a:gd name="T11" fmla="*/ 102450 h 189572"/>
              <a:gd name="T12" fmla="*/ 62522 w 204089"/>
              <a:gd name="T13" fmla="*/ 0 h 189572"/>
              <a:gd name="T14" fmla="*/ 204089 w 204089"/>
              <a:gd name="T15" fmla="*/ 0 h 189572"/>
              <a:gd name="T16" fmla="*/ 141986 w 204089"/>
              <a:gd name="T17" fmla="*/ 0 h 189572"/>
              <a:gd name="T18" fmla="*/ 102044 w 204089"/>
              <a:gd name="T19" fmla="*/ 102450 h 189572"/>
              <a:gd name="T20" fmla="*/ 157877 w 204089"/>
              <a:gd name="T21" fmla="*/ 102450 h 189572"/>
              <a:gd name="T22" fmla="*/ 204089 w 204089"/>
              <a:gd name="T23" fmla="*/ 0 h 189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2" name="object 11">
            <a:extLst>
              <a:ext uri="{FF2B5EF4-FFF2-40B4-BE49-F238E27FC236}">
                <a16:creationId xmlns:a16="http://schemas.microsoft.com/office/drawing/2014/main" id="{7B3B0E66-25CC-47D9-9495-6C4996AC5655}"/>
              </a:ext>
            </a:extLst>
          </p:cNvPr>
          <p:cNvSpPr>
            <a:spLocks/>
          </p:cNvSpPr>
          <p:nvPr/>
        </p:nvSpPr>
        <p:spPr bwMode="auto">
          <a:xfrm>
            <a:off x="7504988" y="6394994"/>
            <a:ext cx="111855" cy="111855"/>
          </a:xfrm>
          <a:custGeom>
            <a:avLst/>
            <a:gdLst>
              <a:gd name="T0" fmla="*/ 105811 w 193899"/>
              <a:gd name="T1" fmla="*/ 0 h 192654"/>
              <a:gd name="T2" fmla="*/ 59491 w 193899"/>
              <a:gd name="T3" fmla="*/ 7868 h 192654"/>
              <a:gd name="T4" fmla="*/ 25263 w 193899"/>
              <a:gd name="T5" fmla="*/ 30129 h 192654"/>
              <a:gd name="T6" fmla="*/ 4935 w 193899"/>
              <a:gd name="T7" fmla="*/ 64103 h 192654"/>
              <a:gd name="T8" fmla="*/ 0 w 193899"/>
              <a:gd name="T9" fmla="*/ 91936 h 192654"/>
              <a:gd name="T10" fmla="*/ 901 w 193899"/>
              <a:gd name="T11" fmla="*/ 107638 h 192654"/>
              <a:gd name="T12" fmla="*/ 14163 w 193899"/>
              <a:gd name="T13" fmla="*/ 147563 h 192654"/>
              <a:gd name="T14" fmla="*/ 41700 w 193899"/>
              <a:gd name="T15" fmla="*/ 175697 h 192654"/>
              <a:gd name="T16" fmla="*/ 81507 w 193899"/>
              <a:gd name="T17" fmla="*/ 190725 h 192654"/>
              <a:gd name="T18" fmla="*/ 107477 w 193899"/>
              <a:gd name="T19" fmla="*/ 192654 h 192654"/>
              <a:gd name="T20" fmla="*/ 118685 w 193899"/>
              <a:gd name="T21" fmla="*/ 192350 h 192654"/>
              <a:gd name="T22" fmla="*/ 169205 w 193899"/>
              <a:gd name="T23" fmla="*/ 180923 h 192654"/>
              <a:gd name="T24" fmla="*/ 185590 w 193899"/>
              <a:gd name="T25" fmla="*/ 157804 h 192654"/>
              <a:gd name="T26" fmla="*/ 131343 w 193899"/>
              <a:gd name="T27" fmla="*/ 157804 h 192654"/>
              <a:gd name="T28" fmla="*/ 112847 w 193899"/>
              <a:gd name="T29" fmla="*/ 156783 h 192654"/>
              <a:gd name="T30" fmla="*/ 74410 w 193899"/>
              <a:gd name="T31" fmla="*/ 140121 h 192654"/>
              <a:gd name="T32" fmla="*/ 60396 w 193899"/>
              <a:gd name="T33" fmla="*/ 105806 h 192654"/>
              <a:gd name="T34" fmla="*/ 193899 w 193899"/>
              <a:gd name="T35" fmla="*/ 105806 h 192654"/>
              <a:gd name="T36" fmla="*/ 193591 w 193899"/>
              <a:gd name="T37" fmla="*/ 88898 h 192654"/>
              <a:gd name="T38" fmla="*/ 191563 w 193899"/>
              <a:gd name="T39" fmla="*/ 75148 h 192654"/>
              <a:gd name="T40" fmla="*/ 61603 w 193899"/>
              <a:gd name="T41" fmla="*/ 75148 h 192654"/>
              <a:gd name="T42" fmla="*/ 65005 w 193899"/>
              <a:gd name="T43" fmla="*/ 59643 h 192654"/>
              <a:gd name="T44" fmla="*/ 71796 w 193899"/>
              <a:gd name="T45" fmla="*/ 47603 h 192654"/>
              <a:gd name="T46" fmla="*/ 81690 w 193899"/>
              <a:gd name="T47" fmla="*/ 39294 h 192654"/>
              <a:gd name="T48" fmla="*/ 94400 w 193899"/>
              <a:gd name="T49" fmla="*/ 34982 h 192654"/>
              <a:gd name="T50" fmla="*/ 101938 w 193899"/>
              <a:gd name="T51" fmla="*/ 34406 h 192654"/>
              <a:gd name="T52" fmla="*/ 173313 w 193899"/>
              <a:gd name="T53" fmla="*/ 34406 h 192654"/>
              <a:gd name="T54" fmla="*/ 165235 w 193899"/>
              <a:gd name="T55" fmla="*/ 25369 h 192654"/>
              <a:gd name="T56" fmla="*/ 155241 w 193899"/>
              <a:gd name="T57" fmla="*/ 17104 h 192654"/>
              <a:gd name="T58" fmla="*/ 144153 w 193899"/>
              <a:gd name="T59" fmla="*/ 10401 h 192654"/>
              <a:gd name="T60" fmla="*/ 132120 w 193899"/>
              <a:gd name="T61" fmla="*/ 5293 h 192654"/>
              <a:gd name="T62" fmla="*/ 119289 w 193899"/>
              <a:gd name="T63" fmla="*/ 1814 h 192654"/>
              <a:gd name="T64" fmla="*/ 105811 w 193899"/>
              <a:gd name="T65" fmla="*/ 0 h 192654"/>
              <a:gd name="T66" fmla="*/ 190686 w 193899"/>
              <a:gd name="T67" fmla="*/ 131612 h 192654"/>
              <a:gd name="T68" fmla="*/ 153687 w 193899"/>
              <a:gd name="T69" fmla="*/ 152708 h 192654"/>
              <a:gd name="T70" fmla="*/ 131343 w 193899"/>
              <a:gd name="T71" fmla="*/ 157804 h 192654"/>
              <a:gd name="T72" fmla="*/ 185590 w 193899"/>
              <a:gd name="T73" fmla="*/ 157804 h 192654"/>
              <a:gd name="T74" fmla="*/ 190686 w 193899"/>
              <a:gd name="T75" fmla="*/ 131612 h 192654"/>
              <a:gd name="T76" fmla="*/ 173313 w 193899"/>
              <a:gd name="T77" fmla="*/ 34406 h 192654"/>
              <a:gd name="T78" fmla="*/ 101938 w 193899"/>
              <a:gd name="T79" fmla="*/ 34406 h 192654"/>
              <a:gd name="T80" fmla="*/ 115822 w 193899"/>
              <a:gd name="T81" fmla="*/ 36606 h 192654"/>
              <a:gd name="T82" fmla="*/ 127198 w 193899"/>
              <a:gd name="T83" fmla="*/ 42977 h 192654"/>
              <a:gd name="T84" fmla="*/ 135699 w 193899"/>
              <a:gd name="T85" fmla="*/ 53177 h 192654"/>
              <a:gd name="T86" fmla="*/ 140954 w 193899"/>
              <a:gd name="T87" fmla="*/ 66864 h 192654"/>
              <a:gd name="T88" fmla="*/ 61603 w 193899"/>
              <a:gd name="T89" fmla="*/ 75148 h 192654"/>
              <a:gd name="T90" fmla="*/ 191563 w 193899"/>
              <a:gd name="T91" fmla="*/ 75148 h 192654"/>
              <a:gd name="T92" fmla="*/ 191297 w 193899"/>
              <a:gd name="T93" fmla="*/ 73346 h 192654"/>
              <a:gd name="T94" fmla="*/ 187165 w 193899"/>
              <a:gd name="T95" fmla="*/ 59182 h 192654"/>
              <a:gd name="T96" fmla="*/ 181346 w 193899"/>
              <a:gd name="T97" fmla="*/ 46442 h 192654"/>
              <a:gd name="T98" fmla="*/ 173986 w 193899"/>
              <a:gd name="T99" fmla="*/ 35159 h 192654"/>
              <a:gd name="T100" fmla="*/ 173313 w 193899"/>
              <a:gd name="T101" fmla="*/ 34406 h 19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3" name="object 12">
            <a:extLst>
              <a:ext uri="{FF2B5EF4-FFF2-40B4-BE49-F238E27FC236}">
                <a16:creationId xmlns:a16="http://schemas.microsoft.com/office/drawing/2014/main" id="{355CBE92-FBC2-4DE5-BC14-DA1D22EDDEDB}"/>
              </a:ext>
            </a:extLst>
          </p:cNvPr>
          <p:cNvSpPr>
            <a:spLocks/>
          </p:cNvSpPr>
          <p:nvPr/>
        </p:nvSpPr>
        <p:spPr bwMode="auto">
          <a:xfrm>
            <a:off x="7682855" y="6362904"/>
            <a:ext cx="88017" cy="143945"/>
          </a:xfrm>
          <a:custGeom>
            <a:avLst/>
            <a:gdLst>
              <a:gd name="T0" fmla="*/ 85115 w 152869"/>
              <a:gd name="T1" fmla="*/ 98424 h 248003"/>
              <a:gd name="T2" fmla="*/ 26619 w 152869"/>
              <a:gd name="T3" fmla="*/ 98424 h 248003"/>
              <a:gd name="T4" fmla="*/ 26658 w 152869"/>
              <a:gd name="T5" fmla="*/ 181335 h 248003"/>
              <a:gd name="T6" fmla="*/ 40304 w 152869"/>
              <a:gd name="T7" fmla="*/ 224276 h 248003"/>
              <a:gd name="T8" fmla="*/ 73598 w 152869"/>
              <a:gd name="T9" fmla="*/ 244599 h 248003"/>
              <a:gd name="T10" fmla="*/ 103201 w 152869"/>
              <a:gd name="T11" fmla="*/ 248003 h 248003"/>
              <a:gd name="T12" fmla="*/ 115180 w 152869"/>
              <a:gd name="T13" fmla="*/ 247068 h 248003"/>
              <a:gd name="T14" fmla="*/ 127060 w 152869"/>
              <a:gd name="T15" fmla="*/ 244913 h 248003"/>
              <a:gd name="T16" fmla="*/ 139428 w 152869"/>
              <a:gd name="T17" fmla="*/ 241391 h 248003"/>
              <a:gd name="T18" fmla="*/ 152869 w 152869"/>
              <a:gd name="T19" fmla="*/ 236359 h 248003"/>
              <a:gd name="T20" fmla="*/ 147457 w 152869"/>
              <a:gd name="T21" fmla="*/ 204687 h 248003"/>
              <a:gd name="T22" fmla="*/ 109600 w 152869"/>
              <a:gd name="T23" fmla="*/ 204687 h 248003"/>
              <a:gd name="T24" fmla="*/ 96323 w 152869"/>
              <a:gd name="T25" fmla="*/ 199980 h 248003"/>
              <a:gd name="T26" fmla="*/ 87998 w 152869"/>
              <a:gd name="T27" fmla="*/ 189799 h 248003"/>
              <a:gd name="T28" fmla="*/ 85115 w 152869"/>
              <a:gd name="T29" fmla="*/ 175056 h 248003"/>
              <a:gd name="T30" fmla="*/ 85115 w 152869"/>
              <a:gd name="T31" fmla="*/ 98424 h 248003"/>
              <a:gd name="T32" fmla="*/ 146184 w 152869"/>
              <a:gd name="T33" fmla="*/ 197242 h 248003"/>
              <a:gd name="T34" fmla="*/ 134229 w 152869"/>
              <a:gd name="T35" fmla="*/ 201703 h 248003"/>
              <a:gd name="T36" fmla="*/ 122464 w 152869"/>
              <a:gd name="T37" fmla="*/ 204083 h 248003"/>
              <a:gd name="T38" fmla="*/ 109600 w 152869"/>
              <a:gd name="T39" fmla="*/ 204687 h 248003"/>
              <a:gd name="T40" fmla="*/ 147457 w 152869"/>
              <a:gd name="T41" fmla="*/ 204687 h 248003"/>
              <a:gd name="T42" fmla="*/ 146184 w 152869"/>
              <a:gd name="T43" fmla="*/ 197242 h 248003"/>
              <a:gd name="T44" fmla="*/ 85115 w 152869"/>
              <a:gd name="T45" fmla="*/ 0 h 248003"/>
              <a:gd name="T46" fmla="*/ 77838 w 152869"/>
              <a:gd name="T47" fmla="*/ 0 h 248003"/>
              <a:gd name="T48" fmla="*/ 0 w 152869"/>
              <a:gd name="T49" fmla="*/ 87134 h 248003"/>
              <a:gd name="T50" fmla="*/ 0 w 152869"/>
              <a:gd name="T51" fmla="*/ 98424 h 248003"/>
              <a:gd name="T52" fmla="*/ 152869 w 152869"/>
              <a:gd name="T53" fmla="*/ 98424 h 248003"/>
              <a:gd name="T54" fmla="*/ 152869 w 152869"/>
              <a:gd name="T55" fmla="*/ 58496 h 248003"/>
              <a:gd name="T56" fmla="*/ 85115 w 152869"/>
              <a:gd name="T57" fmla="*/ 58496 h 248003"/>
              <a:gd name="T58" fmla="*/ 85115 w 152869"/>
              <a:gd name="T59" fmla="*/ 0 h 248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4" name="object 13">
            <a:extLst>
              <a:ext uri="{FF2B5EF4-FFF2-40B4-BE49-F238E27FC236}">
                <a16:creationId xmlns:a16="http://schemas.microsoft.com/office/drawing/2014/main" id="{998365FD-44AC-48BA-A3BF-D0E46E899561}"/>
              </a:ext>
            </a:extLst>
          </p:cNvPr>
          <p:cNvSpPr>
            <a:spLocks/>
          </p:cNvSpPr>
          <p:nvPr/>
        </p:nvSpPr>
        <p:spPr bwMode="auto">
          <a:xfrm>
            <a:off x="7784625"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5 w 186347"/>
              <a:gd name="T19" fmla="*/ 124886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9 h 275069"/>
              <a:gd name="T44" fmla="*/ 182341 w 186347"/>
              <a:gd name="T45" fmla="*/ 130617 h 275069"/>
              <a:gd name="T46" fmla="*/ 115026 w 186347"/>
              <a:gd name="T47" fmla="*/ 85571 h 275069"/>
              <a:gd name="T48" fmla="*/ 69226 w 186347"/>
              <a:gd name="T49" fmla="*/ 105591 h 275069"/>
              <a:gd name="T50" fmla="*/ 59296 w 186347"/>
              <a:gd name="T51" fmla="*/ 116560 h 275069"/>
              <a:gd name="T52" fmla="*/ 176188 w 186347"/>
              <a:gd name="T53" fmla="*/ 116560 h 275069"/>
              <a:gd name="T54" fmla="*/ 142032 w 186347"/>
              <a:gd name="T55" fmla="*/ 89611 h 275069"/>
              <a:gd name="T56" fmla="*/ 115026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5" name="object 14">
            <a:extLst>
              <a:ext uri="{FF2B5EF4-FFF2-40B4-BE49-F238E27FC236}">
                <a16:creationId xmlns:a16="http://schemas.microsoft.com/office/drawing/2014/main" id="{7621A750-AE24-485A-AFFA-9EE7AA214844}"/>
              </a:ext>
            </a:extLst>
          </p:cNvPr>
          <p:cNvSpPr>
            <a:spLocks/>
          </p:cNvSpPr>
          <p:nvPr/>
        </p:nvSpPr>
        <p:spPr bwMode="auto">
          <a:xfrm>
            <a:off x="7909316" y="6394994"/>
            <a:ext cx="111855" cy="111855"/>
          </a:xfrm>
          <a:custGeom>
            <a:avLst/>
            <a:gdLst>
              <a:gd name="T0" fmla="*/ 105790 w 193899"/>
              <a:gd name="T1" fmla="*/ 0 h 192656"/>
              <a:gd name="T2" fmla="*/ 59479 w 193899"/>
              <a:gd name="T3" fmla="*/ 7871 h 192656"/>
              <a:gd name="T4" fmla="*/ 25255 w 193899"/>
              <a:gd name="T5" fmla="*/ 30136 h 192656"/>
              <a:gd name="T6" fmla="*/ 4931 w 193899"/>
              <a:gd name="T7" fmla="*/ 64117 h 192656"/>
              <a:gd name="T8" fmla="*/ 0 w 193899"/>
              <a:gd name="T9" fmla="*/ 91955 h 192656"/>
              <a:gd name="T10" fmla="*/ 902 w 193899"/>
              <a:gd name="T11" fmla="*/ 107655 h 192656"/>
              <a:gd name="T12" fmla="*/ 14164 w 193899"/>
              <a:gd name="T13" fmla="*/ 147576 h 192656"/>
              <a:gd name="T14" fmla="*/ 41704 w 193899"/>
              <a:gd name="T15" fmla="*/ 175707 h 192656"/>
              <a:gd name="T16" fmla="*/ 81518 w 193899"/>
              <a:gd name="T17" fmla="*/ 190730 h 192656"/>
              <a:gd name="T18" fmla="*/ 107487 w 193899"/>
              <a:gd name="T19" fmla="*/ 192656 h 192656"/>
              <a:gd name="T20" fmla="*/ 118692 w 193899"/>
              <a:gd name="T21" fmla="*/ 192351 h 192656"/>
              <a:gd name="T22" fmla="*/ 169220 w 193899"/>
              <a:gd name="T23" fmla="*/ 180914 h 192656"/>
              <a:gd name="T24" fmla="*/ 185594 w 193899"/>
              <a:gd name="T25" fmla="*/ 157805 h 192656"/>
              <a:gd name="T26" fmla="*/ 131330 w 193899"/>
              <a:gd name="T27" fmla="*/ 157805 h 192656"/>
              <a:gd name="T28" fmla="*/ 112833 w 193899"/>
              <a:gd name="T29" fmla="*/ 156784 h 192656"/>
              <a:gd name="T30" fmla="*/ 74402 w 193899"/>
              <a:gd name="T31" fmla="*/ 140117 h 192656"/>
              <a:gd name="T32" fmla="*/ 60397 w 193899"/>
              <a:gd name="T33" fmla="*/ 105806 h 192656"/>
              <a:gd name="T34" fmla="*/ 193899 w 193899"/>
              <a:gd name="T35" fmla="*/ 105806 h 192656"/>
              <a:gd name="T36" fmla="*/ 193588 w 193899"/>
              <a:gd name="T37" fmla="*/ 88898 h 192656"/>
              <a:gd name="T38" fmla="*/ 191558 w 193899"/>
              <a:gd name="T39" fmla="*/ 75149 h 192656"/>
              <a:gd name="T40" fmla="*/ 61604 w 193899"/>
              <a:gd name="T41" fmla="*/ 75149 h 192656"/>
              <a:gd name="T42" fmla="*/ 65003 w 193899"/>
              <a:gd name="T43" fmla="*/ 59641 h 192656"/>
              <a:gd name="T44" fmla="*/ 71797 w 193899"/>
              <a:gd name="T45" fmla="*/ 47600 h 192656"/>
              <a:gd name="T46" fmla="*/ 81695 w 193899"/>
              <a:gd name="T47" fmla="*/ 39292 h 192656"/>
              <a:gd name="T48" fmla="*/ 94403 w 193899"/>
              <a:gd name="T49" fmla="*/ 34981 h 192656"/>
              <a:gd name="T50" fmla="*/ 101926 w 193899"/>
              <a:gd name="T51" fmla="*/ 34407 h 192656"/>
              <a:gd name="T52" fmla="*/ 173304 w 193899"/>
              <a:gd name="T53" fmla="*/ 34407 h 192656"/>
              <a:gd name="T54" fmla="*/ 165221 w 193899"/>
              <a:gd name="T55" fmla="*/ 25366 h 192656"/>
              <a:gd name="T56" fmla="*/ 155225 w 193899"/>
              <a:gd name="T57" fmla="*/ 17102 h 192656"/>
              <a:gd name="T58" fmla="*/ 144136 w 193899"/>
              <a:gd name="T59" fmla="*/ 10399 h 192656"/>
              <a:gd name="T60" fmla="*/ 132101 w 193899"/>
              <a:gd name="T61" fmla="*/ 5291 h 192656"/>
              <a:gd name="T62" fmla="*/ 119270 w 193899"/>
              <a:gd name="T63" fmla="*/ 1813 h 192656"/>
              <a:gd name="T64" fmla="*/ 105790 w 193899"/>
              <a:gd name="T65" fmla="*/ 0 h 192656"/>
              <a:gd name="T66" fmla="*/ 190674 w 193899"/>
              <a:gd name="T67" fmla="*/ 131613 h 192656"/>
              <a:gd name="T68" fmla="*/ 153672 w 193899"/>
              <a:gd name="T69" fmla="*/ 152711 h 192656"/>
              <a:gd name="T70" fmla="*/ 131330 w 193899"/>
              <a:gd name="T71" fmla="*/ 157805 h 192656"/>
              <a:gd name="T72" fmla="*/ 185594 w 193899"/>
              <a:gd name="T73" fmla="*/ 157805 h 192656"/>
              <a:gd name="T74" fmla="*/ 190674 w 193899"/>
              <a:gd name="T75" fmla="*/ 131613 h 192656"/>
              <a:gd name="T76" fmla="*/ 173304 w 193899"/>
              <a:gd name="T77" fmla="*/ 34407 h 192656"/>
              <a:gd name="T78" fmla="*/ 101926 w 193899"/>
              <a:gd name="T79" fmla="*/ 34407 h 192656"/>
              <a:gd name="T80" fmla="*/ 115810 w 193899"/>
              <a:gd name="T81" fmla="*/ 36607 h 192656"/>
              <a:gd name="T82" fmla="*/ 127186 w 193899"/>
              <a:gd name="T83" fmla="*/ 42978 h 192656"/>
              <a:gd name="T84" fmla="*/ 135687 w 193899"/>
              <a:gd name="T85" fmla="*/ 53177 h 192656"/>
              <a:gd name="T86" fmla="*/ 140942 w 193899"/>
              <a:gd name="T87" fmla="*/ 66864 h 192656"/>
              <a:gd name="T88" fmla="*/ 61604 w 193899"/>
              <a:gd name="T89" fmla="*/ 75149 h 192656"/>
              <a:gd name="T90" fmla="*/ 191558 w 193899"/>
              <a:gd name="T91" fmla="*/ 75149 h 192656"/>
              <a:gd name="T92" fmla="*/ 191292 w 193899"/>
              <a:gd name="T93" fmla="*/ 73345 h 192656"/>
              <a:gd name="T94" fmla="*/ 187158 w 193899"/>
              <a:gd name="T95" fmla="*/ 59180 h 192656"/>
              <a:gd name="T96" fmla="*/ 181336 w 193899"/>
              <a:gd name="T97" fmla="*/ 46439 h 192656"/>
              <a:gd name="T98" fmla="*/ 173974 w 193899"/>
              <a:gd name="T99" fmla="*/ 35157 h 192656"/>
              <a:gd name="T100" fmla="*/ 173304 w 193899"/>
              <a:gd name="T101" fmla="*/ 34407 h 192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6" name="object 15">
            <a:extLst>
              <a:ext uri="{FF2B5EF4-FFF2-40B4-BE49-F238E27FC236}">
                <a16:creationId xmlns:a16="http://schemas.microsoft.com/office/drawing/2014/main" id="{EE5AA127-FC8C-426A-A504-E61550A7CF91}"/>
              </a:ext>
            </a:extLst>
          </p:cNvPr>
          <p:cNvSpPr>
            <a:spLocks/>
          </p:cNvSpPr>
          <p:nvPr/>
        </p:nvSpPr>
        <p:spPr bwMode="auto">
          <a:xfrm>
            <a:off x="8095435" y="6343651"/>
            <a:ext cx="154947" cy="163198"/>
          </a:xfrm>
          <a:custGeom>
            <a:avLst/>
            <a:gdLst>
              <a:gd name="T0" fmla="*/ 157586 w 268134"/>
              <a:gd name="T1" fmla="*/ 0 h 282037"/>
              <a:gd name="T2" fmla="*/ 108500 w 268134"/>
              <a:gd name="T3" fmla="*/ 7392 h 282037"/>
              <a:gd name="T4" fmla="*/ 67972 w 268134"/>
              <a:gd name="T5" fmla="*/ 24922 h 282037"/>
              <a:gd name="T6" fmla="*/ 36461 w 268134"/>
              <a:gd name="T7" fmla="*/ 50795 h 282037"/>
              <a:gd name="T8" fmla="*/ 14425 w 268134"/>
              <a:gd name="T9" fmla="*/ 83213 h 282037"/>
              <a:gd name="T10" fmla="*/ 2323 w 268134"/>
              <a:gd name="T11" fmla="*/ 120379 h 282037"/>
              <a:gd name="T12" fmla="*/ 0 w 268134"/>
              <a:gd name="T13" fmla="*/ 146908 h 282037"/>
              <a:gd name="T14" fmla="*/ 967 w 268134"/>
              <a:gd name="T15" fmla="*/ 159073 h 282037"/>
              <a:gd name="T16" fmla="*/ 15672 w 268134"/>
              <a:gd name="T17" fmla="*/ 205551 h 282037"/>
              <a:gd name="T18" fmla="*/ 48318 w 268134"/>
              <a:gd name="T19" fmla="*/ 244833 h 282037"/>
              <a:gd name="T20" fmla="*/ 85059 w 268134"/>
              <a:gd name="T21" fmla="*/ 266598 h 282037"/>
              <a:gd name="T22" fmla="*/ 132685 w 268134"/>
              <a:gd name="T23" fmla="*/ 279451 h 282037"/>
              <a:gd name="T24" fmla="*/ 170649 w 268134"/>
              <a:gd name="T25" fmla="*/ 282037 h 282037"/>
              <a:gd name="T26" fmla="*/ 183561 w 268134"/>
              <a:gd name="T27" fmla="*/ 281239 h 282037"/>
              <a:gd name="T28" fmla="*/ 231275 w 268134"/>
              <a:gd name="T29" fmla="*/ 270991 h 282037"/>
              <a:gd name="T30" fmla="*/ 268134 w 268134"/>
              <a:gd name="T31" fmla="*/ 254790 h 282037"/>
              <a:gd name="T32" fmla="*/ 266854 w 268134"/>
              <a:gd name="T33" fmla="*/ 224321 h 282037"/>
              <a:gd name="T34" fmla="*/ 155535 w 268134"/>
              <a:gd name="T35" fmla="*/ 224321 h 282037"/>
              <a:gd name="T36" fmla="*/ 140920 w 268134"/>
              <a:gd name="T37" fmla="*/ 221966 h 282037"/>
              <a:gd name="T38" fmla="*/ 103916 w 268134"/>
              <a:gd name="T39" fmla="*/ 204812 h 282037"/>
              <a:gd name="T40" fmla="*/ 79648 w 268134"/>
              <a:gd name="T41" fmla="*/ 173465 h 282037"/>
              <a:gd name="T42" fmla="*/ 71293 w 268134"/>
              <a:gd name="T43" fmla="*/ 129127 h 282037"/>
              <a:gd name="T44" fmla="*/ 74103 w 268134"/>
              <a:gd name="T45" fmla="*/ 116750 h 282037"/>
              <a:gd name="T46" fmla="*/ 104382 w 268134"/>
              <a:gd name="T47" fmla="*/ 77207 h 282037"/>
              <a:gd name="T48" fmla="*/ 145301 w 268134"/>
              <a:gd name="T49" fmla="*/ 60740 h 282037"/>
              <a:gd name="T50" fmla="*/ 180301 w 268134"/>
              <a:gd name="T51" fmla="*/ 57506 h 282037"/>
              <a:gd name="T52" fmla="*/ 262176 w 268134"/>
              <a:gd name="T53" fmla="*/ 57506 h 282037"/>
              <a:gd name="T54" fmla="*/ 258553 w 268134"/>
              <a:gd name="T55" fmla="*/ 20509 h 282037"/>
              <a:gd name="T56" fmla="*/ 214243 w 268134"/>
              <a:gd name="T57" fmla="*/ 5052 h 282037"/>
              <a:gd name="T58" fmla="*/ 173053 w 268134"/>
              <a:gd name="T59" fmla="*/ 284 h 282037"/>
              <a:gd name="T60" fmla="*/ 157586 w 268134"/>
              <a:gd name="T61" fmla="*/ 0 h 282037"/>
              <a:gd name="T62" fmla="*/ 265659 w 268134"/>
              <a:gd name="T63" fmla="*/ 195880 h 282037"/>
              <a:gd name="T64" fmla="*/ 230811 w 268134"/>
              <a:gd name="T65" fmla="*/ 211498 h 282037"/>
              <a:gd name="T66" fmla="*/ 184338 w 268134"/>
              <a:gd name="T67" fmla="*/ 223081 h 282037"/>
              <a:gd name="T68" fmla="*/ 155535 w 268134"/>
              <a:gd name="T69" fmla="*/ 224321 h 282037"/>
              <a:gd name="T70" fmla="*/ 266854 w 268134"/>
              <a:gd name="T71" fmla="*/ 224321 h 282037"/>
              <a:gd name="T72" fmla="*/ 265659 w 268134"/>
              <a:gd name="T73" fmla="*/ 195880 h 282037"/>
              <a:gd name="T74" fmla="*/ 262176 w 268134"/>
              <a:gd name="T75" fmla="*/ 57506 h 282037"/>
              <a:gd name="T76" fmla="*/ 180301 w 268134"/>
              <a:gd name="T77" fmla="*/ 57506 h 282037"/>
              <a:gd name="T78" fmla="*/ 192971 w 268134"/>
              <a:gd name="T79" fmla="*/ 58883 h 282037"/>
              <a:gd name="T80" fmla="*/ 205388 w 268134"/>
              <a:gd name="T81" fmla="*/ 61248 h 282037"/>
              <a:gd name="T82" fmla="*/ 241472 w 268134"/>
              <a:gd name="T83" fmla="*/ 73559 h 282037"/>
              <a:gd name="T84" fmla="*/ 264908 w 268134"/>
              <a:gd name="T85" fmla="*/ 85398 h 282037"/>
              <a:gd name="T86" fmla="*/ 262176 w 268134"/>
              <a:gd name="T87" fmla="*/ 57506 h 28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7" name="object 16">
            <a:extLst>
              <a:ext uri="{FF2B5EF4-FFF2-40B4-BE49-F238E27FC236}">
                <a16:creationId xmlns:a16="http://schemas.microsoft.com/office/drawing/2014/main" id="{D85DA5F1-AF9C-468E-AC3C-E348FBB5C6A8}"/>
              </a:ext>
            </a:extLst>
          </p:cNvPr>
          <p:cNvSpPr>
            <a:spLocks/>
          </p:cNvSpPr>
          <p:nvPr/>
        </p:nvSpPr>
        <p:spPr bwMode="auto">
          <a:xfrm>
            <a:off x="8274220"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4 w 186347"/>
              <a:gd name="T19" fmla="*/ 124885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7 h 275069"/>
              <a:gd name="T44" fmla="*/ 182341 w 186347"/>
              <a:gd name="T45" fmla="*/ 130617 h 275069"/>
              <a:gd name="T46" fmla="*/ 115025 w 186347"/>
              <a:gd name="T47" fmla="*/ 85571 h 275069"/>
              <a:gd name="T48" fmla="*/ 69225 w 186347"/>
              <a:gd name="T49" fmla="*/ 105591 h 275069"/>
              <a:gd name="T50" fmla="*/ 59296 w 186347"/>
              <a:gd name="T51" fmla="*/ 116560 h 275069"/>
              <a:gd name="T52" fmla="*/ 176188 w 186347"/>
              <a:gd name="T53" fmla="*/ 116560 h 275069"/>
              <a:gd name="T54" fmla="*/ 142031 w 186347"/>
              <a:gd name="T55" fmla="*/ 89611 h 275069"/>
              <a:gd name="T56" fmla="*/ 115025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8" name="object 17">
            <a:extLst>
              <a:ext uri="{FF2B5EF4-FFF2-40B4-BE49-F238E27FC236}">
                <a16:creationId xmlns:a16="http://schemas.microsoft.com/office/drawing/2014/main" id="{A2402155-AA75-4D86-9089-28A0E85E9457}"/>
              </a:ext>
            </a:extLst>
          </p:cNvPr>
          <p:cNvSpPr>
            <a:spLocks/>
          </p:cNvSpPr>
          <p:nvPr/>
        </p:nvSpPr>
        <p:spPr bwMode="auto">
          <a:xfrm>
            <a:off x="8405329" y="6396827"/>
            <a:ext cx="33923" cy="107271"/>
          </a:xfrm>
          <a:custGeom>
            <a:avLst/>
            <a:gdLst>
              <a:gd name="T0" fmla="*/ 58483 w 58483"/>
              <a:gd name="T1" fmla="*/ 185940 h 185940"/>
              <a:gd name="T2" fmla="*/ 0 w 58483"/>
              <a:gd name="T3" fmla="*/ 185940 h 185940"/>
              <a:gd name="T4" fmla="*/ 0 w 58483"/>
              <a:gd name="T5" fmla="*/ 0 h 185940"/>
              <a:gd name="T6" fmla="*/ 58483 w 58483"/>
              <a:gd name="T7" fmla="*/ 0 h 185940"/>
              <a:gd name="T8" fmla="*/ 58483 w 58483"/>
              <a:gd name="T9" fmla="*/ 185940 h 185940"/>
            </a:gdLst>
            <a:ahLst/>
            <a:cxnLst>
              <a:cxn ang="0">
                <a:pos x="T0" y="T1"/>
              </a:cxn>
              <a:cxn ang="0">
                <a:pos x="T2" y="T3"/>
              </a:cxn>
              <a:cxn ang="0">
                <a:pos x="T4" y="T5"/>
              </a:cxn>
              <a:cxn ang="0">
                <a:pos x="T6" y="T7"/>
              </a:cxn>
              <a:cxn ang="0">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69" name="object 18">
            <a:extLst>
              <a:ext uri="{FF2B5EF4-FFF2-40B4-BE49-F238E27FC236}">
                <a16:creationId xmlns:a16="http://schemas.microsoft.com/office/drawing/2014/main" id="{787F8DD8-304D-418F-96B6-3CD1FA7FC441}"/>
              </a:ext>
            </a:extLst>
          </p:cNvPr>
          <p:cNvSpPr>
            <a:spLocks/>
          </p:cNvSpPr>
          <p:nvPr/>
        </p:nvSpPr>
        <p:spPr bwMode="auto">
          <a:xfrm>
            <a:off x="8403496" y="6344567"/>
            <a:ext cx="37590" cy="35757"/>
          </a:xfrm>
          <a:custGeom>
            <a:avLst/>
            <a:gdLst>
              <a:gd name="T0" fmla="*/ 22527 w 64473"/>
              <a:gd name="T1" fmla="*/ 0 h 61899"/>
              <a:gd name="T2" fmla="*/ 10874 w 64473"/>
              <a:gd name="T3" fmla="*/ 6792 h 61899"/>
              <a:gd name="T4" fmla="*/ 2919 w 64473"/>
              <a:gd name="T5" fmla="*/ 18047 h 61899"/>
              <a:gd name="T6" fmla="*/ 0 w 64473"/>
              <a:gd name="T7" fmla="*/ 32655 h 61899"/>
              <a:gd name="T8" fmla="*/ 3222 w 64473"/>
              <a:gd name="T9" fmla="*/ 44495 h 61899"/>
              <a:gd name="T10" fmla="*/ 11233 w 64473"/>
              <a:gd name="T11" fmla="*/ 54014 h 61899"/>
              <a:gd name="T12" fmla="*/ 23799 w 64473"/>
              <a:gd name="T13" fmla="*/ 60164 h 61899"/>
              <a:gd name="T14" fmla="*/ 40683 w 64473"/>
              <a:gd name="T15" fmla="*/ 61899 h 61899"/>
              <a:gd name="T16" fmla="*/ 52926 w 64473"/>
              <a:gd name="T17" fmla="*/ 55454 h 61899"/>
              <a:gd name="T18" fmla="*/ 61342 w 64473"/>
              <a:gd name="T19" fmla="*/ 44588 h 61899"/>
              <a:gd name="T20" fmla="*/ 64473 w 64473"/>
              <a:gd name="T21" fmla="*/ 30764 h 61899"/>
              <a:gd name="T22" fmla="*/ 64333 w 64473"/>
              <a:gd name="T23" fmla="*/ 27777 h 61899"/>
              <a:gd name="T24" fmla="*/ 60786 w 64473"/>
              <a:gd name="T25" fmla="*/ 16334 h 61899"/>
              <a:gd name="T26" fmla="*/ 52552 w 64473"/>
              <a:gd name="T27" fmla="*/ 7219 h 61899"/>
              <a:gd name="T28" fmla="*/ 39757 w 64473"/>
              <a:gd name="T29" fmla="*/ 1439 h 61899"/>
              <a:gd name="T30" fmla="*/ 22527 w 64473"/>
              <a:gd name="T31" fmla="*/ 0 h 6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70" name="object 19">
            <a:extLst>
              <a:ext uri="{FF2B5EF4-FFF2-40B4-BE49-F238E27FC236}">
                <a16:creationId xmlns:a16="http://schemas.microsoft.com/office/drawing/2014/main" id="{FBF5AD52-3281-40D5-964F-D4BA907B2C19}"/>
              </a:ext>
            </a:extLst>
          </p:cNvPr>
          <p:cNvSpPr>
            <a:spLocks/>
          </p:cNvSpPr>
          <p:nvPr/>
        </p:nvSpPr>
        <p:spPr bwMode="auto">
          <a:xfrm>
            <a:off x="8464007" y="6345484"/>
            <a:ext cx="33923" cy="158614"/>
          </a:xfrm>
          <a:custGeom>
            <a:avLst/>
            <a:gdLst>
              <a:gd name="T0" fmla="*/ 58483 w 58483"/>
              <a:gd name="T1" fmla="*/ 275069 h 275069"/>
              <a:gd name="T2" fmla="*/ 0 w 58483"/>
              <a:gd name="T3" fmla="*/ 275069 h 275069"/>
              <a:gd name="T4" fmla="*/ 0 w 58483"/>
              <a:gd name="T5" fmla="*/ 0 h 275069"/>
              <a:gd name="T6" fmla="*/ 58483 w 58483"/>
              <a:gd name="T7" fmla="*/ 0 h 275069"/>
              <a:gd name="T8" fmla="*/ 58483 w 58483"/>
              <a:gd name="T9" fmla="*/ 275069 h 275069"/>
            </a:gdLst>
            <a:ahLst/>
            <a:cxnLst>
              <a:cxn ang="0">
                <a:pos x="T0" y="T1"/>
              </a:cxn>
              <a:cxn ang="0">
                <a:pos x="T2" y="T3"/>
              </a:cxn>
              <a:cxn ang="0">
                <a:pos x="T4" y="T5"/>
              </a:cxn>
              <a:cxn ang="0">
                <a:pos x="T6" y="T7"/>
              </a:cxn>
              <a:cxn ang="0">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71" name="object 20">
            <a:extLst>
              <a:ext uri="{FF2B5EF4-FFF2-40B4-BE49-F238E27FC236}">
                <a16:creationId xmlns:a16="http://schemas.microsoft.com/office/drawing/2014/main" id="{1CFF6137-A63A-418D-A808-5BE4D117C2CF}"/>
              </a:ext>
            </a:extLst>
          </p:cNvPr>
          <p:cNvSpPr>
            <a:spLocks/>
          </p:cNvSpPr>
          <p:nvPr/>
        </p:nvSpPr>
        <p:spPr bwMode="auto">
          <a:xfrm>
            <a:off x="8516267" y="6345484"/>
            <a:ext cx="113689" cy="161365"/>
          </a:xfrm>
          <a:custGeom>
            <a:avLst/>
            <a:gdLst>
              <a:gd name="T0" fmla="*/ 102087 w 197236"/>
              <a:gd name="T1" fmla="*/ 86169 h 278582"/>
              <a:gd name="T2" fmla="*/ 55657 w 197236"/>
              <a:gd name="T3" fmla="*/ 94000 h 278582"/>
              <a:gd name="T4" fmla="*/ 22559 w 197236"/>
              <a:gd name="T5" fmla="*/ 116758 h 278582"/>
              <a:gd name="T6" fmla="*/ 3889 w 197236"/>
              <a:gd name="T7" fmla="*/ 151731 h 278582"/>
              <a:gd name="T8" fmla="*/ 0 w 197236"/>
              <a:gd name="T9" fmla="*/ 180495 h 278582"/>
              <a:gd name="T10" fmla="*/ 1017 w 197236"/>
              <a:gd name="T11" fmla="*/ 196586 h 278582"/>
              <a:gd name="T12" fmla="*/ 15258 w 197236"/>
              <a:gd name="T13" fmla="*/ 238127 h 278582"/>
              <a:gd name="T14" fmla="*/ 43518 w 197236"/>
              <a:gd name="T15" fmla="*/ 266692 h 278582"/>
              <a:gd name="T16" fmla="*/ 82248 w 197236"/>
              <a:gd name="T17" fmla="*/ 278582 h 278582"/>
              <a:gd name="T18" fmla="*/ 96853 w 197236"/>
              <a:gd name="T19" fmla="*/ 277906 h 278582"/>
              <a:gd name="T20" fmla="*/ 109525 w 197236"/>
              <a:gd name="T21" fmla="*/ 275602 h 278582"/>
              <a:gd name="T22" fmla="*/ 120879 w 197236"/>
              <a:gd name="T23" fmla="*/ 271516 h 278582"/>
              <a:gd name="T24" fmla="*/ 131530 w 197236"/>
              <a:gd name="T25" fmla="*/ 265489 h 278582"/>
              <a:gd name="T26" fmla="*/ 197236 w 197236"/>
              <a:gd name="T27" fmla="*/ 265489 h 278582"/>
              <a:gd name="T28" fmla="*/ 197236 w 197236"/>
              <a:gd name="T29" fmla="*/ 238062 h 278582"/>
              <a:gd name="T30" fmla="*/ 115807 w 197236"/>
              <a:gd name="T31" fmla="*/ 238062 h 278582"/>
              <a:gd name="T32" fmla="*/ 98970 w 197236"/>
              <a:gd name="T33" fmla="*/ 237049 h 278582"/>
              <a:gd name="T34" fmla="*/ 66747 w 197236"/>
              <a:gd name="T35" fmla="*/ 215624 h 278582"/>
              <a:gd name="T36" fmla="*/ 59470 w 197236"/>
              <a:gd name="T37" fmla="*/ 188992 h 278582"/>
              <a:gd name="T38" fmla="*/ 60697 w 197236"/>
              <a:gd name="T39" fmla="*/ 170084 h 278582"/>
              <a:gd name="T40" fmla="*/ 79093 w 197236"/>
              <a:gd name="T41" fmla="*/ 133069 h 278582"/>
              <a:gd name="T42" fmla="*/ 102296 w 197236"/>
              <a:gd name="T43" fmla="*/ 124759 h 278582"/>
              <a:gd name="T44" fmla="*/ 197236 w 197236"/>
              <a:gd name="T45" fmla="*/ 124759 h 278582"/>
              <a:gd name="T46" fmla="*/ 197236 w 197236"/>
              <a:gd name="T47" fmla="*/ 97205 h 278582"/>
              <a:gd name="T48" fmla="*/ 138739 w 197236"/>
              <a:gd name="T49" fmla="*/ 97205 h 278582"/>
              <a:gd name="T50" fmla="*/ 126684 w 197236"/>
              <a:gd name="T51" fmla="*/ 92052 h 278582"/>
              <a:gd name="T52" fmla="*/ 114506 w 197236"/>
              <a:gd name="T53" fmla="*/ 88361 h 278582"/>
              <a:gd name="T54" fmla="*/ 102087 w 197236"/>
              <a:gd name="T55" fmla="*/ 86169 h 278582"/>
              <a:gd name="T56" fmla="*/ 197236 w 197236"/>
              <a:gd name="T57" fmla="*/ 265489 h 278582"/>
              <a:gd name="T58" fmla="*/ 131530 w 197236"/>
              <a:gd name="T59" fmla="*/ 265489 h 278582"/>
              <a:gd name="T60" fmla="*/ 138739 w 197236"/>
              <a:gd name="T61" fmla="*/ 275081 h 278582"/>
              <a:gd name="T62" fmla="*/ 197236 w 197236"/>
              <a:gd name="T63" fmla="*/ 275081 h 278582"/>
              <a:gd name="T64" fmla="*/ 197236 w 197236"/>
              <a:gd name="T65" fmla="*/ 265489 h 278582"/>
              <a:gd name="T66" fmla="*/ 197236 w 197236"/>
              <a:gd name="T67" fmla="*/ 124759 h 278582"/>
              <a:gd name="T68" fmla="*/ 102296 w 197236"/>
              <a:gd name="T69" fmla="*/ 124759 h 278582"/>
              <a:gd name="T70" fmla="*/ 116209 w 197236"/>
              <a:gd name="T71" fmla="*/ 126154 h 278582"/>
              <a:gd name="T72" fmla="*/ 128713 w 197236"/>
              <a:gd name="T73" fmla="*/ 130025 h 278582"/>
              <a:gd name="T74" fmla="*/ 138739 w 197236"/>
              <a:gd name="T75" fmla="*/ 224256 h 278582"/>
              <a:gd name="T76" fmla="*/ 127098 w 197236"/>
              <a:gd name="T77" fmla="*/ 233105 h 278582"/>
              <a:gd name="T78" fmla="*/ 115807 w 197236"/>
              <a:gd name="T79" fmla="*/ 238062 h 278582"/>
              <a:gd name="T80" fmla="*/ 197236 w 197236"/>
              <a:gd name="T81" fmla="*/ 238062 h 278582"/>
              <a:gd name="T82" fmla="*/ 197236 w 197236"/>
              <a:gd name="T83" fmla="*/ 124759 h 278582"/>
              <a:gd name="T84" fmla="*/ 197236 w 197236"/>
              <a:gd name="T85" fmla="*/ 0 h 278582"/>
              <a:gd name="T86" fmla="*/ 138739 w 197236"/>
              <a:gd name="T87" fmla="*/ 0 h 278582"/>
              <a:gd name="T88" fmla="*/ 138739 w 197236"/>
              <a:gd name="T89" fmla="*/ 97205 h 278582"/>
              <a:gd name="T90" fmla="*/ 197236 w 197236"/>
              <a:gd name="T91" fmla="*/ 97205 h 278582"/>
              <a:gd name="T92" fmla="*/ 197236 w 197236"/>
              <a:gd name="T93" fmla="*/ 0 h 278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72" name="object 21">
            <a:extLst>
              <a:ext uri="{FF2B5EF4-FFF2-40B4-BE49-F238E27FC236}">
                <a16:creationId xmlns:a16="http://schemas.microsoft.com/office/drawing/2014/main" id="{FC921944-33AB-4E8B-B2FD-F46EDD9C58C9}"/>
              </a:ext>
            </a:extLst>
          </p:cNvPr>
          <p:cNvSpPr>
            <a:spLocks/>
          </p:cNvSpPr>
          <p:nvPr/>
        </p:nvSpPr>
        <p:spPr bwMode="auto">
          <a:xfrm>
            <a:off x="8653794" y="6394994"/>
            <a:ext cx="86183" cy="109104"/>
          </a:xfrm>
          <a:custGeom>
            <a:avLst/>
            <a:gdLst>
              <a:gd name="T0" fmla="*/ 58496 w 148435"/>
              <a:gd name="T1" fmla="*/ 3345 h 189286"/>
              <a:gd name="T2" fmla="*/ 0 w 148435"/>
              <a:gd name="T3" fmla="*/ 3345 h 189286"/>
              <a:gd name="T4" fmla="*/ 0 w 148435"/>
              <a:gd name="T5" fmla="*/ 189286 h 189286"/>
              <a:gd name="T6" fmla="*/ 58496 w 148435"/>
              <a:gd name="T7" fmla="*/ 189286 h 189286"/>
              <a:gd name="T8" fmla="*/ 60302 w 148435"/>
              <a:gd name="T9" fmla="*/ 104333 h 189286"/>
              <a:gd name="T10" fmla="*/ 66688 w 148435"/>
              <a:gd name="T11" fmla="*/ 89744 h 189286"/>
              <a:gd name="T12" fmla="*/ 102362 w 148435"/>
              <a:gd name="T13" fmla="*/ 56832 h 189286"/>
              <a:gd name="T14" fmla="*/ 105753 w 148435"/>
              <a:gd name="T15" fmla="*/ 56583 h 189286"/>
              <a:gd name="T16" fmla="*/ 58496 w 148435"/>
              <a:gd name="T17" fmla="*/ 56583 h 189286"/>
              <a:gd name="T18" fmla="*/ 58496 w 148435"/>
              <a:gd name="T19" fmla="*/ 3345 h 189286"/>
              <a:gd name="T20" fmla="*/ 142734 w 148435"/>
              <a:gd name="T21" fmla="*/ 55849 h 189286"/>
              <a:gd name="T22" fmla="*/ 115759 w 148435"/>
              <a:gd name="T23" fmla="*/ 55849 h 189286"/>
              <a:gd name="T24" fmla="*/ 127166 w 148435"/>
              <a:gd name="T25" fmla="*/ 60293 h 189286"/>
              <a:gd name="T26" fmla="*/ 141173 w 148435"/>
              <a:gd name="T27" fmla="*/ 68280 h 189286"/>
              <a:gd name="T28" fmla="*/ 142734 w 148435"/>
              <a:gd name="T29" fmla="*/ 55849 h 189286"/>
              <a:gd name="T30" fmla="*/ 113722 w 148435"/>
              <a:gd name="T31" fmla="*/ 0 h 189286"/>
              <a:gd name="T32" fmla="*/ 75999 w 148435"/>
              <a:gd name="T33" fmla="*/ 26495 h 189286"/>
              <a:gd name="T34" fmla="*/ 59296 w 148435"/>
              <a:gd name="T35" fmla="*/ 56583 h 189286"/>
              <a:gd name="T36" fmla="*/ 105753 w 148435"/>
              <a:gd name="T37" fmla="*/ 56583 h 189286"/>
              <a:gd name="T38" fmla="*/ 115759 w 148435"/>
              <a:gd name="T39" fmla="*/ 55849 h 189286"/>
              <a:gd name="T40" fmla="*/ 142734 w 148435"/>
              <a:gd name="T41" fmla="*/ 55849 h 189286"/>
              <a:gd name="T42" fmla="*/ 148435 w 148435"/>
              <a:gd name="T43" fmla="*/ 10457 h 189286"/>
              <a:gd name="T44" fmla="*/ 137066 w 148435"/>
              <a:gd name="T45" fmla="*/ 4225 h 189286"/>
              <a:gd name="T46" fmla="*/ 126026 w 148435"/>
              <a:gd name="T47" fmla="*/ 873 h 189286"/>
              <a:gd name="T48" fmla="*/ 113722 w 148435"/>
              <a:gd name="T49" fmla="*/ 0 h 189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73" name="object 22">
            <a:extLst>
              <a:ext uri="{FF2B5EF4-FFF2-40B4-BE49-F238E27FC236}">
                <a16:creationId xmlns:a16="http://schemas.microsoft.com/office/drawing/2014/main" id="{BD56425D-0BDA-40F5-B0D7-F8CE2589C90C}"/>
              </a:ext>
            </a:extLst>
          </p:cNvPr>
          <p:cNvSpPr>
            <a:spLocks/>
          </p:cNvSpPr>
          <p:nvPr/>
        </p:nvSpPr>
        <p:spPr bwMode="auto">
          <a:xfrm>
            <a:off x="8747312" y="6394994"/>
            <a:ext cx="111855" cy="111855"/>
          </a:xfrm>
          <a:custGeom>
            <a:avLst/>
            <a:gdLst>
              <a:gd name="T0" fmla="*/ 105791 w 193899"/>
              <a:gd name="T1" fmla="*/ 0 h 192655"/>
              <a:gd name="T2" fmla="*/ 59480 w 193899"/>
              <a:gd name="T3" fmla="*/ 7870 h 192655"/>
              <a:gd name="T4" fmla="*/ 25255 w 193899"/>
              <a:gd name="T5" fmla="*/ 30136 h 192655"/>
              <a:gd name="T6" fmla="*/ 4931 w 193899"/>
              <a:gd name="T7" fmla="*/ 64116 h 192655"/>
              <a:gd name="T8" fmla="*/ 0 w 193899"/>
              <a:gd name="T9" fmla="*/ 91954 h 192655"/>
              <a:gd name="T10" fmla="*/ 901 w 193899"/>
              <a:gd name="T11" fmla="*/ 107653 h 192655"/>
              <a:gd name="T12" fmla="*/ 14163 w 193899"/>
              <a:gd name="T13" fmla="*/ 147572 h 192655"/>
              <a:gd name="T14" fmla="*/ 41702 w 193899"/>
              <a:gd name="T15" fmla="*/ 175703 h 192655"/>
              <a:gd name="T16" fmla="*/ 81516 w 193899"/>
              <a:gd name="T17" fmla="*/ 190728 h 192655"/>
              <a:gd name="T18" fmla="*/ 107485 w 193899"/>
              <a:gd name="T19" fmla="*/ 192655 h 192655"/>
              <a:gd name="T20" fmla="*/ 118689 w 193899"/>
              <a:gd name="T21" fmla="*/ 192350 h 192655"/>
              <a:gd name="T22" fmla="*/ 169214 w 193899"/>
              <a:gd name="T23" fmla="*/ 180915 h 192655"/>
              <a:gd name="T24" fmla="*/ 185591 w 193899"/>
              <a:gd name="T25" fmla="*/ 157805 h 192655"/>
              <a:gd name="T26" fmla="*/ 131330 w 193899"/>
              <a:gd name="T27" fmla="*/ 157805 h 192655"/>
              <a:gd name="T28" fmla="*/ 112833 w 193899"/>
              <a:gd name="T29" fmla="*/ 156784 h 192655"/>
              <a:gd name="T30" fmla="*/ 74396 w 193899"/>
              <a:gd name="T31" fmla="*/ 140117 h 192655"/>
              <a:gd name="T32" fmla="*/ 60397 w 193899"/>
              <a:gd name="T33" fmla="*/ 105806 h 192655"/>
              <a:gd name="T34" fmla="*/ 193899 w 193899"/>
              <a:gd name="T35" fmla="*/ 105806 h 192655"/>
              <a:gd name="T36" fmla="*/ 193588 w 193899"/>
              <a:gd name="T37" fmla="*/ 88898 h 192655"/>
              <a:gd name="T38" fmla="*/ 191559 w 193899"/>
              <a:gd name="T39" fmla="*/ 75149 h 192655"/>
              <a:gd name="T40" fmla="*/ 61603 w 193899"/>
              <a:gd name="T41" fmla="*/ 75149 h 192655"/>
              <a:gd name="T42" fmla="*/ 65003 w 193899"/>
              <a:gd name="T43" fmla="*/ 59641 h 192655"/>
              <a:gd name="T44" fmla="*/ 71797 w 193899"/>
              <a:gd name="T45" fmla="*/ 47600 h 192655"/>
              <a:gd name="T46" fmla="*/ 81695 w 193899"/>
              <a:gd name="T47" fmla="*/ 39292 h 192655"/>
              <a:gd name="T48" fmla="*/ 94403 w 193899"/>
              <a:gd name="T49" fmla="*/ 34981 h 192655"/>
              <a:gd name="T50" fmla="*/ 101926 w 193899"/>
              <a:gd name="T51" fmla="*/ 34407 h 192655"/>
              <a:gd name="T52" fmla="*/ 173308 w 193899"/>
              <a:gd name="T53" fmla="*/ 34407 h 192655"/>
              <a:gd name="T54" fmla="*/ 165226 w 193899"/>
              <a:gd name="T55" fmla="*/ 25366 h 192655"/>
              <a:gd name="T56" fmla="*/ 155231 w 193899"/>
              <a:gd name="T57" fmla="*/ 17102 h 192655"/>
              <a:gd name="T58" fmla="*/ 144141 w 193899"/>
              <a:gd name="T59" fmla="*/ 10399 h 192655"/>
              <a:gd name="T60" fmla="*/ 132106 w 193899"/>
              <a:gd name="T61" fmla="*/ 5291 h 192655"/>
              <a:gd name="T62" fmla="*/ 119273 w 193899"/>
              <a:gd name="T63" fmla="*/ 1813 h 192655"/>
              <a:gd name="T64" fmla="*/ 105791 w 193899"/>
              <a:gd name="T65" fmla="*/ 0 h 192655"/>
              <a:gd name="T66" fmla="*/ 190674 w 193899"/>
              <a:gd name="T67" fmla="*/ 131613 h 192655"/>
              <a:gd name="T68" fmla="*/ 153671 w 193899"/>
              <a:gd name="T69" fmla="*/ 152711 h 192655"/>
              <a:gd name="T70" fmla="*/ 131330 w 193899"/>
              <a:gd name="T71" fmla="*/ 157805 h 192655"/>
              <a:gd name="T72" fmla="*/ 185591 w 193899"/>
              <a:gd name="T73" fmla="*/ 157805 h 192655"/>
              <a:gd name="T74" fmla="*/ 190674 w 193899"/>
              <a:gd name="T75" fmla="*/ 131613 h 192655"/>
              <a:gd name="T76" fmla="*/ 173308 w 193899"/>
              <a:gd name="T77" fmla="*/ 34407 h 192655"/>
              <a:gd name="T78" fmla="*/ 101926 w 193899"/>
              <a:gd name="T79" fmla="*/ 34407 h 192655"/>
              <a:gd name="T80" fmla="*/ 115810 w 193899"/>
              <a:gd name="T81" fmla="*/ 36607 h 192655"/>
              <a:gd name="T82" fmla="*/ 127186 w 193899"/>
              <a:gd name="T83" fmla="*/ 42978 h 192655"/>
              <a:gd name="T84" fmla="*/ 135687 w 193899"/>
              <a:gd name="T85" fmla="*/ 53177 h 192655"/>
              <a:gd name="T86" fmla="*/ 140942 w 193899"/>
              <a:gd name="T87" fmla="*/ 66864 h 192655"/>
              <a:gd name="T88" fmla="*/ 61603 w 193899"/>
              <a:gd name="T89" fmla="*/ 75149 h 192655"/>
              <a:gd name="T90" fmla="*/ 191559 w 193899"/>
              <a:gd name="T91" fmla="*/ 75149 h 192655"/>
              <a:gd name="T92" fmla="*/ 191292 w 193899"/>
              <a:gd name="T93" fmla="*/ 73345 h 192655"/>
              <a:gd name="T94" fmla="*/ 187160 w 193899"/>
              <a:gd name="T95" fmla="*/ 59180 h 192655"/>
              <a:gd name="T96" fmla="*/ 181339 w 193899"/>
              <a:gd name="T97" fmla="*/ 46439 h 192655"/>
              <a:gd name="T98" fmla="*/ 173978 w 193899"/>
              <a:gd name="T99" fmla="*/ 35157 h 192655"/>
              <a:gd name="T100" fmla="*/ 173308 w 193899"/>
              <a:gd name="T101" fmla="*/ 34407 h 19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74" name="object 23">
            <a:extLst>
              <a:ext uri="{FF2B5EF4-FFF2-40B4-BE49-F238E27FC236}">
                <a16:creationId xmlns:a16="http://schemas.microsoft.com/office/drawing/2014/main" id="{0E4413D3-6D79-4BBD-99B4-5854A0C2BAED}"/>
              </a:ext>
            </a:extLst>
          </p:cNvPr>
          <p:cNvSpPr>
            <a:spLocks/>
          </p:cNvSpPr>
          <p:nvPr/>
        </p:nvSpPr>
        <p:spPr bwMode="auto">
          <a:xfrm>
            <a:off x="8876587" y="6394994"/>
            <a:ext cx="108188" cy="109104"/>
          </a:xfrm>
          <a:custGeom>
            <a:avLst/>
            <a:gdLst>
              <a:gd name="T0" fmla="*/ 58496 w 186753"/>
              <a:gd name="T1" fmla="*/ 3531 h 189472"/>
              <a:gd name="T2" fmla="*/ 0 w 186753"/>
              <a:gd name="T3" fmla="*/ 3531 h 189472"/>
              <a:gd name="T4" fmla="*/ 0 w 186753"/>
              <a:gd name="T5" fmla="*/ 189472 h 189472"/>
              <a:gd name="T6" fmla="*/ 58496 w 186753"/>
              <a:gd name="T7" fmla="*/ 189472 h 189472"/>
              <a:gd name="T8" fmla="*/ 64716 w 186753"/>
              <a:gd name="T9" fmla="*/ 60917 h 189472"/>
              <a:gd name="T10" fmla="*/ 73902 w 186753"/>
              <a:gd name="T11" fmla="*/ 50710 h 189472"/>
              <a:gd name="T12" fmla="*/ 83535 w 186753"/>
              <a:gd name="T13" fmla="*/ 44118 h 189472"/>
              <a:gd name="T14" fmla="*/ 94633 w 186753"/>
              <a:gd name="T15" fmla="*/ 40761 h 189472"/>
              <a:gd name="T16" fmla="*/ 108215 w 186753"/>
              <a:gd name="T17" fmla="*/ 40256 h 189472"/>
              <a:gd name="T18" fmla="*/ 181204 w 186753"/>
              <a:gd name="T19" fmla="*/ 40256 h 189472"/>
              <a:gd name="T20" fmla="*/ 180209 w 186753"/>
              <a:gd name="T21" fmla="*/ 37064 h 189472"/>
              <a:gd name="T22" fmla="*/ 176069 w 186753"/>
              <a:gd name="T23" fmla="*/ 30150 h 189472"/>
              <a:gd name="T24" fmla="*/ 58496 w 186753"/>
              <a:gd name="T25" fmla="*/ 30150 h 189472"/>
              <a:gd name="T26" fmla="*/ 58496 w 186753"/>
              <a:gd name="T27" fmla="*/ 3531 h 189472"/>
              <a:gd name="T28" fmla="*/ 181204 w 186753"/>
              <a:gd name="T29" fmla="*/ 40256 h 189472"/>
              <a:gd name="T30" fmla="*/ 108215 w 186753"/>
              <a:gd name="T31" fmla="*/ 40256 h 189472"/>
              <a:gd name="T32" fmla="*/ 118687 w 186753"/>
              <a:gd name="T33" fmla="*/ 46405 h 189472"/>
              <a:gd name="T34" fmla="*/ 125699 w 186753"/>
              <a:gd name="T35" fmla="*/ 58192 h 189472"/>
              <a:gd name="T36" fmla="*/ 128257 w 186753"/>
              <a:gd name="T37" fmla="*/ 76137 h 189472"/>
              <a:gd name="T38" fmla="*/ 128257 w 186753"/>
              <a:gd name="T39" fmla="*/ 189472 h 189472"/>
              <a:gd name="T40" fmla="*/ 186753 w 186753"/>
              <a:gd name="T41" fmla="*/ 189472 h 189472"/>
              <a:gd name="T42" fmla="*/ 185042 w 186753"/>
              <a:gd name="T43" fmla="*/ 52574 h 189472"/>
              <a:gd name="T44" fmla="*/ 181204 w 186753"/>
              <a:gd name="T45" fmla="*/ 40256 h 189472"/>
              <a:gd name="T46" fmla="*/ 114684 w 186753"/>
              <a:gd name="T47" fmla="*/ 0 h 189472"/>
              <a:gd name="T48" fmla="*/ 68938 w 186753"/>
              <a:gd name="T49" fmla="*/ 19409 h 189472"/>
              <a:gd name="T50" fmla="*/ 58496 w 186753"/>
              <a:gd name="T51" fmla="*/ 30150 h 189472"/>
              <a:gd name="T52" fmla="*/ 176069 w 186753"/>
              <a:gd name="T53" fmla="*/ 30150 h 189472"/>
              <a:gd name="T54" fmla="*/ 140028 w 186753"/>
              <a:gd name="T55" fmla="*/ 3388 h 189472"/>
              <a:gd name="T56" fmla="*/ 114684 w 186753"/>
              <a:gd name="T57" fmla="*/ 0 h 189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575" name="object 24">
            <a:extLst>
              <a:ext uri="{FF2B5EF4-FFF2-40B4-BE49-F238E27FC236}">
                <a16:creationId xmlns:a16="http://schemas.microsoft.com/office/drawing/2014/main" id="{79E267D2-912E-403D-9BA4-078D344105B9}"/>
              </a:ext>
            </a:extLst>
          </p:cNvPr>
          <p:cNvSpPr>
            <a:spLocks/>
          </p:cNvSpPr>
          <p:nvPr/>
        </p:nvSpPr>
        <p:spPr bwMode="auto">
          <a:xfrm>
            <a:off x="6621149" y="6108938"/>
            <a:ext cx="456589" cy="477676"/>
          </a:xfrm>
          <a:custGeom>
            <a:avLst/>
            <a:gdLst>
              <a:gd name="T0" fmla="*/ 66585 w 790525"/>
              <a:gd name="T1" fmla="*/ 162560 h 826770"/>
              <a:gd name="T2" fmla="*/ 78798 w 790525"/>
              <a:gd name="T3" fmla="*/ 207010 h 826770"/>
              <a:gd name="T4" fmla="*/ 31279 w 790525"/>
              <a:gd name="T5" fmla="*/ 292100 h 826770"/>
              <a:gd name="T6" fmla="*/ 426 w 790525"/>
              <a:gd name="T7" fmla="*/ 466090 h 826770"/>
              <a:gd name="T8" fmla="*/ 43637 w 790525"/>
              <a:gd name="T9" fmla="*/ 624840 h 826770"/>
              <a:gd name="T10" fmla="*/ 81010 w 790525"/>
              <a:gd name="T11" fmla="*/ 681990 h 826770"/>
              <a:gd name="T12" fmla="*/ 157224 w 790525"/>
              <a:gd name="T13" fmla="*/ 754380 h 826770"/>
              <a:gd name="T14" fmla="*/ 207199 w 790525"/>
              <a:gd name="T15" fmla="*/ 783590 h 826770"/>
              <a:gd name="T16" fmla="*/ 315749 w 790525"/>
              <a:gd name="T17" fmla="*/ 821690 h 826770"/>
              <a:gd name="T18" fmla="*/ 514267 w 790525"/>
              <a:gd name="T19" fmla="*/ 819150 h 826770"/>
              <a:gd name="T20" fmla="*/ 609328 w 790525"/>
              <a:gd name="T21" fmla="*/ 786130 h 826770"/>
              <a:gd name="T22" fmla="*/ 616272 w 790525"/>
              <a:gd name="T23" fmla="*/ 744220 h 826770"/>
              <a:gd name="T24" fmla="*/ 201626 w 790525"/>
              <a:gd name="T25" fmla="*/ 715010 h 826770"/>
              <a:gd name="T26" fmla="*/ 134155 w 790525"/>
              <a:gd name="T27" fmla="*/ 654050 h 826770"/>
              <a:gd name="T28" fmla="*/ 66491 w 790525"/>
              <a:gd name="T29" fmla="*/ 543560 h 826770"/>
              <a:gd name="T30" fmla="*/ 42317 w 790525"/>
              <a:gd name="T31" fmla="*/ 401320 h 826770"/>
              <a:gd name="T32" fmla="*/ 83745 w 790525"/>
              <a:gd name="T33" fmla="*/ 247650 h 826770"/>
              <a:gd name="T34" fmla="*/ 191896 w 790525"/>
              <a:gd name="T35" fmla="*/ 212090 h 826770"/>
              <a:gd name="T36" fmla="*/ 154483 w 790525"/>
              <a:gd name="T37" fmla="*/ 173990 h 826770"/>
              <a:gd name="T38" fmla="*/ 119420 w 790525"/>
              <a:gd name="T39" fmla="*/ 148590 h 826770"/>
              <a:gd name="T40" fmla="*/ 119256 w 790525"/>
              <a:gd name="T41" fmla="*/ 255270 h 826770"/>
              <a:gd name="T42" fmla="*/ 183966 w 790525"/>
              <a:gd name="T43" fmla="*/ 330200 h 826770"/>
              <a:gd name="T44" fmla="*/ 225190 w 790525"/>
              <a:gd name="T45" fmla="*/ 381000 h 826770"/>
              <a:gd name="T46" fmla="*/ 254311 w 790525"/>
              <a:gd name="T47" fmla="*/ 425450 h 826770"/>
              <a:gd name="T48" fmla="*/ 253814 w 790525"/>
              <a:gd name="T49" fmla="*/ 482600 h 826770"/>
              <a:gd name="T50" fmla="*/ 237140 w 790525"/>
              <a:gd name="T51" fmla="*/ 554990 h 826770"/>
              <a:gd name="T52" fmla="*/ 222794 w 790525"/>
              <a:gd name="T53" fmla="*/ 718820 h 826770"/>
              <a:gd name="T54" fmla="*/ 592655 w 790525"/>
              <a:gd name="T55" fmla="*/ 669290 h 826770"/>
              <a:gd name="T56" fmla="*/ 577540 w 790525"/>
              <a:gd name="T57" fmla="*/ 482600 h 826770"/>
              <a:gd name="T58" fmla="*/ 626380 w 790525"/>
              <a:gd name="T59" fmla="*/ 356870 h 826770"/>
              <a:gd name="T60" fmla="*/ 405812 w 790525"/>
              <a:gd name="T61" fmla="*/ 321310 h 826770"/>
              <a:gd name="T62" fmla="*/ 286561 w 790525"/>
              <a:gd name="T63" fmla="*/ 284480 h 826770"/>
              <a:gd name="T64" fmla="*/ 210527 w 790525"/>
              <a:gd name="T65" fmla="*/ 228600 h 826770"/>
              <a:gd name="T66" fmla="*/ 728545 w 790525"/>
              <a:gd name="T67" fmla="*/ 339090 h 826770"/>
              <a:gd name="T68" fmla="*/ 738699 w 790525"/>
              <a:gd name="T69" fmla="*/ 504190 h 826770"/>
              <a:gd name="T70" fmla="*/ 662084 w 790525"/>
              <a:gd name="T71" fmla="*/ 665480 h 826770"/>
              <a:gd name="T72" fmla="*/ 666275 w 790525"/>
              <a:gd name="T73" fmla="*/ 684530 h 826770"/>
              <a:gd name="T74" fmla="*/ 710323 w 790525"/>
              <a:gd name="T75" fmla="*/ 645160 h 826770"/>
              <a:gd name="T76" fmla="*/ 785728 w 790525"/>
              <a:gd name="T77" fmla="*/ 415290 h 826770"/>
              <a:gd name="T78" fmla="*/ 759233 w 790525"/>
              <a:gd name="T79" fmla="*/ 269240 h 826770"/>
              <a:gd name="T80" fmla="*/ 583941 w 790525"/>
              <a:gd name="T81" fmla="*/ 142240 h 826770"/>
              <a:gd name="T82" fmla="*/ 578252 w 790525"/>
              <a:gd name="T83" fmla="*/ 264160 h 826770"/>
              <a:gd name="T84" fmla="*/ 653076 w 790525"/>
              <a:gd name="T85" fmla="*/ 321310 h 826770"/>
              <a:gd name="T86" fmla="*/ 759233 w 790525"/>
              <a:gd name="T87" fmla="*/ 269240 h 826770"/>
              <a:gd name="T88" fmla="*/ 789985 w 790525"/>
              <a:gd name="T89" fmla="*/ 166370 h 826770"/>
              <a:gd name="T90" fmla="*/ 660777 w 790525"/>
              <a:gd name="T91" fmla="*/ 128270 h 826770"/>
              <a:gd name="T92" fmla="*/ 300642 w 790525"/>
              <a:gd name="T93" fmla="*/ 85090 h 826770"/>
              <a:gd name="T94" fmla="*/ 291916 w 790525"/>
              <a:gd name="T95" fmla="*/ 138430 h 826770"/>
              <a:gd name="T96" fmla="*/ 385181 w 790525"/>
              <a:gd name="T97" fmla="*/ 283210 h 826770"/>
              <a:gd name="T98" fmla="*/ 523231 w 790525"/>
              <a:gd name="T99" fmla="*/ 205740 h 826770"/>
              <a:gd name="T100" fmla="*/ 630062 w 790525"/>
              <a:gd name="T101" fmla="*/ 104140 h 826770"/>
              <a:gd name="T102" fmla="*/ 718209 w 790525"/>
              <a:gd name="T103" fmla="*/ 146050 h 826770"/>
              <a:gd name="T104" fmla="*/ 776367 w 790525"/>
              <a:gd name="T105" fmla="*/ 143510 h 826770"/>
              <a:gd name="T106" fmla="*/ 401475 w 790525"/>
              <a:gd name="T107" fmla="*/ 0 h 826770"/>
              <a:gd name="T108" fmla="*/ 238833 w 790525"/>
              <a:gd name="T109" fmla="*/ 73660 h 826770"/>
              <a:gd name="T110" fmla="*/ 152920 w 790525"/>
              <a:gd name="T111" fmla="*/ 129540 h 826770"/>
              <a:gd name="T112" fmla="*/ 176990 w 790525"/>
              <a:gd name="T113" fmla="*/ 142240 h 826770"/>
              <a:gd name="T114" fmla="*/ 231913 w 790525"/>
              <a:gd name="T115" fmla="*/ 109220 h 826770"/>
              <a:gd name="T116" fmla="*/ 575018 w 790525"/>
              <a:gd name="T117" fmla="*/ 72390 h 826770"/>
              <a:gd name="T118" fmla="*/ 503374 w 790525"/>
              <a:gd name="T119" fmla="*/ 46990 h 826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6" name="object 26">
            <a:extLst>
              <a:ext uri="{FF2B5EF4-FFF2-40B4-BE49-F238E27FC236}">
                <a16:creationId xmlns:a16="http://schemas.microsoft.com/office/drawing/2014/main" id="{CABAFDD0-6A0A-43A6-8B5F-24F8E27E4E27}"/>
              </a:ext>
            </a:extLst>
          </p:cNvPr>
          <p:cNvSpPr txBox="1">
            <a:spLocks noGrp="1"/>
          </p:cNvSpPr>
          <p:nvPr>
            <p:ph type="title"/>
          </p:nvPr>
        </p:nvSpPr>
        <p:spPr>
          <a:xfrm>
            <a:off x="-1619556" y="194371"/>
            <a:ext cx="10192667" cy="856334"/>
          </a:xfrm>
        </p:spPr>
        <p:txBody>
          <a:bodyPr vert="horz" lIns="0" tIns="0" rIns="0" bIns="0" rtlCol="0" anchor="ctr">
            <a:noAutofit/>
          </a:bodyPr>
          <a:lstStyle/>
          <a:p>
            <a:pPr marL="1879035">
              <a:defRPr/>
            </a:pPr>
            <a:r>
              <a:rPr lang="my-MM" sz="2400" dirty="0">
                <a:latin typeface="Zawgyi-One" pitchFamily="34" charset="0"/>
                <a:cs typeface="Zawgyi-One" pitchFamily="34" charset="0"/>
              </a:rPr>
              <a:t>ကေလးမ်ားအတြက္   စိတ္ပိုင္းဆိုင္ရာေထာက္ပံ့ေပးမွဳ တြင္ ပါ၀င္တာေတြကေတာ့...</a:t>
            </a:r>
            <a:endParaRPr sz="2400" dirty="0">
              <a:latin typeface="Gill Sans Light"/>
              <a:cs typeface="Gill Sans Light"/>
            </a:endParaRPr>
          </a:p>
        </p:txBody>
      </p:sp>
      <p:sp>
        <p:nvSpPr>
          <p:cNvPr id="36" name="object 36">
            <a:extLst>
              <a:ext uri="{FF2B5EF4-FFF2-40B4-BE49-F238E27FC236}">
                <a16:creationId xmlns:a16="http://schemas.microsoft.com/office/drawing/2014/main" id="{B6BB3452-8312-480B-8FED-9401A49CF20C}"/>
              </a:ext>
            </a:extLst>
          </p:cNvPr>
          <p:cNvSpPr>
            <a:spLocks noGrp="1"/>
          </p:cNvSpPr>
          <p:nvPr>
            <p:ph type="ftr" sz="quarter" idx="11"/>
          </p:nvPr>
        </p:nvSpPr>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34" name="object 34">
            <a:extLst>
              <a:ext uri="{FF2B5EF4-FFF2-40B4-BE49-F238E27FC236}">
                <a16:creationId xmlns:a16="http://schemas.microsoft.com/office/drawing/2014/main" id="{D24936B7-323E-45B9-A1DB-C39BBC220048}"/>
              </a:ext>
            </a:extLst>
          </p:cNvPr>
          <p:cNvSpPr txBox="1"/>
          <p:nvPr/>
        </p:nvSpPr>
        <p:spPr>
          <a:xfrm>
            <a:off x="615815" y="1405982"/>
            <a:ext cx="7823437" cy="4034117"/>
          </a:xfrm>
          <a:prstGeom prst="rect">
            <a:avLst/>
          </a:prstGeom>
          <a:solidFill>
            <a:schemeClr val="bg1"/>
          </a:solidFill>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marL="291607" marR="0" lvl="0" indent="-285750" algn="l" defTabSz="843533" rtl="0" eaLnBrk="0" fontAlgn="base" latinLnBrk="0" hangingPunct="0">
              <a:lnSpc>
                <a:spcPct val="150000"/>
              </a:lnSpc>
              <a:spcBef>
                <a:spcPct val="0"/>
              </a:spcBef>
              <a:spcAft>
                <a:spcPts val="553"/>
              </a:spcAft>
              <a:buClrTx/>
              <a:buSzTx/>
              <a:buFont typeface="Wingdings" panose="05000000000000000000" pitchFamily="2" charset="2"/>
              <a:buChar char="ü"/>
              <a:tabLst/>
              <a:defRPr/>
            </a:pP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လက္ေတ</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႔</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စာ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က္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တ</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င့္</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အေထာက္အပံံ့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ပးရာတြ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အတင္းအက်ပ</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ဆာင္ရြက္မွုမျပ</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ခင္း</a:t>
            </a:r>
            <a:r>
              <a:rPr lang="en-US" altLang="en-US" sz="1600" dirty="0">
                <a:solidFill>
                  <a:schemeClr val="tx1"/>
                </a:solidFill>
                <a:latin typeface="Zawgyi-One" panose="020B0604030504040204" pitchFamily="34" charset="0"/>
                <a:cs typeface="Zawgyi-One" panose="020B0604030504040204" pitchFamily="34" charset="0"/>
              </a:rPr>
              <a:t>။ </a:t>
            </a:r>
            <a:endParaRPr kumimoji="0" lang="en-US" altLang="en-US" sz="4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1607" marR="0" lvl="0" indent="-285750" algn="l" defTabSz="843533" rtl="0" eaLnBrk="0" fontAlgn="base" latinLnBrk="0" hangingPunct="0">
              <a:lnSpc>
                <a:spcPct val="150000"/>
              </a:lnSpc>
              <a:spcBef>
                <a:spcPct val="0"/>
              </a:spcBef>
              <a:spcAft>
                <a:spcPts val="553"/>
              </a:spcAft>
              <a:buClrTx/>
              <a:buSzTx/>
              <a:buFont typeface="Wingdings" panose="05000000000000000000" pitchFamily="2" charset="2"/>
              <a:buChar char="ü"/>
              <a:tabLst/>
              <a:defRPr/>
            </a:pP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စိုးရိမ္မႈမ်ားနွ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လိုအပ္ခ်က္မ်ားအား</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သိရွိျခ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4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1607" marR="0" lvl="0" indent="-285750" algn="l" defTabSz="843533" rtl="0" eaLnBrk="0" fontAlgn="base" latinLnBrk="0" hangingPunct="0">
              <a:lnSpc>
                <a:spcPct val="150000"/>
              </a:lnSpc>
              <a:spcBef>
                <a:spcPct val="0"/>
              </a:spcBef>
              <a:spcAft>
                <a:spcPts val="553"/>
              </a:spcAft>
              <a:buClrTx/>
              <a:buSzTx/>
              <a:buFont typeface="Wingdings" panose="05000000000000000000" pitchFamily="2" charset="2"/>
              <a:buChar char="ü"/>
              <a:tabLst/>
              <a:defRPr/>
            </a:pP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အေျခခံလိုအပ္ခ်က္မ်ားကို</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ရွိေအာ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ကူညီေပးျခ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ဥပမာ-အစားအေသာက</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4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1607" marR="0" lvl="0" indent="-285750" algn="l" defTabSz="843533" rtl="0" eaLnBrk="0" fontAlgn="base" latinLnBrk="0" hangingPunct="0">
              <a:lnSpc>
                <a:spcPct val="150000"/>
              </a:lnSpc>
              <a:spcBef>
                <a:spcPct val="0"/>
              </a:spcBef>
              <a:spcAft>
                <a:spcPts val="553"/>
              </a:spcAft>
              <a:buClrTx/>
              <a:buSzTx/>
              <a:buFont typeface="Wingdings" panose="05000000000000000000" pitchFamily="2" charset="2"/>
              <a:buChar char="ü"/>
              <a:tabLst/>
              <a:defRPr/>
            </a:pP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စိတ္သက္သာရာရေစရန</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ကူညီျခ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င့္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သိ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ဆြးေ</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ပးျခင္း</a:t>
            </a:r>
            <a:endParaRPr kumimoji="0" lang="en-US" altLang="en-US" sz="4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1607" marR="0" lvl="0" indent="-285750" algn="l" defTabSz="843533" rtl="0" eaLnBrk="0" fontAlgn="base" latinLnBrk="0" hangingPunct="0">
              <a:lnSpc>
                <a:spcPct val="150000"/>
              </a:lnSpc>
              <a:spcBef>
                <a:spcPct val="0"/>
              </a:spcBef>
              <a:spcAft>
                <a:spcPts val="553"/>
              </a:spcAft>
              <a:buClrTx/>
              <a:buSzTx/>
              <a:buFont typeface="Wingdings" panose="05000000000000000000" pitchFamily="2" charset="2"/>
              <a:buChar char="ü"/>
              <a:tabLst/>
              <a:defRPr/>
            </a:pP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လူ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အေထာက္အပံံ့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၀န္ေဆာင္မွဳ</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သတင္းအခ်က္မ်ား</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င့္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ရွိရန</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ဆက္သြယ</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ဆာင္ရြက္ေပးျခင္း</a:t>
            </a:r>
            <a:endParaRPr kumimoji="0" lang="en-US" altLang="en-US" sz="4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1607" marR="0" lvl="0" indent="-285750" algn="l" defTabSz="843533" rtl="0" eaLnBrk="0" fontAlgn="base" latinLnBrk="0" hangingPunct="0">
              <a:lnSpc>
                <a:spcPct val="150000"/>
              </a:lnSpc>
              <a:spcBef>
                <a:spcPct val="0"/>
              </a:spcBef>
              <a:spcAft>
                <a:spcPts val="553"/>
              </a:spcAft>
              <a:buClrTx/>
              <a:buSzTx/>
              <a:buFont typeface="Wingdings" panose="05000000000000000000" pitchFamily="2" charset="2"/>
              <a:buChar char="ü"/>
              <a:tabLst/>
              <a:defRPr/>
            </a:pP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နာက္ထပ္အ</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ယ</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မက</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က္ေအာင္ကာကြယ္ေစာင</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ရွာက</a:t>
            </a:r>
            <a:r>
              <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ခင္း</a:t>
            </a:r>
            <a:endParaRPr kumimoji="0" lang="en-US" altLang="en-US" sz="16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endParaRPr>
          </a:p>
        </p:txBody>
      </p:sp>
      <p:sp>
        <p:nvSpPr>
          <p:cNvPr id="35" name="object 35">
            <a:extLst>
              <a:ext uri="{FF2B5EF4-FFF2-40B4-BE49-F238E27FC236}">
                <a16:creationId xmlns:a16="http://schemas.microsoft.com/office/drawing/2014/main" id="{2AFACD58-6666-470A-A505-7EFDF5985AA2}"/>
              </a:ext>
            </a:extLst>
          </p:cNvPr>
          <p:cNvSpPr txBox="1"/>
          <p:nvPr/>
        </p:nvSpPr>
        <p:spPr>
          <a:xfrm>
            <a:off x="9056779" y="5160789"/>
            <a:ext cx="69313" cy="600717"/>
          </a:xfrm>
          <a:prstGeom prst="rect">
            <a:avLst/>
          </a:prstGeom>
        </p:spPr>
        <p:txBody>
          <a:bodyPr vert="vert270" lIns="0" tIns="0" rIns="0" bIns="0"/>
          <a:lstStyle/>
          <a:p>
            <a:pPr marL="7334">
              <a:defRPr/>
            </a:pPr>
            <a:r>
              <a:rPr sz="404" dirty="0">
                <a:solidFill>
                  <a:srgbClr val="231F20"/>
                </a:solidFill>
                <a:latin typeface="Gill Sans"/>
                <a:cs typeface="Gill Sans"/>
              </a:rPr>
              <a:t>Kate Holt/S</a:t>
            </a:r>
            <a:r>
              <a:rPr sz="404" spc="-14" dirty="0">
                <a:solidFill>
                  <a:srgbClr val="231F20"/>
                </a:solidFill>
                <a:latin typeface="Gill Sans"/>
                <a:cs typeface="Gill Sans"/>
              </a:rPr>
              <a:t>a</a:t>
            </a:r>
            <a:r>
              <a:rPr sz="404" spc="-9" dirty="0">
                <a:solidFill>
                  <a:srgbClr val="231F20"/>
                </a:solidFill>
                <a:latin typeface="Gill Sans"/>
                <a:cs typeface="Gill Sans"/>
              </a:rPr>
              <a:t>v</a:t>
            </a:r>
            <a:r>
              <a:rPr sz="404" dirty="0">
                <a:solidFill>
                  <a:srgbClr val="231F20"/>
                </a:solidFill>
                <a:latin typeface="Gill Sans"/>
                <a:cs typeface="Gill Sans"/>
              </a:rPr>
              <a:t>e the Child</a:t>
            </a:r>
            <a:r>
              <a:rPr sz="404" spc="-9" dirty="0">
                <a:solidFill>
                  <a:srgbClr val="231F20"/>
                </a:solidFill>
                <a:latin typeface="Gill Sans"/>
                <a:cs typeface="Gill Sans"/>
              </a:rPr>
              <a:t>r</a:t>
            </a:r>
            <a:r>
              <a:rPr sz="404" dirty="0">
                <a:solidFill>
                  <a:srgbClr val="231F20"/>
                </a:solidFill>
                <a:latin typeface="Gill Sans"/>
                <a:cs typeface="Gill Sans"/>
              </a:rPr>
              <a:t>en</a:t>
            </a:r>
            <a:endParaRPr sz="404">
              <a:latin typeface="Gill Sans"/>
              <a:cs typeface="Gill Sans"/>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object 3">
            <a:extLst>
              <a:ext uri="{FF2B5EF4-FFF2-40B4-BE49-F238E27FC236}">
                <a16:creationId xmlns:a16="http://schemas.microsoft.com/office/drawing/2014/main" id="{E763ABA7-EF2F-4AAC-8798-E7E9EF19261B}"/>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0" name="object 4">
            <a:extLst>
              <a:ext uri="{FF2B5EF4-FFF2-40B4-BE49-F238E27FC236}">
                <a16:creationId xmlns:a16="http://schemas.microsoft.com/office/drawing/2014/main" id="{2EC3A38C-14FB-49A1-B570-F90A60E34CE8}"/>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3" name="object 8">
            <a:extLst>
              <a:ext uri="{FF2B5EF4-FFF2-40B4-BE49-F238E27FC236}">
                <a16:creationId xmlns:a16="http://schemas.microsoft.com/office/drawing/2014/main" id="{0C452D56-831C-4698-B8D8-A05F5E17F2BB}"/>
              </a:ext>
            </a:extLst>
          </p:cNvPr>
          <p:cNvSpPr>
            <a:spLocks/>
          </p:cNvSpPr>
          <p:nvPr/>
        </p:nvSpPr>
        <p:spPr bwMode="auto">
          <a:xfrm>
            <a:off x="7137332" y="6343651"/>
            <a:ext cx="116440" cy="163198"/>
          </a:xfrm>
          <a:custGeom>
            <a:avLst/>
            <a:gdLst>
              <a:gd name="T0" fmla="*/ 5640 w 201527"/>
              <a:gd name="T1" fmla="*/ 196283 h 282176"/>
              <a:gd name="T2" fmla="*/ 8677 w 201527"/>
              <a:gd name="T3" fmla="*/ 257130 h 282176"/>
              <a:gd name="T4" fmla="*/ 49711 w 201527"/>
              <a:gd name="T5" fmla="*/ 274727 h 282176"/>
              <a:gd name="T6" fmla="*/ 90485 w 201527"/>
              <a:gd name="T7" fmla="*/ 281658 h 282176"/>
              <a:gd name="T8" fmla="*/ 107731 w 201527"/>
              <a:gd name="T9" fmla="*/ 282176 h 282176"/>
              <a:gd name="T10" fmla="*/ 123607 w 201527"/>
              <a:gd name="T11" fmla="*/ 281179 h 282176"/>
              <a:gd name="T12" fmla="*/ 165022 w 201527"/>
              <a:gd name="T13" fmla="*/ 269253 h 282176"/>
              <a:gd name="T14" fmla="*/ 194586 w 201527"/>
              <a:gd name="T15" fmla="*/ 243732 h 282176"/>
              <a:gd name="T16" fmla="*/ 201527 w 201527"/>
              <a:gd name="T17" fmla="*/ 231399 h 282176"/>
              <a:gd name="T18" fmla="*/ 89385 w 201527"/>
              <a:gd name="T19" fmla="*/ 231399 h 282176"/>
              <a:gd name="T20" fmla="*/ 78461 w 201527"/>
              <a:gd name="T21" fmla="*/ 230048 h 282176"/>
              <a:gd name="T22" fmla="*/ 33026 w 201527"/>
              <a:gd name="T23" fmla="*/ 213043 h 282176"/>
              <a:gd name="T24" fmla="*/ 19938 w 201527"/>
              <a:gd name="T25" fmla="*/ 205428 h 282176"/>
              <a:gd name="T26" fmla="*/ 5640 w 201527"/>
              <a:gd name="T27" fmla="*/ 196283 h 282176"/>
              <a:gd name="T28" fmla="*/ 97394 w 201527"/>
              <a:gd name="T29" fmla="*/ 0 h 282176"/>
              <a:gd name="T30" fmla="*/ 50135 w 201527"/>
              <a:gd name="T31" fmla="*/ 9503 h 282176"/>
              <a:gd name="T32" fmla="*/ 17155 w 201527"/>
              <a:gd name="T33" fmla="*/ 32415 h 282176"/>
              <a:gd name="T34" fmla="*/ 0 w 201527"/>
              <a:gd name="T35" fmla="*/ 80392 h 282176"/>
              <a:gd name="T36" fmla="*/ 1613 w 201527"/>
              <a:gd name="T37" fmla="*/ 96400 h 282176"/>
              <a:gd name="T38" fmla="*/ 20167 w 201527"/>
              <a:gd name="T39" fmla="*/ 132500 h 282176"/>
              <a:gd name="T40" fmla="*/ 52208 w 201527"/>
              <a:gd name="T41" fmla="*/ 155308 h 282176"/>
              <a:gd name="T42" fmla="*/ 100167 w 201527"/>
              <a:gd name="T43" fmla="*/ 175259 h 282176"/>
              <a:gd name="T44" fmla="*/ 110843 w 201527"/>
              <a:gd name="T45" fmla="*/ 179838 h 282176"/>
              <a:gd name="T46" fmla="*/ 139478 w 201527"/>
              <a:gd name="T47" fmla="*/ 211224 h 282176"/>
              <a:gd name="T48" fmla="*/ 135082 w 201527"/>
              <a:gd name="T49" fmla="*/ 219958 h 282176"/>
              <a:gd name="T50" fmla="*/ 125635 w 201527"/>
              <a:gd name="T51" fmla="*/ 226358 h 282176"/>
              <a:gd name="T52" fmla="*/ 110587 w 201527"/>
              <a:gd name="T53" fmla="*/ 230235 h 282176"/>
              <a:gd name="T54" fmla="*/ 89385 w 201527"/>
              <a:gd name="T55" fmla="*/ 231399 h 282176"/>
              <a:gd name="T56" fmla="*/ 201527 w 201527"/>
              <a:gd name="T57" fmla="*/ 231399 h 282176"/>
              <a:gd name="T58" fmla="*/ 206103 w 201527"/>
              <a:gd name="T59" fmla="*/ 219047 h 282176"/>
              <a:gd name="T60" fmla="*/ 209043 w 201527"/>
              <a:gd name="T61" fmla="*/ 204376 h 282176"/>
              <a:gd name="T62" fmla="*/ 209942 w 201527"/>
              <a:gd name="T63" fmla="*/ 188141 h 282176"/>
              <a:gd name="T64" fmla="*/ 206744 w 201527"/>
              <a:gd name="T65" fmla="*/ 173333 h 282176"/>
              <a:gd name="T66" fmla="*/ 184021 w 201527"/>
              <a:gd name="T67" fmla="*/ 139885 h 282176"/>
              <a:gd name="T68" fmla="*/ 149308 w 201527"/>
              <a:gd name="T69" fmla="*/ 118293 h 282176"/>
              <a:gd name="T70" fmla="*/ 112516 w 201527"/>
              <a:gd name="T71" fmla="*/ 102634 h 282176"/>
              <a:gd name="T72" fmla="*/ 101503 w 201527"/>
              <a:gd name="T73" fmla="*/ 97708 h 282176"/>
              <a:gd name="T74" fmla="*/ 72331 w 201527"/>
              <a:gd name="T75" fmla="*/ 65412 h 282176"/>
              <a:gd name="T76" fmla="*/ 80154 w 201527"/>
              <a:gd name="T77" fmla="*/ 57314 h 282176"/>
              <a:gd name="T78" fmla="*/ 93652 w 201527"/>
              <a:gd name="T79" fmla="*/ 52113 h 282176"/>
              <a:gd name="T80" fmla="*/ 112174 w 201527"/>
              <a:gd name="T81" fmla="*/ 50278 h 282176"/>
              <a:gd name="T82" fmla="*/ 197432 w 201527"/>
              <a:gd name="T83" fmla="*/ 50278 h 282176"/>
              <a:gd name="T84" fmla="*/ 196707 w 201527"/>
              <a:gd name="T85" fmla="*/ 20659 h 282176"/>
              <a:gd name="T86" fmla="*/ 160233 w 201527"/>
              <a:gd name="T87" fmla="*/ 7703 h 282176"/>
              <a:gd name="T88" fmla="*/ 111068 w 201527"/>
              <a:gd name="T89" fmla="*/ 250 h 282176"/>
              <a:gd name="T90" fmla="*/ 97394 w 201527"/>
              <a:gd name="T91" fmla="*/ 0 h 282176"/>
              <a:gd name="T92" fmla="*/ 197432 w 201527"/>
              <a:gd name="T93" fmla="*/ 50278 h 282176"/>
              <a:gd name="T94" fmla="*/ 112174 w 201527"/>
              <a:gd name="T95" fmla="*/ 50278 h 282176"/>
              <a:gd name="T96" fmla="*/ 122111 w 201527"/>
              <a:gd name="T97" fmla="*/ 50802 h 282176"/>
              <a:gd name="T98" fmla="*/ 132391 w 201527"/>
              <a:gd name="T99" fmla="*/ 52212 h 282176"/>
              <a:gd name="T100" fmla="*/ 182137 w 201527"/>
              <a:gd name="T101" fmla="*/ 68036 h 282176"/>
              <a:gd name="T102" fmla="*/ 198033 w 201527"/>
              <a:gd name="T103" fmla="*/ 74871 h 282176"/>
              <a:gd name="T104" fmla="*/ 197432 w 201527"/>
              <a:gd name="T105" fmla="*/ 50278 h 28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4" name="object 9">
            <a:extLst>
              <a:ext uri="{FF2B5EF4-FFF2-40B4-BE49-F238E27FC236}">
                <a16:creationId xmlns:a16="http://schemas.microsoft.com/office/drawing/2014/main" id="{570EA882-083A-4696-B4D7-654AC6075E7B}"/>
              </a:ext>
            </a:extLst>
          </p:cNvPr>
          <p:cNvSpPr>
            <a:spLocks/>
          </p:cNvSpPr>
          <p:nvPr/>
        </p:nvSpPr>
        <p:spPr bwMode="auto">
          <a:xfrm>
            <a:off x="7271192" y="6394994"/>
            <a:ext cx="115522" cy="111855"/>
          </a:xfrm>
          <a:custGeom>
            <a:avLst/>
            <a:gdLst>
              <a:gd name="T0" fmla="*/ 66476 w 200263"/>
              <a:gd name="T1" fmla="*/ 39675 h 192883"/>
              <a:gd name="T2" fmla="*/ 100495 w 200263"/>
              <a:gd name="T3" fmla="*/ 46500 h 192883"/>
              <a:gd name="T4" fmla="*/ 110000 w 200263"/>
              <a:gd name="T5" fmla="*/ 65236 h 192883"/>
              <a:gd name="T6" fmla="*/ 55446 w 200263"/>
              <a:gd name="T7" fmla="*/ 85753 h 192883"/>
              <a:gd name="T8" fmla="*/ 0 w 200263"/>
              <a:gd name="T9" fmla="*/ 137558 h 192883"/>
              <a:gd name="T10" fmla="*/ 24597 w 200263"/>
              <a:gd name="T11" fmla="*/ 185847 h 192883"/>
              <a:gd name="T12" fmla="*/ 63017 w 200263"/>
              <a:gd name="T13" fmla="*/ 192206 h 192883"/>
              <a:gd name="T14" fmla="*/ 86370 w 200263"/>
              <a:gd name="T15" fmla="*/ 186242 h 192883"/>
              <a:gd name="T16" fmla="*/ 111205 w 200263"/>
              <a:gd name="T17" fmla="*/ 172930 h 192883"/>
              <a:gd name="T18" fmla="*/ 197471 w 200263"/>
              <a:gd name="T19" fmla="*/ 156999 h 192883"/>
              <a:gd name="T20" fmla="*/ 69768 w 200263"/>
              <a:gd name="T21" fmla="*/ 154725 h 192883"/>
              <a:gd name="T22" fmla="*/ 61380 w 200263"/>
              <a:gd name="T23" fmla="*/ 134110 h 192883"/>
              <a:gd name="T24" fmla="*/ 73272 w 200263"/>
              <a:gd name="T25" fmla="*/ 116262 h 192883"/>
              <a:gd name="T26" fmla="*/ 99093 w 200263"/>
              <a:gd name="T27" fmla="*/ 103309 h 192883"/>
              <a:gd name="T28" fmla="*/ 168398 w 200263"/>
              <a:gd name="T29" fmla="*/ 56143 h 192883"/>
              <a:gd name="T30" fmla="*/ 166143 w 200263"/>
              <a:gd name="T31" fmla="*/ 39675 h 192883"/>
              <a:gd name="T32" fmla="*/ 111205 w 200263"/>
              <a:gd name="T33" fmla="*/ 172930 h 192883"/>
              <a:gd name="T34" fmla="*/ 128176 w 200263"/>
              <a:gd name="T35" fmla="*/ 190465 h 192883"/>
              <a:gd name="T36" fmla="*/ 155289 w 200263"/>
              <a:gd name="T37" fmla="*/ 191925 h 192883"/>
              <a:gd name="T38" fmla="*/ 180758 w 200263"/>
              <a:gd name="T39" fmla="*/ 185216 h 192883"/>
              <a:gd name="T40" fmla="*/ 194234 w 200263"/>
              <a:gd name="T41" fmla="*/ 172930 h 192883"/>
              <a:gd name="T42" fmla="*/ 99093 w 200263"/>
              <a:gd name="T43" fmla="*/ 103309 h 192883"/>
              <a:gd name="T44" fmla="*/ 98785 w 200263"/>
              <a:gd name="T45" fmla="*/ 152179 h 192883"/>
              <a:gd name="T46" fmla="*/ 197471 w 200263"/>
              <a:gd name="T47" fmla="*/ 156999 h 192883"/>
              <a:gd name="T48" fmla="*/ 172031 w 200263"/>
              <a:gd name="T49" fmla="*/ 153755 h 192883"/>
              <a:gd name="T50" fmla="*/ 168398 w 200263"/>
              <a:gd name="T51" fmla="*/ 103309 h 192883"/>
              <a:gd name="T52" fmla="*/ 186547 w 200263"/>
              <a:gd name="T53" fmla="*/ 152942 h 192883"/>
              <a:gd name="T54" fmla="*/ 198131 w 200263"/>
              <a:gd name="T55" fmla="*/ 153755 h 192883"/>
              <a:gd name="T56" fmla="*/ 100921 w 200263"/>
              <a:gd name="T57" fmla="*/ 0 h 192883"/>
              <a:gd name="T58" fmla="*/ 13527 w 200263"/>
              <a:gd name="T59" fmla="*/ 19618 h 192883"/>
              <a:gd name="T60" fmla="*/ 19103 w 200263"/>
              <a:gd name="T61" fmla="*/ 60877 h 192883"/>
              <a:gd name="T62" fmla="*/ 41987 w 200263"/>
              <a:gd name="T63" fmla="*/ 47029 h 192883"/>
              <a:gd name="T64" fmla="*/ 66476 w 200263"/>
              <a:gd name="T65" fmla="*/ 39675 h 192883"/>
              <a:gd name="T66" fmla="*/ 162125 w 200263"/>
              <a:gd name="T67" fmla="*/ 29081 h 192883"/>
              <a:gd name="T68" fmla="*/ 144530 w 200263"/>
              <a:gd name="T69" fmla="*/ 11338 h 192883"/>
              <a:gd name="T70" fmla="*/ 117446 w 200263"/>
              <a:gd name="T71" fmla="*/ 1909 h 19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5" name="object 10">
            <a:extLst>
              <a:ext uri="{FF2B5EF4-FFF2-40B4-BE49-F238E27FC236}">
                <a16:creationId xmlns:a16="http://schemas.microsoft.com/office/drawing/2014/main" id="{9CAE9FCC-725F-49AF-B888-B6042DF369E4}"/>
              </a:ext>
            </a:extLst>
          </p:cNvPr>
          <p:cNvSpPr>
            <a:spLocks/>
          </p:cNvSpPr>
          <p:nvPr/>
        </p:nvSpPr>
        <p:spPr bwMode="auto">
          <a:xfrm>
            <a:off x="7382130" y="6396827"/>
            <a:ext cx="118273" cy="110021"/>
          </a:xfrm>
          <a:custGeom>
            <a:avLst/>
            <a:gdLst>
              <a:gd name="T0" fmla="*/ 62522 w 204089"/>
              <a:gd name="T1" fmla="*/ 0 h 189572"/>
              <a:gd name="T2" fmla="*/ 0 w 204089"/>
              <a:gd name="T3" fmla="*/ 0 h 189572"/>
              <a:gd name="T4" fmla="*/ 85915 w 204089"/>
              <a:gd name="T5" fmla="*/ 189572 h 189572"/>
              <a:gd name="T6" fmla="*/ 118579 w 204089"/>
              <a:gd name="T7" fmla="*/ 189572 h 189572"/>
              <a:gd name="T8" fmla="*/ 157877 w 204089"/>
              <a:gd name="T9" fmla="*/ 102450 h 189572"/>
              <a:gd name="T10" fmla="*/ 102044 w 204089"/>
              <a:gd name="T11" fmla="*/ 102450 h 189572"/>
              <a:gd name="T12" fmla="*/ 62522 w 204089"/>
              <a:gd name="T13" fmla="*/ 0 h 189572"/>
              <a:gd name="T14" fmla="*/ 204089 w 204089"/>
              <a:gd name="T15" fmla="*/ 0 h 189572"/>
              <a:gd name="T16" fmla="*/ 141986 w 204089"/>
              <a:gd name="T17" fmla="*/ 0 h 189572"/>
              <a:gd name="T18" fmla="*/ 102044 w 204089"/>
              <a:gd name="T19" fmla="*/ 102450 h 189572"/>
              <a:gd name="T20" fmla="*/ 157877 w 204089"/>
              <a:gd name="T21" fmla="*/ 102450 h 189572"/>
              <a:gd name="T22" fmla="*/ 204089 w 204089"/>
              <a:gd name="T23" fmla="*/ 0 h 189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6" name="object 11">
            <a:extLst>
              <a:ext uri="{FF2B5EF4-FFF2-40B4-BE49-F238E27FC236}">
                <a16:creationId xmlns:a16="http://schemas.microsoft.com/office/drawing/2014/main" id="{420ABA8C-DA82-4E71-B00E-55EE19DF58CE}"/>
              </a:ext>
            </a:extLst>
          </p:cNvPr>
          <p:cNvSpPr>
            <a:spLocks/>
          </p:cNvSpPr>
          <p:nvPr/>
        </p:nvSpPr>
        <p:spPr bwMode="auto">
          <a:xfrm>
            <a:off x="7504988" y="6394994"/>
            <a:ext cx="111855" cy="111855"/>
          </a:xfrm>
          <a:custGeom>
            <a:avLst/>
            <a:gdLst>
              <a:gd name="T0" fmla="*/ 105811 w 193899"/>
              <a:gd name="T1" fmla="*/ 0 h 192654"/>
              <a:gd name="T2" fmla="*/ 59491 w 193899"/>
              <a:gd name="T3" fmla="*/ 7868 h 192654"/>
              <a:gd name="T4" fmla="*/ 25263 w 193899"/>
              <a:gd name="T5" fmla="*/ 30129 h 192654"/>
              <a:gd name="T6" fmla="*/ 4935 w 193899"/>
              <a:gd name="T7" fmla="*/ 64103 h 192654"/>
              <a:gd name="T8" fmla="*/ 0 w 193899"/>
              <a:gd name="T9" fmla="*/ 91936 h 192654"/>
              <a:gd name="T10" fmla="*/ 901 w 193899"/>
              <a:gd name="T11" fmla="*/ 107638 h 192654"/>
              <a:gd name="T12" fmla="*/ 14163 w 193899"/>
              <a:gd name="T13" fmla="*/ 147563 h 192654"/>
              <a:gd name="T14" fmla="*/ 41700 w 193899"/>
              <a:gd name="T15" fmla="*/ 175697 h 192654"/>
              <a:gd name="T16" fmla="*/ 81507 w 193899"/>
              <a:gd name="T17" fmla="*/ 190725 h 192654"/>
              <a:gd name="T18" fmla="*/ 107477 w 193899"/>
              <a:gd name="T19" fmla="*/ 192654 h 192654"/>
              <a:gd name="T20" fmla="*/ 118685 w 193899"/>
              <a:gd name="T21" fmla="*/ 192350 h 192654"/>
              <a:gd name="T22" fmla="*/ 169205 w 193899"/>
              <a:gd name="T23" fmla="*/ 180923 h 192654"/>
              <a:gd name="T24" fmla="*/ 185590 w 193899"/>
              <a:gd name="T25" fmla="*/ 157804 h 192654"/>
              <a:gd name="T26" fmla="*/ 131343 w 193899"/>
              <a:gd name="T27" fmla="*/ 157804 h 192654"/>
              <a:gd name="T28" fmla="*/ 112847 w 193899"/>
              <a:gd name="T29" fmla="*/ 156783 h 192654"/>
              <a:gd name="T30" fmla="*/ 74410 w 193899"/>
              <a:gd name="T31" fmla="*/ 140121 h 192654"/>
              <a:gd name="T32" fmla="*/ 60396 w 193899"/>
              <a:gd name="T33" fmla="*/ 105806 h 192654"/>
              <a:gd name="T34" fmla="*/ 193899 w 193899"/>
              <a:gd name="T35" fmla="*/ 105806 h 192654"/>
              <a:gd name="T36" fmla="*/ 193591 w 193899"/>
              <a:gd name="T37" fmla="*/ 88898 h 192654"/>
              <a:gd name="T38" fmla="*/ 191563 w 193899"/>
              <a:gd name="T39" fmla="*/ 75148 h 192654"/>
              <a:gd name="T40" fmla="*/ 61603 w 193899"/>
              <a:gd name="T41" fmla="*/ 75148 h 192654"/>
              <a:gd name="T42" fmla="*/ 65005 w 193899"/>
              <a:gd name="T43" fmla="*/ 59643 h 192654"/>
              <a:gd name="T44" fmla="*/ 71796 w 193899"/>
              <a:gd name="T45" fmla="*/ 47603 h 192654"/>
              <a:gd name="T46" fmla="*/ 81690 w 193899"/>
              <a:gd name="T47" fmla="*/ 39294 h 192654"/>
              <a:gd name="T48" fmla="*/ 94400 w 193899"/>
              <a:gd name="T49" fmla="*/ 34982 h 192654"/>
              <a:gd name="T50" fmla="*/ 101938 w 193899"/>
              <a:gd name="T51" fmla="*/ 34406 h 192654"/>
              <a:gd name="T52" fmla="*/ 173313 w 193899"/>
              <a:gd name="T53" fmla="*/ 34406 h 192654"/>
              <a:gd name="T54" fmla="*/ 165235 w 193899"/>
              <a:gd name="T55" fmla="*/ 25369 h 192654"/>
              <a:gd name="T56" fmla="*/ 155241 w 193899"/>
              <a:gd name="T57" fmla="*/ 17104 h 192654"/>
              <a:gd name="T58" fmla="*/ 144153 w 193899"/>
              <a:gd name="T59" fmla="*/ 10401 h 192654"/>
              <a:gd name="T60" fmla="*/ 132120 w 193899"/>
              <a:gd name="T61" fmla="*/ 5293 h 192654"/>
              <a:gd name="T62" fmla="*/ 119289 w 193899"/>
              <a:gd name="T63" fmla="*/ 1814 h 192654"/>
              <a:gd name="T64" fmla="*/ 105811 w 193899"/>
              <a:gd name="T65" fmla="*/ 0 h 192654"/>
              <a:gd name="T66" fmla="*/ 190686 w 193899"/>
              <a:gd name="T67" fmla="*/ 131612 h 192654"/>
              <a:gd name="T68" fmla="*/ 153687 w 193899"/>
              <a:gd name="T69" fmla="*/ 152708 h 192654"/>
              <a:gd name="T70" fmla="*/ 131343 w 193899"/>
              <a:gd name="T71" fmla="*/ 157804 h 192654"/>
              <a:gd name="T72" fmla="*/ 185590 w 193899"/>
              <a:gd name="T73" fmla="*/ 157804 h 192654"/>
              <a:gd name="T74" fmla="*/ 190686 w 193899"/>
              <a:gd name="T75" fmla="*/ 131612 h 192654"/>
              <a:gd name="T76" fmla="*/ 173313 w 193899"/>
              <a:gd name="T77" fmla="*/ 34406 h 192654"/>
              <a:gd name="T78" fmla="*/ 101938 w 193899"/>
              <a:gd name="T79" fmla="*/ 34406 h 192654"/>
              <a:gd name="T80" fmla="*/ 115822 w 193899"/>
              <a:gd name="T81" fmla="*/ 36606 h 192654"/>
              <a:gd name="T82" fmla="*/ 127198 w 193899"/>
              <a:gd name="T83" fmla="*/ 42977 h 192654"/>
              <a:gd name="T84" fmla="*/ 135699 w 193899"/>
              <a:gd name="T85" fmla="*/ 53177 h 192654"/>
              <a:gd name="T86" fmla="*/ 140954 w 193899"/>
              <a:gd name="T87" fmla="*/ 66864 h 192654"/>
              <a:gd name="T88" fmla="*/ 61603 w 193899"/>
              <a:gd name="T89" fmla="*/ 75148 h 192654"/>
              <a:gd name="T90" fmla="*/ 191563 w 193899"/>
              <a:gd name="T91" fmla="*/ 75148 h 192654"/>
              <a:gd name="T92" fmla="*/ 191297 w 193899"/>
              <a:gd name="T93" fmla="*/ 73346 h 192654"/>
              <a:gd name="T94" fmla="*/ 187165 w 193899"/>
              <a:gd name="T95" fmla="*/ 59182 h 192654"/>
              <a:gd name="T96" fmla="*/ 181346 w 193899"/>
              <a:gd name="T97" fmla="*/ 46442 h 192654"/>
              <a:gd name="T98" fmla="*/ 173986 w 193899"/>
              <a:gd name="T99" fmla="*/ 35159 h 192654"/>
              <a:gd name="T100" fmla="*/ 173313 w 193899"/>
              <a:gd name="T101" fmla="*/ 34406 h 19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7" name="object 12">
            <a:extLst>
              <a:ext uri="{FF2B5EF4-FFF2-40B4-BE49-F238E27FC236}">
                <a16:creationId xmlns:a16="http://schemas.microsoft.com/office/drawing/2014/main" id="{4887CA2B-48AC-4488-85AA-D053E8A2CA89}"/>
              </a:ext>
            </a:extLst>
          </p:cNvPr>
          <p:cNvSpPr>
            <a:spLocks/>
          </p:cNvSpPr>
          <p:nvPr/>
        </p:nvSpPr>
        <p:spPr bwMode="auto">
          <a:xfrm>
            <a:off x="7682855" y="6362904"/>
            <a:ext cx="88017" cy="143945"/>
          </a:xfrm>
          <a:custGeom>
            <a:avLst/>
            <a:gdLst>
              <a:gd name="T0" fmla="*/ 85115 w 152869"/>
              <a:gd name="T1" fmla="*/ 98424 h 248003"/>
              <a:gd name="T2" fmla="*/ 26619 w 152869"/>
              <a:gd name="T3" fmla="*/ 98424 h 248003"/>
              <a:gd name="T4" fmla="*/ 26658 w 152869"/>
              <a:gd name="T5" fmla="*/ 181335 h 248003"/>
              <a:gd name="T6" fmla="*/ 40304 w 152869"/>
              <a:gd name="T7" fmla="*/ 224276 h 248003"/>
              <a:gd name="T8" fmla="*/ 73598 w 152869"/>
              <a:gd name="T9" fmla="*/ 244599 h 248003"/>
              <a:gd name="T10" fmla="*/ 103201 w 152869"/>
              <a:gd name="T11" fmla="*/ 248003 h 248003"/>
              <a:gd name="T12" fmla="*/ 115180 w 152869"/>
              <a:gd name="T13" fmla="*/ 247068 h 248003"/>
              <a:gd name="T14" fmla="*/ 127060 w 152869"/>
              <a:gd name="T15" fmla="*/ 244913 h 248003"/>
              <a:gd name="T16" fmla="*/ 139428 w 152869"/>
              <a:gd name="T17" fmla="*/ 241391 h 248003"/>
              <a:gd name="T18" fmla="*/ 152869 w 152869"/>
              <a:gd name="T19" fmla="*/ 236359 h 248003"/>
              <a:gd name="T20" fmla="*/ 147457 w 152869"/>
              <a:gd name="T21" fmla="*/ 204687 h 248003"/>
              <a:gd name="T22" fmla="*/ 109600 w 152869"/>
              <a:gd name="T23" fmla="*/ 204687 h 248003"/>
              <a:gd name="T24" fmla="*/ 96323 w 152869"/>
              <a:gd name="T25" fmla="*/ 199980 h 248003"/>
              <a:gd name="T26" fmla="*/ 87998 w 152869"/>
              <a:gd name="T27" fmla="*/ 189799 h 248003"/>
              <a:gd name="T28" fmla="*/ 85115 w 152869"/>
              <a:gd name="T29" fmla="*/ 175056 h 248003"/>
              <a:gd name="T30" fmla="*/ 85115 w 152869"/>
              <a:gd name="T31" fmla="*/ 98424 h 248003"/>
              <a:gd name="T32" fmla="*/ 146184 w 152869"/>
              <a:gd name="T33" fmla="*/ 197242 h 248003"/>
              <a:gd name="T34" fmla="*/ 134229 w 152869"/>
              <a:gd name="T35" fmla="*/ 201703 h 248003"/>
              <a:gd name="T36" fmla="*/ 122464 w 152869"/>
              <a:gd name="T37" fmla="*/ 204083 h 248003"/>
              <a:gd name="T38" fmla="*/ 109600 w 152869"/>
              <a:gd name="T39" fmla="*/ 204687 h 248003"/>
              <a:gd name="T40" fmla="*/ 147457 w 152869"/>
              <a:gd name="T41" fmla="*/ 204687 h 248003"/>
              <a:gd name="T42" fmla="*/ 146184 w 152869"/>
              <a:gd name="T43" fmla="*/ 197242 h 248003"/>
              <a:gd name="T44" fmla="*/ 85115 w 152869"/>
              <a:gd name="T45" fmla="*/ 0 h 248003"/>
              <a:gd name="T46" fmla="*/ 77838 w 152869"/>
              <a:gd name="T47" fmla="*/ 0 h 248003"/>
              <a:gd name="T48" fmla="*/ 0 w 152869"/>
              <a:gd name="T49" fmla="*/ 87134 h 248003"/>
              <a:gd name="T50" fmla="*/ 0 w 152869"/>
              <a:gd name="T51" fmla="*/ 98424 h 248003"/>
              <a:gd name="T52" fmla="*/ 152869 w 152869"/>
              <a:gd name="T53" fmla="*/ 98424 h 248003"/>
              <a:gd name="T54" fmla="*/ 152869 w 152869"/>
              <a:gd name="T55" fmla="*/ 58496 h 248003"/>
              <a:gd name="T56" fmla="*/ 85115 w 152869"/>
              <a:gd name="T57" fmla="*/ 58496 h 248003"/>
              <a:gd name="T58" fmla="*/ 85115 w 152869"/>
              <a:gd name="T59" fmla="*/ 0 h 248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8" name="object 13">
            <a:extLst>
              <a:ext uri="{FF2B5EF4-FFF2-40B4-BE49-F238E27FC236}">
                <a16:creationId xmlns:a16="http://schemas.microsoft.com/office/drawing/2014/main" id="{9D464A46-EF80-441B-9C48-D985713C49FB}"/>
              </a:ext>
            </a:extLst>
          </p:cNvPr>
          <p:cNvSpPr>
            <a:spLocks/>
          </p:cNvSpPr>
          <p:nvPr/>
        </p:nvSpPr>
        <p:spPr bwMode="auto">
          <a:xfrm>
            <a:off x="7784625"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5 w 186347"/>
              <a:gd name="T19" fmla="*/ 124886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9 h 275069"/>
              <a:gd name="T44" fmla="*/ 182341 w 186347"/>
              <a:gd name="T45" fmla="*/ 130617 h 275069"/>
              <a:gd name="T46" fmla="*/ 115026 w 186347"/>
              <a:gd name="T47" fmla="*/ 85571 h 275069"/>
              <a:gd name="T48" fmla="*/ 69226 w 186347"/>
              <a:gd name="T49" fmla="*/ 105591 h 275069"/>
              <a:gd name="T50" fmla="*/ 59296 w 186347"/>
              <a:gd name="T51" fmla="*/ 116560 h 275069"/>
              <a:gd name="T52" fmla="*/ 176188 w 186347"/>
              <a:gd name="T53" fmla="*/ 116560 h 275069"/>
              <a:gd name="T54" fmla="*/ 142032 w 186347"/>
              <a:gd name="T55" fmla="*/ 89611 h 275069"/>
              <a:gd name="T56" fmla="*/ 115026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89" name="object 14">
            <a:extLst>
              <a:ext uri="{FF2B5EF4-FFF2-40B4-BE49-F238E27FC236}">
                <a16:creationId xmlns:a16="http://schemas.microsoft.com/office/drawing/2014/main" id="{BD299156-DFD2-47FA-9017-9B3F8954550E}"/>
              </a:ext>
            </a:extLst>
          </p:cNvPr>
          <p:cNvSpPr>
            <a:spLocks/>
          </p:cNvSpPr>
          <p:nvPr/>
        </p:nvSpPr>
        <p:spPr bwMode="auto">
          <a:xfrm>
            <a:off x="7909316" y="6394994"/>
            <a:ext cx="111855" cy="111855"/>
          </a:xfrm>
          <a:custGeom>
            <a:avLst/>
            <a:gdLst>
              <a:gd name="T0" fmla="*/ 105790 w 193899"/>
              <a:gd name="T1" fmla="*/ 0 h 192656"/>
              <a:gd name="T2" fmla="*/ 59479 w 193899"/>
              <a:gd name="T3" fmla="*/ 7871 h 192656"/>
              <a:gd name="T4" fmla="*/ 25255 w 193899"/>
              <a:gd name="T5" fmla="*/ 30136 h 192656"/>
              <a:gd name="T6" fmla="*/ 4931 w 193899"/>
              <a:gd name="T7" fmla="*/ 64117 h 192656"/>
              <a:gd name="T8" fmla="*/ 0 w 193899"/>
              <a:gd name="T9" fmla="*/ 91955 h 192656"/>
              <a:gd name="T10" fmla="*/ 902 w 193899"/>
              <a:gd name="T11" fmla="*/ 107655 h 192656"/>
              <a:gd name="T12" fmla="*/ 14164 w 193899"/>
              <a:gd name="T13" fmla="*/ 147576 h 192656"/>
              <a:gd name="T14" fmla="*/ 41704 w 193899"/>
              <a:gd name="T15" fmla="*/ 175707 h 192656"/>
              <a:gd name="T16" fmla="*/ 81518 w 193899"/>
              <a:gd name="T17" fmla="*/ 190730 h 192656"/>
              <a:gd name="T18" fmla="*/ 107487 w 193899"/>
              <a:gd name="T19" fmla="*/ 192656 h 192656"/>
              <a:gd name="T20" fmla="*/ 118692 w 193899"/>
              <a:gd name="T21" fmla="*/ 192351 h 192656"/>
              <a:gd name="T22" fmla="*/ 169220 w 193899"/>
              <a:gd name="T23" fmla="*/ 180914 h 192656"/>
              <a:gd name="T24" fmla="*/ 185594 w 193899"/>
              <a:gd name="T25" fmla="*/ 157805 h 192656"/>
              <a:gd name="T26" fmla="*/ 131330 w 193899"/>
              <a:gd name="T27" fmla="*/ 157805 h 192656"/>
              <a:gd name="T28" fmla="*/ 112833 w 193899"/>
              <a:gd name="T29" fmla="*/ 156784 h 192656"/>
              <a:gd name="T30" fmla="*/ 74402 w 193899"/>
              <a:gd name="T31" fmla="*/ 140117 h 192656"/>
              <a:gd name="T32" fmla="*/ 60397 w 193899"/>
              <a:gd name="T33" fmla="*/ 105806 h 192656"/>
              <a:gd name="T34" fmla="*/ 193899 w 193899"/>
              <a:gd name="T35" fmla="*/ 105806 h 192656"/>
              <a:gd name="T36" fmla="*/ 193588 w 193899"/>
              <a:gd name="T37" fmla="*/ 88898 h 192656"/>
              <a:gd name="T38" fmla="*/ 191558 w 193899"/>
              <a:gd name="T39" fmla="*/ 75149 h 192656"/>
              <a:gd name="T40" fmla="*/ 61604 w 193899"/>
              <a:gd name="T41" fmla="*/ 75149 h 192656"/>
              <a:gd name="T42" fmla="*/ 65003 w 193899"/>
              <a:gd name="T43" fmla="*/ 59641 h 192656"/>
              <a:gd name="T44" fmla="*/ 71797 w 193899"/>
              <a:gd name="T45" fmla="*/ 47600 h 192656"/>
              <a:gd name="T46" fmla="*/ 81695 w 193899"/>
              <a:gd name="T47" fmla="*/ 39292 h 192656"/>
              <a:gd name="T48" fmla="*/ 94403 w 193899"/>
              <a:gd name="T49" fmla="*/ 34981 h 192656"/>
              <a:gd name="T50" fmla="*/ 101926 w 193899"/>
              <a:gd name="T51" fmla="*/ 34407 h 192656"/>
              <a:gd name="T52" fmla="*/ 173304 w 193899"/>
              <a:gd name="T53" fmla="*/ 34407 h 192656"/>
              <a:gd name="T54" fmla="*/ 165221 w 193899"/>
              <a:gd name="T55" fmla="*/ 25366 h 192656"/>
              <a:gd name="T56" fmla="*/ 155225 w 193899"/>
              <a:gd name="T57" fmla="*/ 17102 h 192656"/>
              <a:gd name="T58" fmla="*/ 144136 w 193899"/>
              <a:gd name="T59" fmla="*/ 10399 h 192656"/>
              <a:gd name="T60" fmla="*/ 132101 w 193899"/>
              <a:gd name="T61" fmla="*/ 5291 h 192656"/>
              <a:gd name="T62" fmla="*/ 119270 w 193899"/>
              <a:gd name="T63" fmla="*/ 1813 h 192656"/>
              <a:gd name="T64" fmla="*/ 105790 w 193899"/>
              <a:gd name="T65" fmla="*/ 0 h 192656"/>
              <a:gd name="T66" fmla="*/ 190674 w 193899"/>
              <a:gd name="T67" fmla="*/ 131613 h 192656"/>
              <a:gd name="T68" fmla="*/ 153672 w 193899"/>
              <a:gd name="T69" fmla="*/ 152711 h 192656"/>
              <a:gd name="T70" fmla="*/ 131330 w 193899"/>
              <a:gd name="T71" fmla="*/ 157805 h 192656"/>
              <a:gd name="T72" fmla="*/ 185594 w 193899"/>
              <a:gd name="T73" fmla="*/ 157805 h 192656"/>
              <a:gd name="T74" fmla="*/ 190674 w 193899"/>
              <a:gd name="T75" fmla="*/ 131613 h 192656"/>
              <a:gd name="T76" fmla="*/ 173304 w 193899"/>
              <a:gd name="T77" fmla="*/ 34407 h 192656"/>
              <a:gd name="T78" fmla="*/ 101926 w 193899"/>
              <a:gd name="T79" fmla="*/ 34407 h 192656"/>
              <a:gd name="T80" fmla="*/ 115810 w 193899"/>
              <a:gd name="T81" fmla="*/ 36607 h 192656"/>
              <a:gd name="T82" fmla="*/ 127186 w 193899"/>
              <a:gd name="T83" fmla="*/ 42978 h 192656"/>
              <a:gd name="T84" fmla="*/ 135687 w 193899"/>
              <a:gd name="T85" fmla="*/ 53177 h 192656"/>
              <a:gd name="T86" fmla="*/ 140942 w 193899"/>
              <a:gd name="T87" fmla="*/ 66864 h 192656"/>
              <a:gd name="T88" fmla="*/ 61604 w 193899"/>
              <a:gd name="T89" fmla="*/ 75149 h 192656"/>
              <a:gd name="T90" fmla="*/ 191558 w 193899"/>
              <a:gd name="T91" fmla="*/ 75149 h 192656"/>
              <a:gd name="T92" fmla="*/ 191292 w 193899"/>
              <a:gd name="T93" fmla="*/ 73345 h 192656"/>
              <a:gd name="T94" fmla="*/ 187158 w 193899"/>
              <a:gd name="T95" fmla="*/ 59180 h 192656"/>
              <a:gd name="T96" fmla="*/ 181336 w 193899"/>
              <a:gd name="T97" fmla="*/ 46439 h 192656"/>
              <a:gd name="T98" fmla="*/ 173974 w 193899"/>
              <a:gd name="T99" fmla="*/ 35157 h 192656"/>
              <a:gd name="T100" fmla="*/ 173304 w 193899"/>
              <a:gd name="T101" fmla="*/ 34407 h 192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0" name="object 15">
            <a:extLst>
              <a:ext uri="{FF2B5EF4-FFF2-40B4-BE49-F238E27FC236}">
                <a16:creationId xmlns:a16="http://schemas.microsoft.com/office/drawing/2014/main" id="{45D2FC44-5982-49F3-9BA7-11AAF9E3CFB0}"/>
              </a:ext>
            </a:extLst>
          </p:cNvPr>
          <p:cNvSpPr>
            <a:spLocks/>
          </p:cNvSpPr>
          <p:nvPr/>
        </p:nvSpPr>
        <p:spPr bwMode="auto">
          <a:xfrm>
            <a:off x="8095435" y="6343651"/>
            <a:ext cx="154947" cy="163198"/>
          </a:xfrm>
          <a:custGeom>
            <a:avLst/>
            <a:gdLst>
              <a:gd name="T0" fmla="*/ 157586 w 268134"/>
              <a:gd name="T1" fmla="*/ 0 h 282037"/>
              <a:gd name="T2" fmla="*/ 108500 w 268134"/>
              <a:gd name="T3" fmla="*/ 7392 h 282037"/>
              <a:gd name="T4" fmla="*/ 67972 w 268134"/>
              <a:gd name="T5" fmla="*/ 24922 h 282037"/>
              <a:gd name="T6" fmla="*/ 36461 w 268134"/>
              <a:gd name="T7" fmla="*/ 50795 h 282037"/>
              <a:gd name="T8" fmla="*/ 14425 w 268134"/>
              <a:gd name="T9" fmla="*/ 83213 h 282037"/>
              <a:gd name="T10" fmla="*/ 2323 w 268134"/>
              <a:gd name="T11" fmla="*/ 120379 h 282037"/>
              <a:gd name="T12" fmla="*/ 0 w 268134"/>
              <a:gd name="T13" fmla="*/ 146908 h 282037"/>
              <a:gd name="T14" fmla="*/ 967 w 268134"/>
              <a:gd name="T15" fmla="*/ 159073 h 282037"/>
              <a:gd name="T16" fmla="*/ 15672 w 268134"/>
              <a:gd name="T17" fmla="*/ 205551 h 282037"/>
              <a:gd name="T18" fmla="*/ 48318 w 268134"/>
              <a:gd name="T19" fmla="*/ 244833 h 282037"/>
              <a:gd name="T20" fmla="*/ 85059 w 268134"/>
              <a:gd name="T21" fmla="*/ 266598 h 282037"/>
              <a:gd name="T22" fmla="*/ 132685 w 268134"/>
              <a:gd name="T23" fmla="*/ 279451 h 282037"/>
              <a:gd name="T24" fmla="*/ 170649 w 268134"/>
              <a:gd name="T25" fmla="*/ 282037 h 282037"/>
              <a:gd name="T26" fmla="*/ 183561 w 268134"/>
              <a:gd name="T27" fmla="*/ 281239 h 282037"/>
              <a:gd name="T28" fmla="*/ 231275 w 268134"/>
              <a:gd name="T29" fmla="*/ 270991 h 282037"/>
              <a:gd name="T30" fmla="*/ 268134 w 268134"/>
              <a:gd name="T31" fmla="*/ 254790 h 282037"/>
              <a:gd name="T32" fmla="*/ 266854 w 268134"/>
              <a:gd name="T33" fmla="*/ 224321 h 282037"/>
              <a:gd name="T34" fmla="*/ 155535 w 268134"/>
              <a:gd name="T35" fmla="*/ 224321 h 282037"/>
              <a:gd name="T36" fmla="*/ 140920 w 268134"/>
              <a:gd name="T37" fmla="*/ 221966 h 282037"/>
              <a:gd name="T38" fmla="*/ 103916 w 268134"/>
              <a:gd name="T39" fmla="*/ 204812 h 282037"/>
              <a:gd name="T40" fmla="*/ 79648 w 268134"/>
              <a:gd name="T41" fmla="*/ 173465 h 282037"/>
              <a:gd name="T42" fmla="*/ 71293 w 268134"/>
              <a:gd name="T43" fmla="*/ 129127 h 282037"/>
              <a:gd name="T44" fmla="*/ 74103 w 268134"/>
              <a:gd name="T45" fmla="*/ 116750 h 282037"/>
              <a:gd name="T46" fmla="*/ 104382 w 268134"/>
              <a:gd name="T47" fmla="*/ 77207 h 282037"/>
              <a:gd name="T48" fmla="*/ 145301 w 268134"/>
              <a:gd name="T49" fmla="*/ 60740 h 282037"/>
              <a:gd name="T50" fmla="*/ 180301 w 268134"/>
              <a:gd name="T51" fmla="*/ 57506 h 282037"/>
              <a:gd name="T52" fmla="*/ 262176 w 268134"/>
              <a:gd name="T53" fmla="*/ 57506 h 282037"/>
              <a:gd name="T54" fmla="*/ 258553 w 268134"/>
              <a:gd name="T55" fmla="*/ 20509 h 282037"/>
              <a:gd name="T56" fmla="*/ 214243 w 268134"/>
              <a:gd name="T57" fmla="*/ 5052 h 282037"/>
              <a:gd name="T58" fmla="*/ 173053 w 268134"/>
              <a:gd name="T59" fmla="*/ 284 h 282037"/>
              <a:gd name="T60" fmla="*/ 157586 w 268134"/>
              <a:gd name="T61" fmla="*/ 0 h 282037"/>
              <a:gd name="T62" fmla="*/ 265659 w 268134"/>
              <a:gd name="T63" fmla="*/ 195880 h 282037"/>
              <a:gd name="T64" fmla="*/ 230811 w 268134"/>
              <a:gd name="T65" fmla="*/ 211498 h 282037"/>
              <a:gd name="T66" fmla="*/ 184338 w 268134"/>
              <a:gd name="T67" fmla="*/ 223081 h 282037"/>
              <a:gd name="T68" fmla="*/ 155535 w 268134"/>
              <a:gd name="T69" fmla="*/ 224321 h 282037"/>
              <a:gd name="T70" fmla="*/ 266854 w 268134"/>
              <a:gd name="T71" fmla="*/ 224321 h 282037"/>
              <a:gd name="T72" fmla="*/ 265659 w 268134"/>
              <a:gd name="T73" fmla="*/ 195880 h 282037"/>
              <a:gd name="T74" fmla="*/ 262176 w 268134"/>
              <a:gd name="T75" fmla="*/ 57506 h 282037"/>
              <a:gd name="T76" fmla="*/ 180301 w 268134"/>
              <a:gd name="T77" fmla="*/ 57506 h 282037"/>
              <a:gd name="T78" fmla="*/ 192971 w 268134"/>
              <a:gd name="T79" fmla="*/ 58883 h 282037"/>
              <a:gd name="T80" fmla="*/ 205388 w 268134"/>
              <a:gd name="T81" fmla="*/ 61248 h 282037"/>
              <a:gd name="T82" fmla="*/ 241472 w 268134"/>
              <a:gd name="T83" fmla="*/ 73559 h 282037"/>
              <a:gd name="T84" fmla="*/ 264908 w 268134"/>
              <a:gd name="T85" fmla="*/ 85398 h 282037"/>
              <a:gd name="T86" fmla="*/ 262176 w 268134"/>
              <a:gd name="T87" fmla="*/ 57506 h 28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1" name="object 16">
            <a:extLst>
              <a:ext uri="{FF2B5EF4-FFF2-40B4-BE49-F238E27FC236}">
                <a16:creationId xmlns:a16="http://schemas.microsoft.com/office/drawing/2014/main" id="{E9B4D7E7-B28C-46E8-AFD8-C7871B1C6E82}"/>
              </a:ext>
            </a:extLst>
          </p:cNvPr>
          <p:cNvSpPr>
            <a:spLocks/>
          </p:cNvSpPr>
          <p:nvPr/>
        </p:nvSpPr>
        <p:spPr bwMode="auto">
          <a:xfrm>
            <a:off x="8274220"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4 w 186347"/>
              <a:gd name="T19" fmla="*/ 124885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7 h 275069"/>
              <a:gd name="T44" fmla="*/ 182341 w 186347"/>
              <a:gd name="T45" fmla="*/ 130617 h 275069"/>
              <a:gd name="T46" fmla="*/ 115025 w 186347"/>
              <a:gd name="T47" fmla="*/ 85571 h 275069"/>
              <a:gd name="T48" fmla="*/ 69225 w 186347"/>
              <a:gd name="T49" fmla="*/ 105591 h 275069"/>
              <a:gd name="T50" fmla="*/ 59296 w 186347"/>
              <a:gd name="T51" fmla="*/ 116560 h 275069"/>
              <a:gd name="T52" fmla="*/ 176188 w 186347"/>
              <a:gd name="T53" fmla="*/ 116560 h 275069"/>
              <a:gd name="T54" fmla="*/ 142031 w 186347"/>
              <a:gd name="T55" fmla="*/ 89611 h 275069"/>
              <a:gd name="T56" fmla="*/ 115025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2" name="object 17">
            <a:extLst>
              <a:ext uri="{FF2B5EF4-FFF2-40B4-BE49-F238E27FC236}">
                <a16:creationId xmlns:a16="http://schemas.microsoft.com/office/drawing/2014/main" id="{4FFF37B3-6B1F-4014-9E0C-7A7A0F0E078E}"/>
              </a:ext>
            </a:extLst>
          </p:cNvPr>
          <p:cNvSpPr>
            <a:spLocks/>
          </p:cNvSpPr>
          <p:nvPr/>
        </p:nvSpPr>
        <p:spPr bwMode="auto">
          <a:xfrm>
            <a:off x="8405329" y="6396827"/>
            <a:ext cx="33923" cy="107271"/>
          </a:xfrm>
          <a:custGeom>
            <a:avLst/>
            <a:gdLst>
              <a:gd name="T0" fmla="*/ 58483 w 58483"/>
              <a:gd name="T1" fmla="*/ 185940 h 185940"/>
              <a:gd name="T2" fmla="*/ 0 w 58483"/>
              <a:gd name="T3" fmla="*/ 185940 h 185940"/>
              <a:gd name="T4" fmla="*/ 0 w 58483"/>
              <a:gd name="T5" fmla="*/ 0 h 185940"/>
              <a:gd name="T6" fmla="*/ 58483 w 58483"/>
              <a:gd name="T7" fmla="*/ 0 h 185940"/>
              <a:gd name="T8" fmla="*/ 58483 w 58483"/>
              <a:gd name="T9" fmla="*/ 185940 h 185940"/>
            </a:gdLst>
            <a:ahLst/>
            <a:cxnLst>
              <a:cxn ang="0">
                <a:pos x="T0" y="T1"/>
              </a:cxn>
              <a:cxn ang="0">
                <a:pos x="T2" y="T3"/>
              </a:cxn>
              <a:cxn ang="0">
                <a:pos x="T4" y="T5"/>
              </a:cxn>
              <a:cxn ang="0">
                <a:pos x="T6" y="T7"/>
              </a:cxn>
              <a:cxn ang="0">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3" name="object 18">
            <a:extLst>
              <a:ext uri="{FF2B5EF4-FFF2-40B4-BE49-F238E27FC236}">
                <a16:creationId xmlns:a16="http://schemas.microsoft.com/office/drawing/2014/main" id="{3D3CEFA7-64A9-4C46-80CF-D4AA58C99EE2}"/>
              </a:ext>
            </a:extLst>
          </p:cNvPr>
          <p:cNvSpPr>
            <a:spLocks/>
          </p:cNvSpPr>
          <p:nvPr/>
        </p:nvSpPr>
        <p:spPr bwMode="auto">
          <a:xfrm>
            <a:off x="8403496" y="6344567"/>
            <a:ext cx="37590" cy="35757"/>
          </a:xfrm>
          <a:custGeom>
            <a:avLst/>
            <a:gdLst>
              <a:gd name="T0" fmla="*/ 22527 w 64473"/>
              <a:gd name="T1" fmla="*/ 0 h 61899"/>
              <a:gd name="T2" fmla="*/ 10874 w 64473"/>
              <a:gd name="T3" fmla="*/ 6792 h 61899"/>
              <a:gd name="T4" fmla="*/ 2919 w 64473"/>
              <a:gd name="T5" fmla="*/ 18047 h 61899"/>
              <a:gd name="T6" fmla="*/ 0 w 64473"/>
              <a:gd name="T7" fmla="*/ 32655 h 61899"/>
              <a:gd name="T8" fmla="*/ 3222 w 64473"/>
              <a:gd name="T9" fmla="*/ 44495 h 61899"/>
              <a:gd name="T10" fmla="*/ 11233 w 64473"/>
              <a:gd name="T11" fmla="*/ 54014 h 61899"/>
              <a:gd name="T12" fmla="*/ 23799 w 64473"/>
              <a:gd name="T13" fmla="*/ 60164 h 61899"/>
              <a:gd name="T14" fmla="*/ 40683 w 64473"/>
              <a:gd name="T15" fmla="*/ 61899 h 61899"/>
              <a:gd name="T16" fmla="*/ 52926 w 64473"/>
              <a:gd name="T17" fmla="*/ 55454 h 61899"/>
              <a:gd name="T18" fmla="*/ 61342 w 64473"/>
              <a:gd name="T19" fmla="*/ 44588 h 61899"/>
              <a:gd name="T20" fmla="*/ 64473 w 64473"/>
              <a:gd name="T21" fmla="*/ 30764 h 61899"/>
              <a:gd name="T22" fmla="*/ 64333 w 64473"/>
              <a:gd name="T23" fmla="*/ 27777 h 61899"/>
              <a:gd name="T24" fmla="*/ 60786 w 64473"/>
              <a:gd name="T25" fmla="*/ 16334 h 61899"/>
              <a:gd name="T26" fmla="*/ 52552 w 64473"/>
              <a:gd name="T27" fmla="*/ 7219 h 61899"/>
              <a:gd name="T28" fmla="*/ 39757 w 64473"/>
              <a:gd name="T29" fmla="*/ 1439 h 61899"/>
              <a:gd name="T30" fmla="*/ 22527 w 64473"/>
              <a:gd name="T31" fmla="*/ 0 h 6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4" name="object 19">
            <a:extLst>
              <a:ext uri="{FF2B5EF4-FFF2-40B4-BE49-F238E27FC236}">
                <a16:creationId xmlns:a16="http://schemas.microsoft.com/office/drawing/2014/main" id="{4573FD64-0489-40A0-9279-489960F0DE44}"/>
              </a:ext>
            </a:extLst>
          </p:cNvPr>
          <p:cNvSpPr>
            <a:spLocks/>
          </p:cNvSpPr>
          <p:nvPr/>
        </p:nvSpPr>
        <p:spPr bwMode="auto">
          <a:xfrm>
            <a:off x="8464007" y="6345484"/>
            <a:ext cx="33923" cy="158614"/>
          </a:xfrm>
          <a:custGeom>
            <a:avLst/>
            <a:gdLst>
              <a:gd name="T0" fmla="*/ 58483 w 58483"/>
              <a:gd name="T1" fmla="*/ 275069 h 275069"/>
              <a:gd name="T2" fmla="*/ 0 w 58483"/>
              <a:gd name="T3" fmla="*/ 275069 h 275069"/>
              <a:gd name="T4" fmla="*/ 0 w 58483"/>
              <a:gd name="T5" fmla="*/ 0 h 275069"/>
              <a:gd name="T6" fmla="*/ 58483 w 58483"/>
              <a:gd name="T7" fmla="*/ 0 h 275069"/>
              <a:gd name="T8" fmla="*/ 58483 w 58483"/>
              <a:gd name="T9" fmla="*/ 275069 h 275069"/>
            </a:gdLst>
            <a:ahLst/>
            <a:cxnLst>
              <a:cxn ang="0">
                <a:pos x="T0" y="T1"/>
              </a:cxn>
              <a:cxn ang="0">
                <a:pos x="T2" y="T3"/>
              </a:cxn>
              <a:cxn ang="0">
                <a:pos x="T4" y="T5"/>
              </a:cxn>
              <a:cxn ang="0">
                <a:pos x="T6" y="T7"/>
              </a:cxn>
              <a:cxn ang="0">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5" name="object 20">
            <a:extLst>
              <a:ext uri="{FF2B5EF4-FFF2-40B4-BE49-F238E27FC236}">
                <a16:creationId xmlns:a16="http://schemas.microsoft.com/office/drawing/2014/main" id="{A43EA437-E618-4E89-8926-511A1A25D412}"/>
              </a:ext>
            </a:extLst>
          </p:cNvPr>
          <p:cNvSpPr>
            <a:spLocks/>
          </p:cNvSpPr>
          <p:nvPr/>
        </p:nvSpPr>
        <p:spPr bwMode="auto">
          <a:xfrm>
            <a:off x="8516267" y="6345484"/>
            <a:ext cx="113689" cy="161365"/>
          </a:xfrm>
          <a:custGeom>
            <a:avLst/>
            <a:gdLst>
              <a:gd name="T0" fmla="*/ 102087 w 197236"/>
              <a:gd name="T1" fmla="*/ 86169 h 278582"/>
              <a:gd name="T2" fmla="*/ 55657 w 197236"/>
              <a:gd name="T3" fmla="*/ 94000 h 278582"/>
              <a:gd name="T4" fmla="*/ 22559 w 197236"/>
              <a:gd name="T5" fmla="*/ 116758 h 278582"/>
              <a:gd name="T6" fmla="*/ 3889 w 197236"/>
              <a:gd name="T7" fmla="*/ 151731 h 278582"/>
              <a:gd name="T8" fmla="*/ 0 w 197236"/>
              <a:gd name="T9" fmla="*/ 180495 h 278582"/>
              <a:gd name="T10" fmla="*/ 1017 w 197236"/>
              <a:gd name="T11" fmla="*/ 196586 h 278582"/>
              <a:gd name="T12" fmla="*/ 15258 w 197236"/>
              <a:gd name="T13" fmla="*/ 238127 h 278582"/>
              <a:gd name="T14" fmla="*/ 43518 w 197236"/>
              <a:gd name="T15" fmla="*/ 266692 h 278582"/>
              <a:gd name="T16" fmla="*/ 82248 w 197236"/>
              <a:gd name="T17" fmla="*/ 278582 h 278582"/>
              <a:gd name="T18" fmla="*/ 96853 w 197236"/>
              <a:gd name="T19" fmla="*/ 277906 h 278582"/>
              <a:gd name="T20" fmla="*/ 109525 w 197236"/>
              <a:gd name="T21" fmla="*/ 275602 h 278582"/>
              <a:gd name="T22" fmla="*/ 120879 w 197236"/>
              <a:gd name="T23" fmla="*/ 271516 h 278582"/>
              <a:gd name="T24" fmla="*/ 131530 w 197236"/>
              <a:gd name="T25" fmla="*/ 265489 h 278582"/>
              <a:gd name="T26" fmla="*/ 197236 w 197236"/>
              <a:gd name="T27" fmla="*/ 265489 h 278582"/>
              <a:gd name="T28" fmla="*/ 197236 w 197236"/>
              <a:gd name="T29" fmla="*/ 238062 h 278582"/>
              <a:gd name="T30" fmla="*/ 115807 w 197236"/>
              <a:gd name="T31" fmla="*/ 238062 h 278582"/>
              <a:gd name="T32" fmla="*/ 98970 w 197236"/>
              <a:gd name="T33" fmla="*/ 237049 h 278582"/>
              <a:gd name="T34" fmla="*/ 66747 w 197236"/>
              <a:gd name="T35" fmla="*/ 215624 h 278582"/>
              <a:gd name="T36" fmla="*/ 59470 w 197236"/>
              <a:gd name="T37" fmla="*/ 188992 h 278582"/>
              <a:gd name="T38" fmla="*/ 60697 w 197236"/>
              <a:gd name="T39" fmla="*/ 170084 h 278582"/>
              <a:gd name="T40" fmla="*/ 79093 w 197236"/>
              <a:gd name="T41" fmla="*/ 133069 h 278582"/>
              <a:gd name="T42" fmla="*/ 102296 w 197236"/>
              <a:gd name="T43" fmla="*/ 124759 h 278582"/>
              <a:gd name="T44" fmla="*/ 197236 w 197236"/>
              <a:gd name="T45" fmla="*/ 124759 h 278582"/>
              <a:gd name="T46" fmla="*/ 197236 w 197236"/>
              <a:gd name="T47" fmla="*/ 97205 h 278582"/>
              <a:gd name="T48" fmla="*/ 138739 w 197236"/>
              <a:gd name="T49" fmla="*/ 97205 h 278582"/>
              <a:gd name="T50" fmla="*/ 126684 w 197236"/>
              <a:gd name="T51" fmla="*/ 92052 h 278582"/>
              <a:gd name="T52" fmla="*/ 114506 w 197236"/>
              <a:gd name="T53" fmla="*/ 88361 h 278582"/>
              <a:gd name="T54" fmla="*/ 102087 w 197236"/>
              <a:gd name="T55" fmla="*/ 86169 h 278582"/>
              <a:gd name="T56" fmla="*/ 197236 w 197236"/>
              <a:gd name="T57" fmla="*/ 265489 h 278582"/>
              <a:gd name="T58" fmla="*/ 131530 w 197236"/>
              <a:gd name="T59" fmla="*/ 265489 h 278582"/>
              <a:gd name="T60" fmla="*/ 138739 w 197236"/>
              <a:gd name="T61" fmla="*/ 275081 h 278582"/>
              <a:gd name="T62" fmla="*/ 197236 w 197236"/>
              <a:gd name="T63" fmla="*/ 275081 h 278582"/>
              <a:gd name="T64" fmla="*/ 197236 w 197236"/>
              <a:gd name="T65" fmla="*/ 265489 h 278582"/>
              <a:gd name="T66" fmla="*/ 197236 w 197236"/>
              <a:gd name="T67" fmla="*/ 124759 h 278582"/>
              <a:gd name="T68" fmla="*/ 102296 w 197236"/>
              <a:gd name="T69" fmla="*/ 124759 h 278582"/>
              <a:gd name="T70" fmla="*/ 116209 w 197236"/>
              <a:gd name="T71" fmla="*/ 126154 h 278582"/>
              <a:gd name="T72" fmla="*/ 128713 w 197236"/>
              <a:gd name="T73" fmla="*/ 130025 h 278582"/>
              <a:gd name="T74" fmla="*/ 138739 w 197236"/>
              <a:gd name="T75" fmla="*/ 224256 h 278582"/>
              <a:gd name="T76" fmla="*/ 127098 w 197236"/>
              <a:gd name="T77" fmla="*/ 233105 h 278582"/>
              <a:gd name="T78" fmla="*/ 115807 w 197236"/>
              <a:gd name="T79" fmla="*/ 238062 h 278582"/>
              <a:gd name="T80" fmla="*/ 197236 w 197236"/>
              <a:gd name="T81" fmla="*/ 238062 h 278582"/>
              <a:gd name="T82" fmla="*/ 197236 w 197236"/>
              <a:gd name="T83" fmla="*/ 124759 h 278582"/>
              <a:gd name="T84" fmla="*/ 197236 w 197236"/>
              <a:gd name="T85" fmla="*/ 0 h 278582"/>
              <a:gd name="T86" fmla="*/ 138739 w 197236"/>
              <a:gd name="T87" fmla="*/ 0 h 278582"/>
              <a:gd name="T88" fmla="*/ 138739 w 197236"/>
              <a:gd name="T89" fmla="*/ 97205 h 278582"/>
              <a:gd name="T90" fmla="*/ 197236 w 197236"/>
              <a:gd name="T91" fmla="*/ 97205 h 278582"/>
              <a:gd name="T92" fmla="*/ 197236 w 197236"/>
              <a:gd name="T93" fmla="*/ 0 h 278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6" name="object 21">
            <a:extLst>
              <a:ext uri="{FF2B5EF4-FFF2-40B4-BE49-F238E27FC236}">
                <a16:creationId xmlns:a16="http://schemas.microsoft.com/office/drawing/2014/main" id="{DCCFCEFC-AA4E-4C62-B490-EA4E11FE7583}"/>
              </a:ext>
            </a:extLst>
          </p:cNvPr>
          <p:cNvSpPr>
            <a:spLocks/>
          </p:cNvSpPr>
          <p:nvPr/>
        </p:nvSpPr>
        <p:spPr bwMode="auto">
          <a:xfrm>
            <a:off x="8653794" y="6394994"/>
            <a:ext cx="86183" cy="109104"/>
          </a:xfrm>
          <a:custGeom>
            <a:avLst/>
            <a:gdLst>
              <a:gd name="T0" fmla="*/ 58496 w 148435"/>
              <a:gd name="T1" fmla="*/ 3345 h 189286"/>
              <a:gd name="T2" fmla="*/ 0 w 148435"/>
              <a:gd name="T3" fmla="*/ 3345 h 189286"/>
              <a:gd name="T4" fmla="*/ 0 w 148435"/>
              <a:gd name="T5" fmla="*/ 189286 h 189286"/>
              <a:gd name="T6" fmla="*/ 58496 w 148435"/>
              <a:gd name="T7" fmla="*/ 189286 h 189286"/>
              <a:gd name="T8" fmla="*/ 60302 w 148435"/>
              <a:gd name="T9" fmla="*/ 104333 h 189286"/>
              <a:gd name="T10" fmla="*/ 66688 w 148435"/>
              <a:gd name="T11" fmla="*/ 89744 h 189286"/>
              <a:gd name="T12" fmla="*/ 102362 w 148435"/>
              <a:gd name="T13" fmla="*/ 56832 h 189286"/>
              <a:gd name="T14" fmla="*/ 105753 w 148435"/>
              <a:gd name="T15" fmla="*/ 56583 h 189286"/>
              <a:gd name="T16" fmla="*/ 58496 w 148435"/>
              <a:gd name="T17" fmla="*/ 56583 h 189286"/>
              <a:gd name="T18" fmla="*/ 58496 w 148435"/>
              <a:gd name="T19" fmla="*/ 3345 h 189286"/>
              <a:gd name="T20" fmla="*/ 142734 w 148435"/>
              <a:gd name="T21" fmla="*/ 55849 h 189286"/>
              <a:gd name="T22" fmla="*/ 115759 w 148435"/>
              <a:gd name="T23" fmla="*/ 55849 h 189286"/>
              <a:gd name="T24" fmla="*/ 127166 w 148435"/>
              <a:gd name="T25" fmla="*/ 60293 h 189286"/>
              <a:gd name="T26" fmla="*/ 141173 w 148435"/>
              <a:gd name="T27" fmla="*/ 68280 h 189286"/>
              <a:gd name="T28" fmla="*/ 142734 w 148435"/>
              <a:gd name="T29" fmla="*/ 55849 h 189286"/>
              <a:gd name="T30" fmla="*/ 113722 w 148435"/>
              <a:gd name="T31" fmla="*/ 0 h 189286"/>
              <a:gd name="T32" fmla="*/ 75999 w 148435"/>
              <a:gd name="T33" fmla="*/ 26495 h 189286"/>
              <a:gd name="T34" fmla="*/ 59296 w 148435"/>
              <a:gd name="T35" fmla="*/ 56583 h 189286"/>
              <a:gd name="T36" fmla="*/ 105753 w 148435"/>
              <a:gd name="T37" fmla="*/ 56583 h 189286"/>
              <a:gd name="T38" fmla="*/ 115759 w 148435"/>
              <a:gd name="T39" fmla="*/ 55849 h 189286"/>
              <a:gd name="T40" fmla="*/ 142734 w 148435"/>
              <a:gd name="T41" fmla="*/ 55849 h 189286"/>
              <a:gd name="T42" fmla="*/ 148435 w 148435"/>
              <a:gd name="T43" fmla="*/ 10457 h 189286"/>
              <a:gd name="T44" fmla="*/ 137066 w 148435"/>
              <a:gd name="T45" fmla="*/ 4225 h 189286"/>
              <a:gd name="T46" fmla="*/ 126026 w 148435"/>
              <a:gd name="T47" fmla="*/ 873 h 189286"/>
              <a:gd name="T48" fmla="*/ 113722 w 148435"/>
              <a:gd name="T49" fmla="*/ 0 h 189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7" name="object 22">
            <a:extLst>
              <a:ext uri="{FF2B5EF4-FFF2-40B4-BE49-F238E27FC236}">
                <a16:creationId xmlns:a16="http://schemas.microsoft.com/office/drawing/2014/main" id="{2FA097D3-7C4A-4C1F-8663-45952D769328}"/>
              </a:ext>
            </a:extLst>
          </p:cNvPr>
          <p:cNvSpPr>
            <a:spLocks/>
          </p:cNvSpPr>
          <p:nvPr/>
        </p:nvSpPr>
        <p:spPr bwMode="auto">
          <a:xfrm>
            <a:off x="8747312" y="6394994"/>
            <a:ext cx="111855" cy="111855"/>
          </a:xfrm>
          <a:custGeom>
            <a:avLst/>
            <a:gdLst>
              <a:gd name="T0" fmla="*/ 105791 w 193899"/>
              <a:gd name="T1" fmla="*/ 0 h 192655"/>
              <a:gd name="T2" fmla="*/ 59480 w 193899"/>
              <a:gd name="T3" fmla="*/ 7870 h 192655"/>
              <a:gd name="T4" fmla="*/ 25255 w 193899"/>
              <a:gd name="T5" fmla="*/ 30136 h 192655"/>
              <a:gd name="T6" fmla="*/ 4931 w 193899"/>
              <a:gd name="T7" fmla="*/ 64116 h 192655"/>
              <a:gd name="T8" fmla="*/ 0 w 193899"/>
              <a:gd name="T9" fmla="*/ 91954 h 192655"/>
              <a:gd name="T10" fmla="*/ 901 w 193899"/>
              <a:gd name="T11" fmla="*/ 107653 h 192655"/>
              <a:gd name="T12" fmla="*/ 14163 w 193899"/>
              <a:gd name="T13" fmla="*/ 147572 h 192655"/>
              <a:gd name="T14" fmla="*/ 41702 w 193899"/>
              <a:gd name="T15" fmla="*/ 175703 h 192655"/>
              <a:gd name="T16" fmla="*/ 81516 w 193899"/>
              <a:gd name="T17" fmla="*/ 190728 h 192655"/>
              <a:gd name="T18" fmla="*/ 107485 w 193899"/>
              <a:gd name="T19" fmla="*/ 192655 h 192655"/>
              <a:gd name="T20" fmla="*/ 118689 w 193899"/>
              <a:gd name="T21" fmla="*/ 192350 h 192655"/>
              <a:gd name="T22" fmla="*/ 169214 w 193899"/>
              <a:gd name="T23" fmla="*/ 180915 h 192655"/>
              <a:gd name="T24" fmla="*/ 185591 w 193899"/>
              <a:gd name="T25" fmla="*/ 157805 h 192655"/>
              <a:gd name="T26" fmla="*/ 131330 w 193899"/>
              <a:gd name="T27" fmla="*/ 157805 h 192655"/>
              <a:gd name="T28" fmla="*/ 112833 w 193899"/>
              <a:gd name="T29" fmla="*/ 156784 h 192655"/>
              <a:gd name="T30" fmla="*/ 74396 w 193899"/>
              <a:gd name="T31" fmla="*/ 140117 h 192655"/>
              <a:gd name="T32" fmla="*/ 60397 w 193899"/>
              <a:gd name="T33" fmla="*/ 105806 h 192655"/>
              <a:gd name="T34" fmla="*/ 193899 w 193899"/>
              <a:gd name="T35" fmla="*/ 105806 h 192655"/>
              <a:gd name="T36" fmla="*/ 193588 w 193899"/>
              <a:gd name="T37" fmla="*/ 88898 h 192655"/>
              <a:gd name="T38" fmla="*/ 191559 w 193899"/>
              <a:gd name="T39" fmla="*/ 75149 h 192655"/>
              <a:gd name="T40" fmla="*/ 61603 w 193899"/>
              <a:gd name="T41" fmla="*/ 75149 h 192655"/>
              <a:gd name="T42" fmla="*/ 65003 w 193899"/>
              <a:gd name="T43" fmla="*/ 59641 h 192655"/>
              <a:gd name="T44" fmla="*/ 71797 w 193899"/>
              <a:gd name="T45" fmla="*/ 47600 h 192655"/>
              <a:gd name="T46" fmla="*/ 81695 w 193899"/>
              <a:gd name="T47" fmla="*/ 39292 h 192655"/>
              <a:gd name="T48" fmla="*/ 94403 w 193899"/>
              <a:gd name="T49" fmla="*/ 34981 h 192655"/>
              <a:gd name="T50" fmla="*/ 101926 w 193899"/>
              <a:gd name="T51" fmla="*/ 34407 h 192655"/>
              <a:gd name="T52" fmla="*/ 173308 w 193899"/>
              <a:gd name="T53" fmla="*/ 34407 h 192655"/>
              <a:gd name="T54" fmla="*/ 165226 w 193899"/>
              <a:gd name="T55" fmla="*/ 25366 h 192655"/>
              <a:gd name="T56" fmla="*/ 155231 w 193899"/>
              <a:gd name="T57" fmla="*/ 17102 h 192655"/>
              <a:gd name="T58" fmla="*/ 144141 w 193899"/>
              <a:gd name="T59" fmla="*/ 10399 h 192655"/>
              <a:gd name="T60" fmla="*/ 132106 w 193899"/>
              <a:gd name="T61" fmla="*/ 5291 h 192655"/>
              <a:gd name="T62" fmla="*/ 119273 w 193899"/>
              <a:gd name="T63" fmla="*/ 1813 h 192655"/>
              <a:gd name="T64" fmla="*/ 105791 w 193899"/>
              <a:gd name="T65" fmla="*/ 0 h 192655"/>
              <a:gd name="T66" fmla="*/ 190674 w 193899"/>
              <a:gd name="T67" fmla="*/ 131613 h 192655"/>
              <a:gd name="T68" fmla="*/ 153671 w 193899"/>
              <a:gd name="T69" fmla="*/ 152711 h 192655"/>
              <a:gd name="T70" fmla="*/ 131330 w 193899"/>
              <a:gd name="T71" fmla="*/ 157805 h 192655"/>
              <a:gd name="T72" fmla="*/ 185591 w 193899"/>
              <a:gd name="T73" fmla="*/ 157805 h 192655"/>
              <a:gd name="T74" fmla="*/ 190674 w 193899"/>
              <a:gd name="T75" fmla="*/ 131613 h 192655"/>
              <a:gd name="T76" fmla="*/ 173308 w 193899"/>
              <a:gd name="T77" fmla="*/ 34407 h 192655"/>
              <a:gd name="T78" fmla="*/ 101926 w 193899"/>
              <a:gd name="T79" fmla="*/ 34407 h 192655"/>
              <a:gd name="T80" fmla="*/ 115810 w 193899"/>
              <a:gd name="T81" fmla="*/ 36607 h 192655"/>
              <a:gd name="T82" fmla="*/ 127186 w 193899"/>
              <a:gd name="T83" fmla="*/ 42978 h 192655"/>
              <a:gd name="T84" fmla="*/ 135687 w 193899"/>
              <a:gd name="T85" fmla="*/ 53177 h 192655"/>
              <a:gd name="T86" fmla="*/ 140942 w 193899"/>
              <a:gd name="T87" fmla="*/ 66864 h 192655"/>
              <a:gd name="T88" fmla="*/ 61603 w 193899"/>
              <a:gd name="T89" fmla="*/ 75149 h 192655"/>
              <a:gd name="T90" fmla="*/ 191559 w 193899"/>
              <a:gd name="T91" fmla="*/ 75149 h 192655"/>
              <a:gd name="T92" fmla="*/ 191292 w 193899"/>
              <a:gd name="T93" fmla="*/ 73345 h 192655"/>
              <a:gd name="T94" fmla="*/ 187160 w 193899"/>
              <a:gd name="T95" fmla="*/ 59180 h 192655"/>
              <a:gd name="T96" fmla="*/ 181339 w 193899"/>
              <a:gd name="T97" fmla="*/ 46439 h 192655"/>
              <a:gd name="T98" fmla="*/ 173978 w 193899"/>
              <a:gd name="T99" fmla="*/ 35157 h 192655"/>
              <a:gd name="T100" fmla="*/ 173308 w 193899"/>
              <a:gd name="T101" fmla="*/ 34407 h 19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8" name="object 23">
            <a:extLst>
              <a:ext uri="{FF2B5EF4-FFF2-40B4-BE49-F238E27FC236}">
                <a16:creationId xmlns:a16="http://schemas.microsoft.com/office/drawing/2014/main" id="{E24DE66C-0486-4683-B1C4-F0F7AE316698}"/>
              </a:ext>
            </a:extLst>
          </p:cNvPr>
          <p:cNvSpPr>
            <a:spLocks/>
          </p:cNvSpPr>
          <p:nvPr/>
        </p:nvSpPr>
        <p:spPr bwMode="auto">
          <a:xfrm>
            <a:off x="8876587" y="6394994"/>
            <a:ext cx="108188" cy="109104"/>
          </a:xfrm>
          <a:custGeom>
            <a:avLst/>
            <a:gdLst>
              <a:gd name="T0" fmla="*/ 58496 w 186753"/>
              <a:gd name="T1" fmla="*/ 3531 h 189472"/>
              <a:gd name="T2" fmla="*/ 0 w 186753"/>
              <a:gd name="T3" fmla="*/ 3531 h 189472"/>
              <a:gd name="T4" fmla="*/ 0 w 186753"/>
              <a:gd name="T5" fmla="*/ 189472 h 189472"/>
              <a:gd name="T6" fmla="*/ 58496 w 186753"/>
              <a:gd name="T7" fmla="*/ 189472 h 189472"/>
              <a:gd name="T8" fmla="*/ 64716 w 186753"/>
              <a:gd name="T9" fmla="*/ 60917 h 189472"/>
              <a:gd name="T10" fmla="*/ 73902 w 186753"/>
              <a:gd name="T11" fmla="*/ 50710 h 189472"/>
              <a:gd name="T12" fmla="*/ 83535 w 186753"/>
              <a:gd name="T13" fmla="*/ 44118 h 189472"/>
              <a:gd name="T14" fmla="*/ 94633 w 186753"/>
              <a:gd name="T15" fmla="*/ 40761 h 189472"/>
              <a:gd name="T16" fmla="*/ 108215 w 186753"/>
              <a:gd name="T17" fmla="*/ 40256 h 189472"/>
              <a:gd name="T18" fmla="*/ 181204 w 186753"/>
              <a:gd name="T19" fmla="*/ 40256 h 189472"/>
              <a:gd name="T20" fmla="*/ 180209 w 186753"/>
              <a:gd name="T21" fmla="*/ 37064 h 189472"/>
              <a:gd name="T22" fmla="*/ 176069 w 186753"/>
              <a:gd name="T23" fmla="*/ 30150 h 189472"/>
              <a:gd name="T24" fmla="*/ 58496 w 186753"/>
              <a:gd name="T25" fmla="*/ 30150 h 189472"/>
              <a:gd name="T26" fmla="*/ 58496 w 186753"/>
              <a:gd name="T27" fmla="*/ 3531 h 189472"/>
              <a:gd name="T28" fmla="*/ 181204 w 186753"/>
              <a:gd name="T29" fmla="*/ 40256 h 189472"/>
              <a:gd name="T30" fmla="*/ 108215 w 186753"/>
              <a:gd name="T31" fmla="*/ 40256 h 189472"/>
              <a:gd name="T32" fmla="*/ 118687 w 186753"/>
              <a:gd name="T33" fmla="*/ 46405 h 189472"/>
              <a:gd name="T34" fmla="*/ 125699 w 186753"/>
              <a:gd name="T35" fmla="*/ 58192 h 189472"/>
              <a:gd name="T36" fmla="*/ 128257 w 186753"/>
              <a:gd name="T37" fmla="*/ 76137 h 189472"/>
              <a:gd name="T38" fmla="*/ 128257 w 186753"/>
              <a:gd name="T39" fmla="*/ 189472 h 189472"/>
              <a:gd name="T40" fmla="*/ 186753 w 186753"/>
              <a:gd name="T41" fmla="*/ 189472 h 189472"/>
              <a:gd name="T42" fmla="*/ 185042 w 186753"/>
              <a:gd name="T43" fmla="*/ 52574 h 189472"/>
              <a:gd name="T44" fmla="*/ 181204 w 186753"/>
              <a:gd name="T45" fmla="*/ 40256 h 189472"/>
              <a:gd name="T46" fmla="*/ 114684 w 186753"/>
              <a:gd name="T47" fmla="*/ 0 h 189472"/>
              <a:gd name="T48" fmla="*/ 68938 w 186753"/>
              <a:gd name="T49" fmla="*/ 19409 h 189472"/>
              <a:gd name="T50" fmla="*/ 58496 w 186753"/>
              <a:gd name="T51" fmla="*/ 30150 h 189472"/>
              <a:gd name="T52" fmla="*/ 176069 w 186753"/>
              <a:gd name="T53" fmla="*/ 30150 h 189472"/>
              <a:gd name="T54" fmla="*/ 140028 w 186753"/>
              <a:gd name="T55" fmla="*/ 3388 h 189472"/>
              <a:gd name="T56" fmla="*/ 114684 w 186753"/>
              <a:gd name="T57" fmla="*/ 0 h 189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4599" name="object 24">
            <a:extLst>
              <a:ext uri="{FF2B5EF4-FFF2-40B4-BE49-F238E27FC236}">
                <a16:creationId xmlns:a16="http://schemas.microsoft.com/office/drawing/2014/main" id="{6A4A2BE9-DBFE-4E74-ACD4-DDFF0FC54752}"/>
              </a:ext>
            </a:extLst>
          </p:cNvPr>
          <p:cNvSpPr>
            <a:spLocks/>
          </p:cNvSpPr>
          <p:nvPr/>
        </p:nvSpPr>
        <p:spPr bwMode="auto">
          <a:xfrm>
            <a:off x="6621149" y="6108938"/>
            <a:ext cx="456589" cy="477676"/>
          </a:xfrm>
          <a:custGeom>
            <a:avLst/>
            <a:gdLst>
              <a:gd name="T0" fmla="*/ 66585 w 790525"/>
              <a:gd name="T1" fmla="*/ 162560 h 826770"/>
              <a:gd name="T2" fmla="*/ 78798 w 790525"/>
              <a:gd name="T3" fmla="*/ 207010 h 826770"/>
              <a:gd name="T4" fmla="*/ 31279 w 790525"/>
              <a:gd name="T5" fmla="*/ 292100 h 826770"/>
              <a:gd name="T6" fmla="*/ 426 w 790525"/>
              <a:gd name="T7" fmla="*/ 466090 h 826770"/>
              <a:gd name="T8" fmla="*/ 43637 w 790525"/>
              <a:gd name="T9" fmla="*/ 624840 h 826770"/>
              <a:gd name="T10" fmla="*/ 81010 w 790525"/>
              <a:gd name="T11" fmla="*/ 681990 h 826770"/>
              <a:gd name="T12" fmla="*/ 157224 w 790525"/>
              <a:gd name="T13" fmla="*/ 754380 h 826770"/>
              <a:gd name="T14" fmla="*/ 207199 w 790525"/>
              <a:gd name="T15" fmla="*/ 783590 h 826770"/>
              <a:gd name="T16" fmla="*/ 315749 w 790525"/>
              <a:gd name="T17" fmla="*/ 821690 h 826770"/>
              <a:gd name="T18" fmla="*/ 514267 w 790525"/>
              <a:gd name="T19" fmla="*/ 819150 h 826770"/>
              <a:gd name="T20" fmla="*/ 609328 w 790525"/>
              <a:gd name="T21" fmla="*/ 786130 h 826770"/>
              <a:gd name="T22" fmla="*/ 616272 w 790525"/>
              <a:gd name="T23" fmla="*/ 744220 h 826770"/>
              <a:gd name="T24" fmla="*/ 201626 w 790525"/>
              <a:gd name="T25" fmla="*/ 715010 h 826770"/>
              <a:gd name="T26" fmla="*/ 134155 w 790525"/>
              <a:gd name="T27" fmla="*/ 654050 h 826770"/>
              <a:gd name="T28" fmla="*/ 66491 w 790525"/>
              <a:gd name="T29" fmla="*/ 543560 h 826770"/>
              <a:gd name="T30" fmla="*/ 42317 w 790525"/>
              <a:gd name="T31" fmla="*/ 401320 h 826770"/>
              <a:gd name="T32" fmla="*/ 83745 w 790525"/>
              <a:gd name="T33" fmla="*/ 247650 h 826770"/>
              <a:gd name="T34" fmla="*/ 191896 w 790525"/>
              <a:gd name="T35" fmla="*/ 212090 h 826770"/>
              <a:gd name="T36" fmla="*/ 154483 w 790525"/>
              <a:gd name="T37" fmla="*/ 173990 h 826770"/>
              <a:gd name="T38" fmla="*/ 119420 w 790525"/>
              <a:gd name="T39" fmla="*/ 148590 h 826770"/>
              <a:gd name="T40" fmla="*/ 119256 w 790525"/>
              <a:gd name="T41" fmla="*/ 255270 h 826770"/>
              <a:gd name="T42" fmla="*/ 183966 w 790525"/>
              <a:gd name="T43" fmla="*/ 330200 h 826770"/>
              <a:gd name="T44" fmla="*/ 225190 w 790525"/>
              <a:gd name="T45" fmla="*/ 381000 h 826770"/>
              <a:gd name="T46" fmla="*/ 254311 w 790525"/>
              <a:gd name="T47" fmla="*/ 425450 h 826770"/>
              <a:gd name="T48" fmla="*/ 253814 w 790525"/>
              <a:gd name="T49" fmla="*/ 482600 h 826770"/>
              <a:gd name="T50" fmla="*/ 237140 w 790525"/>
              <a:gd name="T51" fmla="*/ 554990 h 826770"/>
              <a:gd name="T52" fmla="*/ 222794 w 790525"/>
              <a:gd name="T53" fmla="*/ 718820 h 826770"/>
              <a:gd name="T54" fmla="*/ 592655 w 790525"/>
              <a:gd name="T55" fmla="*/ 669290 h 826770"/>
              <a:gd name="T56" fmla="*/ 577540 w 790525"/>
              <a:gd name="T57" fmla="*/ 482600 h 826770"/>
              <a:gd name="T58" fmla="*/ 626380 w 790525"/>
              <a:gd name="T59" fmla="*/ 356870 h 826770"/>
              <a:gd name="T60" fmla="*/ 405812 w 790525"/>
              <a:gd name="T61" fmla="*/ 321310 h 826770"/>
              <a:gd name="T62" fmla="*/ 286561 w 790525"/>
              <a:gd name="T63" fmla="*/ 284480 h 826770"/>
              <a:gd name="T64" fmla="*/ 210527 w 790525"/>
              <a:gd name="T65" fmla="*/ 228600 h 826770"/>
              <a:gd name="T66" fmla="*/ 728545 w 790525"/>
              <a:gd name="T67" fmla="*/ 339090 h 826770"/>
              <a:gd name="T68" fmla="*/ 738699 w 790525"/>
              <a:gd name="T69" fmla="*/ 504190 h 826770"/>
              <a:gd name="T70" fmla="*/ 662084 w 790525"/>
              <a:gd name="T71" fmla="*/ 665480 h 826770"/>
              <a:gd name="T72" fmla="*/ 666275 w 790525"/>
              <a:gd name="T73" fmla="*/ 684530 h 826770"/>
              <a:gd name="T74" fmla="*/ 710323 w 790525"/>
              <a:gd name="T75" fmla="*/ 645160 h 826770"/>
              <a:gd name="T76" fmla="*/ 785728 w 790525"/>
              <a:gd name="T77" fmla="*/ 415290 h 826770"/>
              <a:gd name="T78" fmla="*/ 759233 w 790525"/>
              <a:gd name="T79" fmla="*/ 269240 h 826770"/>
              <a:gd name="T80" fmla="*/ 583941 w 790525"/>
              <a:gd name="T81" fmla="*/ 142240 h 826770"/>
              <a:gd name="T82" fmla="*/ 578252 w 790525"/>
              <a:gd name="T83" fmla="*/ 264160 h 826770"/>
              <a:gd name="T84" fmla="*/ 653076 w 790525"/>
              <a:gd name="T85" fmla="*/ 321310 h 826770"/>
              <a:gd name="T86" fmla="*/ 759233 w 790525"/>
              <a:gd name="T87" fmla="*/ 269240 h 826770"/>
              <a:gd name="T88" fmla="*/ 789985 w 790525"/>
              <a:gd name="T89" fmla="*/ 166370 h 826770"/>
              <a:gd name="T90" fmla="*/ 660777 w 790525"/>
              <a:gd name="T91" fmla="*/ 128270 h 826770"/>
              <a:gd name="T92" fmla="*/ 300642 w 790525"/>
              <a:gd name="T93" fmla="*/ 85090 h 826770"/>
              <a:gd name="T94" fmla="*/ 291916 w 790525"/>
              <a:gd name="T95" fmla="*/ 138430 h 826770"/>
              <a:gd name="T96" fmla="*/ 385181 w 790525"/>
              <a:gd name="T97" fmla="*/ 283210 h 826770"/>
              <a:gd name="T98" fmla="*/ 523231 w 790525"/>
              <a:gd name="T99" fmla="*/ 205740 h 826770"/>
              <a:gd name="T100" fmla="*/ 630062 w 790525"/>
              <a:gd name="T101" fmla="*/ 104140 h 826770"/>
              <a:gd name="T102" fmla="*/ 718209 w 790525"/>
              <a:gd name="T103" fmla="*/ 146050 h 826770"/>
              <a:gd name="T104" fmla="*/ 776367 w 790525"/>
              <a:gd name="T105" fmla="*/ 143510 h 826770"/>
              <a:gd name="T106" fmla="*/ 401475 w 790525"/>
              <a:gd name="T107" fmla="*/ 0 h 826770"/>
              <a:gd name="T108" fmla="*/ 238833 w 790525"/>
              <a:gd name="T109" fmla="*/ 73660 h 826770"/>
              <a:gd name="T110" fmla="*/ 152920 w 790525"/>
              <a:gd name="T111" fmla="*/ 129540 h 826770"/>
              <a:gd name="T112" fmla="*/ 176990 w 790525"/>
              <a:gd name="T113" fmla="*/ 142240 h 826770"/>
              <a:gd name="T114" fmla="*/ 231913 w 790525"/>
              <a:gd name="T115" fmla="*/ 109220 h 826770"/>
              <a:gd name="T116" fmla="*/ 575018 w 790525"/>
              <a:gd name="T117" fmla="*/ 72390 h 826770"/>
              <a:gd name="T118" fmla="*/ 503374 w 790525"/>
              <a:gd name="T119" fmla="*/ 46990 h 826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6" name="object 26">
            <a:extLst>
              <a:ext uri="{FF2B5EF4-FFF2-40B4-BE49-F238E27FC236}">
                <a16:creationId xmlns:a16="http://schemas.microsoft.com/office/drawing/2014/main" id="{14131396-489B-4D7F-A2F9-091582B4D69C}"/>
              </a:ext>
            </a:extLst>
          </p:cNvPr>
          <p:cNvSpPr txBox="1">
            <a:spLocks noGrp="1"/>
          </p:cNvSpPr>
          <p:nvPr>
            <p:ph type="title"/>
          </p:nvPr>
        </p:nvSpPr>
        <p:spPr>
          <a:xfrm>
            <a:off x="228600" y="0"/>
            <a:ext cx="10668000" cy="1439448"/>
          </a:xfrm>
        </p:spPr>
        <p:txBody>
          <a:bodyPr vert="horz" lIns="0" tIns="0" rIns="0" bIns="0" rtlCol="0" anchor="ctr">
            <a:noAutofit/>
          </a:bodyPr>
          <a:lstStyle/>
          <a:p>
            <a:pPr>
              <a:defRPr/>
            </a:pPr>
            <a:r>
              <a:rPr lang="my-MM" altLang="en-US" sz="2800" dirty="0">
                <a:solidFill>
                  <a:schemeClr val="bg1"/>
                </a:solidFill>
                <a:latin typeface="Zawgyi-One" panose="020B0604030504040204" pitchFamily="34" charset="0"/>
                <a:cs typeface="Zawgyi-One" panose="020B0604030504040204" pitchFamily="34" charset="0"/>
              </a:rPr>
              <a:t>စိတ္ပိုင္းဆိုင္ရာေထာက္ပံ့ေပးမွဳ</a:t>
            </a:r>
            <a:r>
              <a:rPr lang="en-US" altLang="en-US" sz="2800" dirty="0">
                <a:solidFill>
                  <a:schemeClr val="bg1"/>
                </a:solidFill>
                <a:latin typeface="Zawgyi-One" panose="020B0604030504040204" pitchFamily="34" charset="0"/>
                <a:cs typeface="Zawgyi-One" panose="020B0604030504040204" pitchFamily="34" charset="0"/>
              </a:rPr>
              <a:t> </a:t>
            </a:r>
            <a:r>
              <a:rPr lang="en-US" altLang="en-US" sz="2800" dirty="0" err="1">
                <a:solidFill>
                  <a:schemeClr val="bg1"/>
                </a:solidFill>
                <a:latin typeface="Zawgyi-One" panose="020B0604030504040204" pitchFamily="34" charset="0"/>
                <a:cs typeface="Zawgyi-One" panose="020B0604030504040204" pitchFamily="34" charset="0"/>
              </a:rPr>
              <a:t>မဟုတ္သည္မ်ားမွာ</a:t>
            </a:r>
            <a:r>
              <a:rPr lang="en-US" altLang="en-US" sz="2800" dirty="0">
                <a:solidFill>
                  <a:schemeClr val="bg1"/>
                </a:solidFill>
                <a:latin typeface="Zawgyi-One" panose="020B0604030504040204" pitchFamily="34" charset="0"/>
                <a:cs typeface="Zawgyi-One" panose="020B0604030504040204" pitchFamily="34" charset="0"/>
              </a:rPr>
              <a:t>…….</a:t>
            </a:r>
            <a:endParaRPr lang="en-US" altLang="en-US" sz="2800" dirty="0">
              <a:solidFill>
                <a:schemeClr val="bg1"/>
              </a:solidFill>
            </a:endParaRPr>
          </a:p>
        </p:txBody>
      </p:sp>
      <p:sp>
        <p:nvSpPr>
          <p:cNvPr id="37" name="object 37">
            <a:extLst>
              <a:ext uri="{FF2B5EF4-FFF2-40B4-BE49-F238E27FC236}">
                <a16:creationId xmlns:a16="http://schemas.microsoft.com/office/drawing/2014/main" id="{F5660FC9-3D29-41D6-AE9C-DF8C6F87DA6C}"/>
              </a:ext>
            </a:extLst>
          </p:cNvPr>
          <p:cNvSpPr>
            <a:spLocks noGrp="1"/>
          </p:cNvSpPr>
          <p:nvPr>
            <p:ph type="ftr" sz="quarter" idx="11"/>
          </p:nvPr>
        </p:nvSpPr>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36" name="object 36">
            <a:extLst>
              <a:ext uri="{FF2B5EF4-FFF2-40B4-BE49-F238E27FC236}">
                <a16:creationId xmlns:a16="http://schemas.microsoft.com/office/drawing/2014/main" id="{3060103D-B035-4F69-88DC-32D2CD503DC3}"/>
              </a:ext>
            </a:extLst>
          </p:cNvPr>
          <p:cNvSpPr txBox="1"/>
          <p:nvPr/>
        </p:nvSpPr>
        <p:spPr>
          <a:xfrm>
            <a:off x="23589" y="4824899"/>
            <a:ext cx="69313" cy="744478"/>
          </a:xfrm>
          <a:prstGeom prst="rect">
            <a:avLst/>
          </a:prstGeom>
        </p:spPr>
        <p:txBody>
          <a:bodyPr vert="vert270" lIns="0" tIns="0" rIns="0" bIns="0"/>
          <a:lstStyle/>
          <a:p>
            <a:pPr marL="7334">
              <a:defRPr/>
            </a:pPr>
            <a:r>
              <a:rPr sz="404" dirty="0">
                <a:solidFill>
                  <a:srgbClr val="FFFFFF"/>
                </a:solidFill>
                <a:latin typeface="Gill Sans"/>
                <a:cs typeface="Gill Sans"/>
              </a:rPr>
              <a:t>Luca Kl</a:t>
            </a:r>
            <a:r>
              <a:rPr sz="404" spc="-9" dirty="0">
                <a:solidFill>
                  <a:srgbClr val="FFFFFF"/>
                </a:solidFill>
                <a:latin typeface="Gill Sans"/>
                <a:cs typeface="Gill Sans"/>
              </a:rPr>
              <a:t>ev</a:t>
            </a:r>
            <a:r>
              <a:rPr sz="404" dirty="0">
                <a:solidFill>
                  <a:srgbClr val="FFFFFF"/>
                </a:solidFill>
                <a:latin typeface="Gill Sans"/>
                <a:cs typeface="Gill Sans"/>
              </a:rPr>
              <a:t>e-Ruud/S</a:t>
            </a:r>
            <a:r>
              <a:rPr sz="404" spc="-14" dirty="0">
                <a:solidFill>
                  <a:srgbClr val="FFFFFF"/>
                </a:solidFill>
                <a:latin typeface="Gill Sans"/>
                <a:cs typeface="Gill Sans"/>
              </a:rPr>
              <a:t>a</a:t>
            </a:r>
            <a:r>
              <a:rPr sz="404" spc="-9" dirty="0">
                <a:solidFill>
                  <a:srgbClr val="FFFFFF"/>
                </a:solidFill>
                <a:latin typeface="Gill Sans"/>
                <a:cs typeface="Gill Sans"/>
              </a:rPr>
              <a:t>v</a:t>
            </a:r>
            <a:r>
              <a:rPr sz="404" dirty="0">
                <a:solidFill>
                  <a:srgbClr val="FFFFFF"/>
                </a:solidFill>
                <a:latin typeface="Gill Sans"/>
                <a:cs typeface="Gill Sans"/>
              </a:rPr>
              <a:t>e the Child</a:t>
            </a:r>
            <a:r>
              <a:rPr sz="404" spc="-9" dirty="0">
                <a:solidFill>
                  <a:srgbClr val="FFFFFF"/>
                </a:solidFill>
                <a:latin typeface="Gill Sans"/>
                <a:cs typeface="Gill Sans"/>
              </a:rPr>
              <a:t>r</a:t>
            </a:r>
            <a:r>
              <a:rPr sz="404" dirty="0">
                <a:solidFill>
                  <a:srgbClr val="FFFFFF"/>
                </a:solidFill>
                <a:latin typeface="Gill Sans"/>
                <a:cs typeface="Gill Sans"/>
              </a:rPr>
              <a:t>en</a:t>
            </a:r>
            <a:endParaRPr sz="404">
              <a:latin typeface="Gill Sans"/>
              <a:cs typeface="Gill Sans"/>
            </a:endParaRPr>
          </a:p>
        </p:txBody>
      </p:sp>
      <p:sp>
        <p:nvSpPr>
          <p:cNvPr id="28" name="Content Placeholder 2">
            <a:extLst>
              <a:ext uri="{FF2B5EF4-FFF2-40B4-BE49-F238E27FC236}">
                <a16:creationId xmlns:a16="http://schemas.microsoft.com/office/drawing/2014/main" id="{0F505B83-87F6-4DA5-AC15-95932EA0ADF4}"/>
              </a:ext>
            </a:extLst>
          </p:cNvPr>
          <p:cNvSpPr>
            <a:spLocks noGrp="1"/>
          </p:cNvSpPr>
          <p:nvPr>
            <p:ph idx="1"/>
          </p:nvPr>
        </p:nvSpPr>
        <p:spPr bwMode="auto">
          <a:xfrm>
            <a:off x="378361" y="1455951"/>
            <a:ext cx="8268120" cy="4474651"/>
          </a:xfrm>
        </p:spPr>
        <p:txBody>
          <a:bodyPr vert="horz" wrap="square" lIns="84361" tIns="42181" rIns="84361" bIns="42181" numCol="1" rtlCol="0" anchor="t" anchorCtr="0" compatLnSpc="1">
            <a:prstTxWarp prst="textNoShape">
              <a:avLst/>
            </a:prstTxWarp>
            <a:normAutofit/>
          </a:bodyPr>
          <a:lstStyle/>
          <a:p>
            <a:pPr marL="291607" indent="-285750">
              <a:lnSpc>
                <a:spcPct val="170000"/>
              </a:lnSpc>
              <a:buFont typeface="Wingdings" panose="05000000000000000000" pitchFamily="2" charset="2"/>
              <a:buChar char="v"/>
              <a:defRPr/>
            </a:pPr>
            <a:r>
              <a:rPr lang="my-MM" altLang="en-US" dirty="0">
                <a:latin typeface="Zawgyi-One" panose="020B0604030504040204" pitchFamily="34" charset="0"/>
                <a:cs typeface="Zawgyi-One" panose="020B0604030504040204" pitchFamily="34" charset="0"/>
              </a:rPr>
              <a:t>ပညာရွင္ေတြကသာေပးနိုင္တဲ့အရာ တစ္ခုခု</a:t>
            </a:r>
            <a:r>
              <a:rPr lang="en-US" altLang="en-US" dirty="0">
                <a:latin typeface="Zawgyi-One" panose="020B0604030504040204" pitchFamily="34" charset="0"/>
                <a:cs typeface="Zawgyi-One" panose="020B0604030504040204" pitchFamily="34" charset="0"/>
              </a:rPr>
              <a:t> </a:t>
            </a:r>
            <a:r>
              <a:rPr lang="my-MM" altLang="en-US" dirty="0">
                <a:latin typeface="Zawgyi-One" panose="020B0604030504040204" pitchFamily="34" charset="0"/>
                <a:cs typeface="Zawgyi-One" panose="020B0604030504040204" pitchFamily="34" charset="0"/>
              </a:rPr>
              <a:t>ႏွိမ့္သိမ့္ေဆြးေႏြးမွဳ</a:t>
            </a:r>
          </a:p>
          <a:p>
            <a:pPr marL="291607" indent="-285750">
              <a:lnSpc>
                <a:spcPct val="170000"/>
              </a:lnSpc>
              <a:buFont typeface="Wingdings" panose="05000000000000000000" pitchFamily="2" charset="2"/>
              <a:buChar char="v"/>
              <a:defRPr/>
            </a:pPr>
            <a:r>
              <a:rPr lang="my-MM" altLang="en-US" dirty="0">
                <a:latin typeface="Zawgyi-One" panose="020B0604030504040204" pitchFamily="34" charset="0"/>
                <a:cs typeface="Zawgyi-One" panose="020B0604030504040204" pitchFamily="34" charset="0"/>
              </a:rPr>
              <a:t>ကုသေရးတစ္ခု(သို႔)စိတ္ေရာပါႏွင့္ဆိုင္ေသာၾကား</a:t>
            </a:r>
            <a:r>
              <a:rPr lang="en-US" altLang="en-US" dirty="0">
                <a:latin typeface="Zawgyi-One" panose="020B0604030504040204" pitchFamily="34" charset="0"/>
                <a:cs typeface="Zawgyi-One" panose="020B0604030504040204" pitchFamily="34" charset="0"/>
              </a:rPr>
              <a:t>၀င္ေဆာင္ရြ</a:t>
            </a:r>
            <a:r>
              <a:rPr lang="my-MM" altLang="en-US" dirty="0">
                <a:latin typeface="Zawgyi-One" panose="020B0604030504040204" pitchFamily="34" charset="0"/>
                <a:cs typeface="Zawgyi-One" panose="020B0604030504040204" pitchFamily="34" charset="0"/>
              </a:rPr>
              <a:t>က္</a:t>
            </a:r>
            <a:r>
              <a:rPr lang="en-US" altLang="en-US" dirty="0">
                <a:latin typeface="Zawgyi-One" panose="020B0604030504040204" pitchFamily="34" charset="0"/>
                <a:cs typeface="Zawgyi-One" panose="020B0604030504040204" pitchFamily="34" charset="0"/>
              </a:rPr>
              <a:t>ျ</a:t>
            </a:r>
            <a:r>
              <a:rPr lang="en-US" altLang="en-US" dirty="0" err="1">
                <a:latin typeface="Zawgyi-One" panose="020B0604030504040204" pitchFamily="34" charset="0"/>
                <a:cs typeface="Zawgyi-One" panose="020B0604030504040204" pitchFamily="34" charset="0"/>
              </a:rPr>
              <a:t>ခင္း</a:t>
            </a:r>
            <a:r>
              <a:rPr lang="en-US" altLang="en-US" dirty="0">
                <a:latin typeface="Zawgyi-One" panose="020B0604030504040204" pitchFamily="34" charset="0"/>
                <a:cs typeface="Zawgyi-One" panose="020B0604030504040204" pitchFamily="34" charset="0"/>
              </a:rPr>
              <a:t>  </a:t>
            </a:r>
            <a:r>
              <a:rPr lang="my-MM" altLang="en-US" dirty="0">
                <a:latin typeface="Zawgyi-One" panose="020B0604030504040204" pitchFamily="34" charset="0"/>
                <a:cs typeface="Zawgyi-One" panose="020B0604030504040204" pitchFamily="34" charset="0"/>
              </a:rPr>
              <a:t>(ေကာင္းမြန္သည့္ကုသေရးတစ္ခုခု ႏွင့္ ဆိုင္ေသာ)</a:t>
            </a:r>
          </a:p>
          <a:p>
            <a:pPr marL="291607" indent="-285750">
              <a:lnSpc>
                <a:spcPct val="170000"/>
              </a:lnSpc>
              <a:buFont typeface="Wingdings" panose="05000000000000000000" pitchFamily="2" charset="2"/>
              <a:buChar char="v"/>
              <a:defRPr/>
            </a:pPr>
            <a:r>
              <a:rPr lang="my-MM" altLang="en-US" dirty="0">
                <a:latin typeface="Zawgyi-One" panose="020B0604030504040204" pitchFamily="34" charset="0"/>
                <a:cs typeface="Zawgyi-One" panose="020B0604030504040204" pitchFamily="34" charset="0"/>
              </a:rPr>
              <a:t>စိတ္ပိုင္းဆိုင္ရာႏွင့္ပတ္သက္ေသာအေၾကာင္းအရာမ်ားကို ေဆြးႏြးျခင္း</a:t>
            </a:r>
          </a:p>
          <a:p>
            <a:pPr marL="291607" indent="-285750">
              <a:lnSpc>
                <a:spcPct val="170000"/>
              </a:lnSpc>
              <a:buFont typeface="Wingdings" panose="05000000000000000000" pitchFamily="2" charset="2"/>
              <a:buChar char="v"/>
              <a:defRPr/>
            </a:pPr>
            <a:r>
              <a:rPr lang="my-MM" altLang="en-US" dirty="0">
                <a:latin typeface="Zawgyi-One" panose="020B0604030504040204" pitchFamily="34" charset="0"/>
                <a:cs typeface="Zawgyi-One" panose="020B0604030504040204" pitchFamily="34" charset="0"/>
              </a:rPr>
              <a:t>သူတို႔၏ အျဖစ္အပ်က္ေတြကို အခ်ိန္ႏွင့္ အျဖစ္အပ်က္အလိုက္ အစီအလိုက္ျပန္စီခိုင္းျခင္း</a:t>
            </a:r>
          </a:p>
          <a:p>
            <a:pPr marL="291607" indent="-285750">
              <a:lnSpc>
                <a:spcPct val="170000"/>
              </a:lnSpc>
              <a:buFont typeface="Wingdings" panose="05000000000000000000" pitchFamily="2" charset="2"/>
              <a:buChar char="v"/>
              <a:defRPr/>
            </a:pPr>
            <a:r>
              <a:rPr lang="my-MM" altLang="en-US" dirty="0">
                <a:latin typeface="Zawgyi-One" panose="020B0604030504040204" pitchFamily="34" charset="0"/>
                <a:cs typeface="Zawgyi-One" panose="020B0604030504040204" pitchFamily="34" charset="0"/>
              </a:rPr>
              <a:t>သူတို႔အေျဖစ္အပ်က္ အေတြ႔အၾကံဳေတြကို ေျပာရန္ တြန္းအားေပးျခင္း</a:t>
            </a:r>
            <a:endParaRPr lang="my-MM" altLang="en-US" sz="700" dirty="0">
              <a:latin typeface="Zawgyi-One" panose="020B0604030504040204" pitchFamily="34" charset="0"/>
              <a:cs typeface="Zawgyi-One" panose="020B0604030504040204" pitchFamily="34" charset="0"/>
            </a:endParaRPr>
          </a:p>
          <a:p>
            <a:pPr marL="291607" indent="-285750">
              <a:lnSpc>
                <a:spcPct val="170000"/>
              </a:lnSpc>
              <a:buFont typeface="Wingdings" panose="05000000000000000000" pitchFamily="2" charset="2"/>
              <a:buChar char="v"/>
              <a:defRPr/>
            </a:pPr>
            <a:r>
              <a:rPr lang="my-MM" altLang="en-US" dirty="0">
                <a:latin typeface="Zawgyi-One" panose="020B0604030504040204" pitchFamily="34" charset="0"/>
                <a:cs typeface="Zawgyi-One" panose="020B0604030504040204" pitchFamily="34" charset="0"/>
              </a:rPr>
              <a:t>ဘာျဖစ္တယ္၊ ဘယ္လိုခံစား ရတယ္ဆိုတာကို အေသးစိတ္ေမးျမန္းျခင္း</a:t>
            </a:r>
          </a:p>
          <a:p>
            <a:pPr marL="248959" indent="-243102">
              <a:lnSpc>
                <a:spcPct val="170000"/>
              </a:lnSpc>
              <a:defRPr/>
            </a:pPr>
            <a:endParaRPr lang="en-US" altLang="en-US" dirty="0"/>
          </a:p>
        </p:txBody>
      </p:sp>
      <p:sp>
        <p:nvSpPr>
          <p:cNvPr id="25" name="object 6">
            <a:extLst>
              <a:ext uri="{FF2B5EF4-FFF2-40B4-BE49-F238E27FC236}">
                <a16:creationId xmlns:a16="http://schemas.microsoft.com/office/drawing/2014/main" id="{F21483B9-F234-47B0-B3F8-D107813D64B3}"/>
              </a:ext>
            </a:extLst>
          </p:cNvPr>
          <p:cNvSpPr>
            <a:spLocks/>
          </p:cNvSpPr>
          <p:nvPr/>
        </p:nvSpPr>
        <p:spPr bwMode="auto">
          <a:xfrm>
            <a:off x="8426416" y="331470"/>
            <a:ext cx="716056" cy="291068"/>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7" name="object 7">
            <a:extLst>
              <a:ext uri="{FF2B5EF4-FFF2-40B4-BE49-F238E27FC236}">
                <a16:creationId xmlns:a16="http://schemas.microsoft.com/office/drawing/2014/main" id="{DBF88671-82E7-4A75-A989-C808D97CC3D3}"/>
              </a:ext>
            </a:extLst>
          </p:cNvPr>
          <p:cNvSpPr txBox="1">
            <a:spLocks noChangeArrowheads="1"/>
          </p:cNvSpPr>
          <p:nvPr/>
        </p:nvSpPr>
        <p:spPr bwMode="auto">
          <a:xfrm>
            <a:off x="8503431" y="334539"/>
            <a:ext cx="319979" cy="25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1</a:t>
            </a:r>
            <a:endParaRPr lang="en-US" altLang="en-US" sz="2021" dirty="0">
              <a:latin typeface="Gill Sans" pitchFamily="34" charset="0"/>
              <a:cs typeface="Gill Sans"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1FD0111-6116-4FAA-B9C7-7065F52D1F90}"/>
              </a:ext>
            </a:extLst>
          </p:cNvPr>
          <p:cNvSpPr>
            <a:spLocks noGrp="1"/>
          </p:cNvSpPr>
          <p:nvPr>
            <p:ph type="title"/>
          </p:nvPr>
        </p:nvSpPr>
        <p:spPr>
          <a:xfrm>
            <a:off x="424634" y="158926"/>
            <a:ext cx="8282640" cy="1060273"/>
          </a:xfrm>
        </p:spPr>
        <p:txBody>
          <a:bodyPr/>
          <a:lstStyle/>
          <a:p>
            <a:r>
              <a:rPr lang="en-US" dirty="0" err="1"/>
              <a:t>ခွဲခြားရွေးချယ်ခြင်း</a:t>
            </a:r>
            <a:endParaRPr lang="en-US" dirty="0"/>
          </a:p>
        </p:txBody>
      </p:sp>
      <p:sp>
        <p:nvSpPr>
          <p:cNvPr id="7" name="Content Placeholder 6">
            <a:extLst>
              <a:ext uri="{FF2B5EF4-FFF2-40B4-BE49-F238E27FC236}">
                <a16:creationId xmlns:a16="http://schemas.microsoft.com/office/drawing/2014/main" id="{E7F69F9F-0A6D-4DAE-B009-F06941ADA1ED}"/>
              </a:ext>
            </a:extLst>
          </p:cNvPr>
          <p:cNvSpPr>
            <a:spLocks noGrp="1"/>
          </p:cNvSpPr>
          <p:nvPr>
            <p:ph idx="1"/>
          </p:nvPr>
        </p:nvSpPr>
        <p:spPr/>
        <p:txBody>
          <a:bodyPr/>
          <a:lstStyle/>
          <a:p>
            <a:pPr marL="285750" indent="-285750">
              <a:lnSpc>
                <a:spcPct val="150000"/>
              </a:lnSpc>
              <a:buFont typeface="Wingdings" panose="05000000000000000000" pitchFamily="2" charset="2"/>
              <a:buChar char="ü"/>
            </a:pPr>
            <a:r>
              <a:rPr lang="en-US" sz="2400" dirty="0"/>
              <a:t> </a:t>
            </a:r>
            <a:r>
              <a:rPr lang="en-US" sz="2400" dirty="0" err="1"/>
              <a:t>ဘာကြောင</a:t>
            </a:r>
            <a:r>
              <a:rPr lang="en-US" sz="2400" dirty="0"/>
              <a:t>့် </a:t>
            </a:r>
          </a:p>
          <a:p>
            <a:pPr marL="285750" indent="-285750">
              <a:lnSpc>
                <a:spcPct val="150000"/>
              </a:lnSpc>
              <a:buFont typeface="Wingdings" panose="05000000000000000000" pitchFamily="2" charset="2"/>
              <a:buChar char="ü"/>
            </a:pPr>
            <a:r>
              <a:rPr lang="en-US" sz="2400" dirty="0"/>
              <a:t> </a:t>
            </a:r>
            <a:r>
              <a:rPr lang="en-US" sz="2400" dirty="0" err="1"/>
              <a:t>ဘယ်အချိန</a:t>
            </a:r>
            <a:r>
              <a:rPr lang="en-US" sz="2400" dirty="0"/>
              <a:t>်</a:t>
            </a:r>
          </a:p>
          <a:p>
            <a:pPr marL="285750" indent="-285750">
              <a:lnSpc>
                <a:spcPct val="150000"/>
              </a:lnSpc>
              <a:buFont typeface="Wingdings" panose="05000000000000000000" pitchFamily="2" charset="2"/>
              <a:buChar char="ü"/>
            </a:pPr>
            <a:r>
              <a:rPr lang="en-US" sz="2400" dirty="0" err="1"/>
              <a:t>ဘယ်လို</a:t>
            </a:r>
            <a:r>
              <a:rPr lang="en-US" sz="2400" dirty="0"/>
              <a:t> </a:t>
            </a:r>
            <a:r>
              <a:rPr lang="en-US" sz="2400" dirty="0" err="1"/>
              <a:t>ကလေးမျိုး</a:t>
            </a:r>
            <a:endParaRPr lang="en-US" sz="2400" dirty="0"/>
          </a:p>
          <a:p>
            <a:pPr marL="285750" indent="-285750">
              <a:lnSpc>
                <a:spcPct val="150000"/>
              </a:lnSpc>
              <a:buFont typeface="Wingdings" panose="05000000000000000000" pitchFamily="2" charset="2"/>
              <a:buChar char="ü"/>
            </a:pPr>
            <a:r>
              <a:rPr lang="en-US" sz="2400" dirty="0" err="1"/>
              <a:t>ဘယ်သူတွေက</a:t>
            </a:r>
            <a:endParaRPr lang="en-US" sz="2400" dirty="0"/>
          </a:p>
        </p:txBody>
      </p:sp>
      <p:sp>
        <p:nvSpPr>
          <p:cNvPr id="4" name="object 6">
            <a:extLst>
              <a:ext uri="{FF2B5EF4-FFF2-40B4-BE49-F238E27FC236}">
                <a16:creationId xmlns:a16="http://schemas.microsoft.com/office/drawing/2014/main" id="{BFE21114-D1B9-4433-B0B8-ABE748647939}"/>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 name="object 7">
            <a:extLst>
              <a:ext uri="{FF2B5EF4-FFF2-40B4-BE49-F238E27FC236}">
                <a16:creationId xmlns:a16="http://schemas.microsoft.com/office/drawing/2014/main" id="{1E2F76B5-1283-4A05-96FC-22ECEB34D667}"/>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2</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7960377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object 2">
            <a:extLst>
              <a:ext uri="{FF2B5EF4-FFF2-40B4-BE49-F238E27FC236}">
                <a16:creationId xmlns:a16="http://schemas.microsoft.com/office/drawing/2014/main" id="{54B8F5BA-316A-44FD-B36F-4A801B7AC194}"/>
              </a:ext>
            </a:extLst>
          </p:cNvPr>
          <p:cNvSpPr>
            <a:spLocks noChangeArrowheads="1"/>
          </p:cNvSpPr>
          <p:nvPr/>
        </p:nvSpPr>
        <p:spPr bwMode="auto">
          <a:xfrm>
            <a:off x="2445" y="14611"/>
            <a:ext cx="9140027" cy="5854972"/>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endParaRPr lang="en-US" altLang="en-US" sz="1040"/>
          </a:p>
        </p:txBody>
      </p:sp>
      <p:sp>
        <p:nvSpPr>
          <p:cNvPr id="64516" name="object 4">
            <a:extLst>
              <a:ext uri="{FF2B5EF4-FFF2-40B4-BE49-F238E27FC236}">
                <a16:creationId xmlns:a16="http://schemas.microsoft.com/office/drawing/2014/main" id="{A51A25FA-1BD7-494F-9ECA-BA441887260F}"/>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17" name="object 5">
            <a:extLst>
              <a:ext uri="{FF2B5EF4-FFF2-40B4-BE49-F238E27FC236}">
                <a16:creationId xmlns:a16="http://schemas.microsoft.com/office/drawing/2014/main" id="{019851A6-7AB6-4F56-89C2-439BFFF10D66}"/>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18" name="object 6">
            <a:extLst>
              <a:ext uri="{FF2B5EF4-FFF2-40B4-BE49-F238E27FC236}">
                <a16:creationId xmlns:a16="http://schemas.microsoft.com/office/drawing/2014/main" id="{71E2DE1F-E854-4F50-8C5F-493105D80203}"/>
              </a:ext>
            </a:extLst>
          </p:cNvPr>
          <p:cNvSpPr>
            <a:spLocks/>
          </p:cNvSpPr>
          <p:nvPr/>
        </p:nvSpPr>
        <p:spPr bwMode="auto">
          <a:xfrm>
            <a:off x="2445" y="0"/>
            <a:ext cx="9140027" cy="118273"/>
          </a:xfrm>
          <a:custGeom>
            <a:avLst/>
            <a:gdLst>
              <a:gd name="T0" fmla="*/ 0 w 15825596"/>
              <a:gd name="T1" fmla="*/ 204177 h 204177"/>
              <a:gd name="T2" fmla="*/ 15825596 w 15825596"/>
              <a:gd name="T3" fmla="*/ 204177 h 204177"/>
              <a:gd name="T4" fmla="*/ 15825596 w 15825596"/>
              <a:gd name="T5" fmla="*/ 0 h 204177"/>
              <a:gd name="T6" fmla="*/ 0 w 15825596"/>
              <a:gd name="T7" fmla="*/ 0 h 204177"/>
              <a:gd name="T8" fmla="*/ 0 w 15825596"/>
              <a:gd name="T9" fmla="*/ 204177 h 204177"/>
            </a:gdLst>
            <a:ahLst/>
            <a:cxnLst>
              <a:cxn ang="0">
                <a:pos x="T0" y="T1"/>
              </a:cxn>
              <a:cxn ang="0">
                <a:pos x="T2" y="T3"/>
              </a:cxn>
              <a:cxn ang="0">
                <a:pos x="T4" y="T5"/>
              </a:cxn>
              <a:cxn ang="0">
                <a:pos x="T6" y="T7"/>
              </a:cxn>
              <a:cxn ang="0">
                <a:pos x="T8" y="T9"/>
              </a:cxn>
            </a:cxnLst>
            <a:rect l="0" t="0" r="r" b="b"/>
            <a:pathLst>
              <a:path w="15825596" h="204177">
                <a:moveTo>
                  <a:pt x="0" y="204177"/>
                </a:moveTo>
                <a:lnTo>
                  <a:pt x="15825596" y="204177"/>
                </a:lnTo>
                <a:lnTo>
                  <a:pt x="15825596" y="0"/>
                </a:lnTo>
                <a:lnTo>
                  <a:pt x="0" y="0"/>
                </a:lnTo>
                <a:lnTo>
                  <a:pt x="0" y="204177"/>
                </a:lnTo>
              </a:path>
            </a:pathLst>
          </a:custGeom>
          <a:solidFill>
            <a:srgbClr val="00528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19" name="object 7">
            <a:extLst>
              <a:ext uri="{FF2B5EF4-FFF2-40B4-BE49-F238E27FC236}">
                <a16:creationId xmlns:a16="http://schemas.microsoft.com/office/drawing/2014/main" id="{BEAA469B-32B9-410F-8491-B5D900E9FD32}"/>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0" name="object 8">
            <a:extLst>
              <a:ext uri="{FF2B5EF4-FFF2-40B4-BE49-F238E27FC236}">
                <a16:creationId xmlns:a16="http://schemas.microsoft.com/office/drawing/2014/main" id="{75145178-9A9F-465D-BED4-6C96874ECA1B}"/>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3</a:t>
            </a:r>
            <a:endParaRPr lang="en-US" altLang="en-US" sz="2021" dirty="0">
              <a:latin typeface="Gill Sans" pitchFamily="34" charset="0"/>
              <a:cs typeface="Gill Sans" pitchFamily="34" charset="0"/>
            </a:endParaRPr>
          </a:p>
        </p:txBody>
      </p:sp>
      <p:sp>
        <p:nvSpPr>
          <p:cNvPr id="64521" name="object 9">
            <a:extLst>
              <a:ext uri="{FF2B5EF4-FFF2-40B4-BE49-F238E27FC236}">
                <a16:creationId xmlns:a16="http://schemas.microsoft.com/office/drawing/2014/main" id="{61F2952B-ECCD-475A-BCF0-DE6FF8042D32}"/>
              </a:ext>
            </a:extLst>
          </p:cNvPr>
          <p:cNvSpPr>
            <a:spLocks/>
          </p:cNvSpPr>
          <p:nvPr/>
        </p:nvSpPr>
        <p:spPr bwMode="auto">
          <a:xfrm>
            <a:off x="7137332" y="6343651"/>
            <a:ext cx="116440" cy="163198"/>
          </a:xfrm>
          <a:custGeom>
            <a:avLst/>
            <a:gdLst>
              <a:gd name="T0" fmla="*/ 5640 w 201527"/>
              <a:gd name="T1" fmla="*/ 196283 h 282176"/>
              <a:gd name="T2" fmla="*/ 8677 w 201527"/>
              <a:gd name="T3" fmla="*/ 257130 h 282176"/>
              <a:gd name="T4" fmla="*/ 49711 w 201527"/>
              <a:gd name="T5" fmla="*/ 274727 h 282176"/>
              <a:gd name="T6" fmla="*/ 90485 w 201527"/>
              <a:gd name="T7" fmla="*/ 281658 h 282176"/>
              <a:gd name="T8" fmla="*/ 107731 w 201527"/>
              <a:gd name="T9" fmla="*/ 282176 h 282176"/>
              <a:gd name="T10" fmla="*/ 123607 w 201527"/>
              <a:gd name="T11" fmla="*/ 281179 h 282176"/>
              <a:gd name="T12" fmla="*/ 165022 w 201527"/>
              <a:gd name="T13" fmla="*/ 269253 h 282176"/>
              <a:gd name="T14" fmla="*/ 194586 w 201527"/>
              <a:gd name="T15" fmla="*/ 243732 h 282176"/>
              <a:gd name="T16" fmla="*/ 201527 w 201527"/>
              <a:gd name="T17" fmla="*/ 231399 h 282176"/>
              <a:gd name="T18" fmla="*/ 89385 w 201527"/>
              <a:gd name="T19" fmla="*/ 231399 h 282176"/>
              <a:gd name="T20" fmla="*/ 78461 w 201527"/>
              <a:gd name="T21" fmla="*/ 230048 h 282176"/>
              <a:gd name="T22" fmla="*/ 33026 w 201527"/>
              <a:gd name="T23" fmla="*/ 213043 h 282176"/>
              <a:gd name="T24" fmla="*/ 19938 w 201527"/>
              <a:gd name="T25" fmla="*/ 205428 h 282176"/>
              <a:gd name="T26" fmla="*/ 5640 w 201527"/>
              <a:gd name="T27" fmla="*/ 196283 h 282176"/>
              <a:gd name="T28" fmla="*/ 97394 w 201527"/>
              <a:gd name="T29" fmla="*/ 0 h 282176"/>
              <a:gd name="T30" fmla="*/ 50135 w 201527"/>
              <a:gd name="T31" fmla="*/ 9503 h 282176"/>
              <a:gd name="T32" fmla="*/ 17155 w 201527"/>
              <a:gd name="T33" fmla="*/ 32415 h 282176"/>
              <a:gd name="T34" fmla="*/ 0 w 201527"/>
              <a:gd name="T35" fmla="*/ 80392 h 282176"/>
              <a:gd name="T36" fmla="*/ 1613 w 201527"/>
              <a:gd name="T37" fmla="*/ 96400 h 282176"/>
              <a:gd name="T38" fmla="*/ 20167 w 201527"/>
              <a:gd name="T39" fmla="*/ 132500 h 282176"/>
              <a:gd name="T40" fmla="*/ 52208 w 201527"/>
              <a:gd name="T41" fmla="*/ 155308 h 282176"/>
              <a:gd name="T42" fmla="*/ 100167 w 201527"/>
              <a:gd name="T43" fmla="*/ 175259 h 282176"/>
              <a:gd name="T44" fmla="*/ 110843 w 201527"/>
              <a:gd name="T45" fmla="*/ 179838 h 282176"/>
              <a:gd name="T46" fmla="*/ 139478 w 201527"/>
              <a:gd name="T47" fmla="*/ 211224 h 282176"/>
              <a:gd name="T48" fmla="*/ 135082 w 201527"/>
              <a:gd name="T49" fmla="*/ 219958 h 282176"/>
              <a:gd name="T50" fmla="*/ 125635 w 201527"/>
              <a:gd name="T51" fmla="*/ 226358 h 282176"/>
              <a:gd name="T52" fmla="*/ 110587 w 201527"/>
              <a:gd name="T53" fmla="*/ 230235 h 282176"/>
              <a:gd name="T54" fmla="*/ 89385 w 201527"/>
              <a:gd name="T55" fmla="*/ 231399 h 282176"/>
              <a:gd name="T56" fmla="*/ 201527 w 201527"/>
              <a:gd name="T57" fmla="*/ 231399 h 282176"/>
              <a:gd name="T58" fmla="*/ 206103 w 201527"/>
              <a:gd name="T59" fmla="*/ 219047 h 282176"/>
              <a:gd name="T60" fmla="*/ 209043 w 201527"/>
              <a:gd name="T61" fmla="*/ 204376 h 282176"/>
              <a:gd name="T62" fmla="*/ 209942 w 201527"/>
              <a:gd name="T63" fmla="*/ 188141 h 282176"/>
              <a:gd name="T64" fmla="*/ 206744 w 201527"/>
              <a:gd name="T65" fmla="*/ 173333 h 282176"/>
              <a:gd name="T66" fmla="*/ 184021 w 201527"/>
              <a:gd name="T67" fmla="*/ 139885 h 282176"/>
              <a:gd name="T68" fmla="*/ 149308 w 201527"/>
              <a:gd name="T69" fmla="*/ 118293 h 282176"/>
              <a:gd name="T70" fmla="*/ 112516 w 201527"/>
              <a:gd name="T71" fmla="*/ 102634 h 282176"/>
              <a:gd name="T72" fmla="*/ 101503 w 201527"/>
              <a:gd name="T73" fmla="*/ 97708 h 282176"/>
              <a:gd name="T74" fmla="*/ 72331 w 201527"/>
              <a:gd name="T75" fmla="*/ 65412 h 282176"/>
              <a:gd name="T76" fmla="*/ 80154 w 201527"/>
              <a:gd name="T77" fmla="*/ 57314 h 282176"/>
              <a:gd name="T78" fmla="*/ 93652 w 201527"/>
              <a:gd name="T79" fmla="*/ 52113 h 282176"/>
              <a:gd name="T80" fmla="*/ 112174 w 201527"/>
              <a:gd name="T81" fmla="*/ 50278 h 282176"/>
              <a:gd name="T82" fmla="*/ 197432 w 201527"/>
              <a:gd name="T83" fmla="*/ 50278 h 282176"/>
              <a:gd name="T84" fmla="*/ 196707 w 201527"/>
              <a:gd name="T85" fmla="*/ 20659 h 282176"/>
              <a:gd name="T86" fmla="*/ 160233 w 201527"/>
              <a:gd name="T87" fmla="*/ 7703 h 282176"/>
              <a:gd name="T88" fmla="*/ 111068 w 201527"/>
              <a:gd name="T89" fmla="*/ 250 h 282176"/>
              <a:gd name="T90" fmla="*/ 97394 w 201527"/>
              <a:gd name="T91" fmla="*/ 0 h 282176"/>
              <a:gd name="T92" fmla="*/ 197432 w 201527"/>
              <a:gd name="T93" fmla="*/ 50278 h 282176"/>
              <a:gd name="T94" fmla="*/ 112174 w 201527"/>
              <a:gd name="T95" fmla="*/ 50278 h 282176"/>
              <a:gd name="T96" fmla="*/ 122111 w 201527"/>
              <a:gd name="T97" fmla="*/ 50802 h 282176"/>
              <a:gd name="T98" fmla="*/ 132391 w 201527"/>
              <a:gd name="T99" fmla="*/ 52212 h 282176"/>
              <a:gd name="T100" fmla="*/ 182137 w 201527"/>
              <a:gd name="T101" fmla="*/ 68036 h 282176"/>
              <a:gd name="T102" fmla="*/ 198033 w 201527"/>
              <a:gd name="T103" fmla="*/ 74871 h 282176"/>
              <a:gd name="T104" fmla="*/ 197432 w 201527"/>
              <a:gd name="T105" fmla="*/ 50278 h 28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2" name="object 10">
            <a:extLst>
              <a:ext uri="{FF2B5EF4-FFF2-40B4-BE49-F238E27FC236}">
                <a16:creationId xmlns:a16="http://schemas.microsoft.com/office/drawing/2014/main" id="{F2E9415D-8523-40CB-9EAE-33F1F26A4355}"/>
              </a:ext>
            </a:extLst>
          </p:cNvPr>
          <p:cNvSpPr>
            <a:spLocks/>
          </p:cNvSpPr>
          <p:nvPr/>
        </p:nvSpPr>
        <p:spPr bwMode="auto">
          <a:xfrm>
            <a:off x="7271192" y="6394994"/>
            <a:ext cx="115522" cy="111855"/>
          </a:xfrm>
          <a:custGeom>
            <a:avLst/>
            <a:gdLst>
              <a:gd name="T0" fmla="*/ 66476 w 200263"/>
              <a:gd name="T1" fmla="*/ 39675 h 192883"/>
              <a:gd name="T2" fmla="*/ 100495 w 200263"/>
              <a:gd name="T3" fmla="*/ 46500 h 192883"/>
              <a:gd name="T4" fmla="*/ 110000 w 200263"/>
              <a:gd name="T5" fmla="*/ 65236 h 192883"/>
              <a:gd name="T6" fmla="*/ 55446 w 200263"/>
              <a:gd name="T7" fmla="*/ 85753 h 192883"/>
              <a:gd name="T8" fmla="*/ 0 w 200263"/>
              <a:gd name="T9" fmla="*/ 137558 h 192883"/>
              <a:gd name="T10" fmla="*/ 24597 w 200263"/>
              <a:gd name="T11" fmla="*/ 185847 h 192883"/>
              <a:gd name="T12" fmla="*/ 63017 w 200263"/>
              <a:gd name="T13" fmla="*/ 192206 h 192883"/>
              <a:gd name="T14" fmla="*/ 86370 w 200263"/>
              <a:gd name="T15" fmla="*/ 186242 h 192883"/>
              <a:gd name="T16" fmla="*/ 111205 w 200263"/>
              <a:gd name="T17" fmla="*/ 172930 h 192883"/>
              <a:gd name="T18" fmla="*/ 197471 w 200263"/>
              <a:gd name="T19" fmla="*/ 156999 h 192883"/>
              <a:gd name="T20" fmla="*/ 69768 w 200263"/>
              <a:gd name="T21" fmla="*/ 154725 h 192883"/>
              <a:gd name="T22" fmla="*/ 61380 w 200263"/>
              <a:gd name="T23" fmla="*/ 134110 h 192883"/>
              <a:gd name="T24" fmla="*/ 73272 w 200263"/>
              <a:gd name="T25" fmla="*/ 116262 h 192883"/>
              <a:gd name="T26" fmla="*/ 99093 w 200263"/>
              <a:gd name="T27" fmla="*/ 103309 h 192883"/>
              <a:gd name="T28" fmla="*/ 168398 w 200263"/>
              <a:gd name="T29" fmla="*/ 56143 h 192883"/>
              <a:gd name="T30" fmla="*/ 166143 w 200263"/>
              <a:gd name="T31" fmla="*/ 39675 h 192883"/>
              <a:gd name="T32" fmla="*/ 111205 w 200263"/>
              <a:gd name="T33" fmla="*/ 172930 h 192883"/>
              <a:gd name="T34" fmla="*/ 128176 w 200263"/>
              <a:gd name="T35" fmla="*/ 190465 h 192883"/>
              <a:gd name="T36" fmla="*/ 155289 w 200263"/>
              <a:gd name="T37" fmla="*/ 191925 h 192883"/>
              <a:gd name="T38" fmla="*/ 180758 w 200263"/>
              <a:gd name="T39" fmla="*/ 185216 h 192883"/>
              <a:gd name="T40" fmla="*/ 194234 w 200263"/>
              <a:gd name="T41" fmla="*/ 172930 h 192883"/>
              <a:gd name="T42" fmla="*/ 99093 w 200263"/>
              <a:gd name="T43" fmla="*/ 103309 h 192883"/>
              <a:gd name="T44" fmla="*/ 98785 w 200263"/>
              <a:gd name="T45" fmla="*/ 152179 h 192883"/>
              <a:gd name="T46" fmla="*/ 197471 w 200263"/>
              <a:gd name="T47" fmla="*/ 156999 h 192883"/>
              <a:gd name="T48" fmla="*/ 172031 w 200263"/>
              <a:gd name="T49" fmla="*/ 153755 h 192883"/>
              <a:gd name="T50" fmla="*/ 168398 w 200263"/>
              <a:gd name="T51" fmla="*/ 103309 h 192883"/>
              <a:gd name="T52" fmla="*/ 186547 w 200263"/>
              <a:gd name="T53" fmla="*/ 152942 h 192883"/>
              <a:gd name="T54" fmla="*/ 198131 w 200263"/>
              <a:gd name="T55" fmla="*/ 153755 h 192883"/>
              <a:gd name="T56" fmla="*/ 100921 w 200263"/>
              <a:gd name="T57" fmla="*/ 0 h 192883"/>
              <a:gd name="T58" fmla="*/ 13527 w 200263"/>
              <a:gd name="T59" fmla="*/ 19618 h 192883"/>
              <a:gd name="T60" fmla="*/ 19103 w 200263"/>
              <a:gd name="T61" fmla="*/ 60877 h 192883"/>
              <a:gd name="T62" fmla="*/ 41987 w 200263"/>
              <a:gd name="T63" fmla="*/ 47029 h 192883"/>
              <a:gd name="T64" fmla="*/ 66476 w 200263"/>
              <a:gd name="T65" fmla="*/ 39675 h 192883"/>
              <a:gd name="T66" fmla="*/ 162125 w 200263"/>
              <a:gd name="T67" fmla="*/ 29081 h 192883"/>
              <a:gd name="T68" fmla="*/ 144530 w 200263"/>
              <a:gd name="T69" fmla="*/ 11338 h 192883"/>
              <a:gd name="T70" fmla="*/ 117446 w 200263"/>
              <a:gd name="T71" fmla="*/ 1909 h 19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3" name="object 11">
            <a:extLst>
              <a:ext uri="{FF2B5EF4-FFF2-40B4-BE49-F238E27FC236}">
                <a16:creationId xmlns:a16="http://schemas.microsoft.com/office/drawing/2014/main" id="{BFE37584-B639-4625-81CA-0B30AF4DFB88}"/>
              </a:ext>
            </a:extLst>
          </p:cNvPr>
          <p:cNvSpPr>
            <a:spLocks/>
          </p:cNvSpPr>
          <p:nvPr/>
        </p:nvSpPr>
        <p:spPr bwMode="auto">
          <a:xfrm>
            <a:off x="7382130" y="6396827"/>
            <a:ext cx="118273" cy="110021"/>
          </a:xfrm>
          <a:custGeom>
            <a:avLst/>
            <a:gdLst>
              <a:gd name="T0" fmla="*/ 62522 w 204089"/>
              <a:gd name="T1" fmla="*/ 0 h 189572"/>
              <a:gd name="T2" fmla="*/ 0 w 204089"/>
              <a:gd name="T3" fmla="*/ 0 h 189572"/>
              <a:gd name="T4" fmla="*/ 85915 w 204089"/>
              <a:gd name="T5" fmla="*/ 189572 h 189572"/>
              <a:gd name="T6" fmla="*/ 118579 w 204089"/>
              <a:gd name="T7" fmla="*/ 189572 h 189572"/>
              <a:gd name="T8" fmla="*/ 157877 w 204089"/>
              <a:gd name="T9" fmla="*/ 102450 h 189572"/>
              <a:gd name="T10" fmla="*/ 102044 w 204089"/>
              <a:gd name="T11" fmla="*/ 102450 h 189572"/>
              <a:gd name="T12" fmla="*/ 62522 w 204089"/>
              <a:gd name="T13" fmla="*/ 0 h 189572"/>
              <a:gd name="T14" fmla="*/ 204089 w 204089"/>
              <a:gd name="T15" fmla="*/ 0 h 189572"/>
              <a:gd name="T16" fmla="*/ 141986 w 204089"/>
              <a:gd name="T17" fmla="*/ 0 h 189572"/>
              <a:gd name="T18" fmla="*/ 102044 w 204089"/>
              <a:gd name="T19" fmla="*/ 102450 h 189572"/>
              <a:gd name="T20" fmla="*/ 157877 w 204089"/>
              <a:gd name="T21" fmla="*/ 102450 h 189572"/>
              <a:gd name="T22" fmla="*/ 204089 w 204089"/>
              <a:gd name="T23" fmla="*/ 0 h 189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4" name="object 12">
            <a:extLst>
              <a:ext uri="{FF2B5EF4-FFF2-40B4-BE49-F238E27FC236}">
                <a16:creationId xmlns:a16="http://schemas.microsoft.com/office/drawing/2014/main" id="{047F6BF5-9A51-490B-90E1-EF07EA0B021D}"/>
              </a:ext>
            </a:extLst>
          </p:cNvPr>
          <p:cNvSpPr>
            <a:spLocks/>
          </p:cNvSpPr>
          <p:nvPr/>
        </p:nvSpPr>
        <p:spPr bwMode="auto">
          <a:xfrm>
            <a:off x="7504988" y="6394994"/>
            <a:ext cx="111855" cy="111855"/>
          </a:xfrm>
          <a:custGeom>
            <a:avLst/>
            <a:gdLst>
              <a:gd name="T0" fmla="*/ 105811 w 193899"/>
              <a:gd name="T1" fmla="*/ 0 h 192654"/>
              <a:gd name="T2" fmla="*/ 59491 w 193899"/>
              <a:gd name="T3" fmla="*/ 7868 h 192654"/>
              <a:gd name="T4" fmla="*/ 25263 w 193899"/>
              <a:gd name="T5" fmla="*/ 30129 h 192654"/>
              <a:gd name="T6" fmla="*/ 4935 w 193899"/>
              <a:gd name="T7" fmla="*/ 64103 h 192654"/>
              <a:gd name="T8" fmla="*/ 0 w 193899"/>
              <a:gd name="T9" fmla="*/ 91936 h 192654"/>
              <a:gd name="T10" fmla="*/ 901 w 193899"/>
              <a:gd name="T11" fmla="*/ 107638 h 192654"/>
              <a:gd name="T12" fmla="*/ 14163 w 193899"/>
              <a:gd name="T13" fmla="*/ 147563 h 192654"/>
              <a:gd name="T14" fmla="*/ 41700 w 193899"/>
              <a:gd name="T15" fmla="*/ 175697 h 192654"/>
              <a:gd name="T16" fmla="*/ 81507 w 193899"/>
              <a:gd name="T17" fmla="*/ 190725 h 192654"/>
              <a:gd name="T18" fmla="*/ 107477 w 193899"/>
              <a:gd name="T19" fmla="*/ 192654 h 192654"/>
              <a:gd name="T20" fmla="*/ 118685 w 193899"/>
              <a:gd name="T21" fmla="*/ 192350 h 192654"/>
              <a:gd name="T22" fmla="*/ 169205 w 193899"/>
              <a:gd name="T23" fmla="*/ 180923 h 192654"/>
              <a:gd name="T24" fmla="*/ 185590 w 193899"/>
              <a:gd name="T25" fmla="*/ 157804 h 192654"/>
              <a:gd name="T26" fmla="*/ 131343 w 193899"/>
              <a:gd name="T27" fmla="*/ 157804 h 192654"/>
              <a:gd name="T28" fmla="*/ 112847 w 193899"/>
              <a:gd name="T29" fmla="*/ 156783 h 192654"/>
              <a:gd name="T30" fmla="*/ 74410 w 193899"/>
              <a:gd name="T31" fmla="*/ 140121 h 192654"/>
              <a:gd name="T32" fmla="*/ 60396 w 193899"/>
              <a:gd name="T33" fmla="*/ 105806 h 192654"/>
              <a:gd name="T34" fmla="*/ 193899 w 193899"/>
              <a:gd name="T35" fmla="*/ 105806 h 192654"/>
              <a:gd name="T36" fmla="*/ 193591 w 193899"/>
              <a:gd name="T37" fmla="*/ 88898 h 192654"/>
              <a:gd name="T38" fmla="*/ 191563 w 193899"/>
              <a:gd name="T39" fmla="*/ 75148 h 192654"/>
              <a:gd name="T40" fmla="*/ 61603 w 193899"/>
              <a:gd name="T41" fmla="*/ 75148 h 192654"/>
              <a:gd name="T42" fmla="*/ 65005 w 193899"/>
              <a:gd name="T43" fmla="*/ 59643 h 192654"/>
              <a:gd name="T44" fmla="*/ 71796 w 193899"/>
              <a:gd name="T45" fmla="*/ 47603 h 192654"/>
              <a:gd name="T46" fmla="*/ 81690 w 193899"/>
              <a:gd name="T47" fmla="*/ 39294 h 192654"/>
              <a:gd name="T48" fmla="*/ 94400 w 193899"/>
              <a:gd name="T49" fmla="*/ 34982 h 192654"/>
              <a:gd name="T50" fmla="*/ 101938 w 193899"/>
              <a:gd name="T51" fmla="*/ 34406 h 192654"/>
              <a:gd name="T52" fmla="*/ 173313 w 193899"/>
              <a:gd name="T53" fmla="*/ 34406 h 192654"/>
              <a:gd name="T54" fmla="*/ 165235 w 193899"/>
              <a:gd name="T55" fmla="*/ 25369 h 192654"/>
              <a:gd name="T56" fmla="*/ 155241 w 193899"/>
              <a:gd name="T57" fmla="*/ 17104 h 192654"/>
              <a:gd name="T58" fmla="*/ 144153 w 193899"/>
              <a:gd name="T59" fmla="*/ 10401 h 192654"/>
              <a:gd name="T60" fmla="*/ 132120 w 193899"/>
              <a:gd name="T61" fmla="*/ 5293 h 192654"/>
              <a:gd name="T62" fmla="*/ 119289 w 193899"/>
              <a:gd name="T63" fmla="*/ 1814 h 192654"/>
              <a:gd name="T64" fmla="*/ 105811 w 193899"/>
              <a:gd name="T65" fmla="*/ 0 h 192654"/>
              <a:gd name="T66" fmla="*/ 190686 w 193899"/>
              <a:gd name="T67" fmla="*/ 131612 h 192654"/>
              <a:gd name="T68" fmla="*/ 153687 w 193899"/>
              <a:gd name="T69" fmla="*/ 152708 h 192654"/>
              <a:gd name="T70" fmla="*/ 131343 w 193899"/>
              <a:gd name="T71" fmla="*/ 157804 h 192654"/>
              <a:gd name="T72" fmla="*/ 185590 w 193899"/>
              <a:gd name="T73" fmla="*/ 157804 h 192654"/>
              <a:gd name="T74" fmla="*/ 190686 w 193899"/>
              <a:gd name="T75" fmla="*/ 131612 h 192654"/>
              <a:gd name="T76" fmla="*/ 173313 w 193899"/>
              <a:gd name="T77" fmla="*/ 34406 h 192654"/>
              <a:gd name="T78" fmla="*/ 101938 w 193899"/>
              <a:gd name="T79" fmla="*/ 34406 h 192654"/>
              <a:gd name="T80" fmla="*/ 115822 w 193899"/>
              <a:gd name="T81" fmla="*/ 36606 h 192654"/>
              <a:gd name="T82" fmla="*/ 127198 w 193899"/>
              <a:gd name="T83" fmla="*/ 42977 h 192654"/>
              <a:gd name="T84" fmla="*/ 135699 w 193899"/>
              <a:gd name="T85" fmla="*/ 53177 h 192654"/>
              <a:gd name="T86" fmla="*/ 140954 w 193899"/>
              <a:gd name="T87" fmla="*/ 66864 h 192654"/>
              <a:gd name="T88" fmla="*/ 61603 w 193899"/>
              <a:gd name="T89" fmla="*/ 75148 h 192654"/>
              <a:gd name="T90" fmla="*/ 191563 w 193899"/>
              <a:gd name="T91" fmla="*/ 75148 h 192654"/>
              <a:gd name="T92" fmla="*/ 191297 w 193899"/>
              <a:gd name="T93" fmla="*/ 73346 h 192654"/>
              <a:gd name="T94" fmla="*/ 187165 w 193899"/>
              <a:gd name="T95" fmla="*/ 59182 h 192654"/>
              <a:gd name="T96" fmla="*/ 181346 w 193899"/>
              <a:gd name="T97" fmla="*/ 46442 h 192654"/>
              <a:gd name="T98" fmla="*/ 173986 w 193899"/>
              <a:gd name="T99" fmla="*/ 35159 h 192654"/>
              <a:gd name="T100" fmla="*/ 173313 w 193899"/>
              <a:gd name="T101" fmla="*/ 34406 h 19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5" name="object 13">
            <a:extLst>
              <a:ext uri="{FF2B5EF4-FFF2-40B4-BE49-F238E27FC236}">
                <a16:creationId xmlns:a16="http://schemas.microsoft.com/office/drawing/2014/main" id="{C24BA3FF-F579-4167-AE25-A8878DE1C4DD}"/>
              </a:ext>
            </a:extLst>
          </p:cNvPr>
          <p:cNvSpPr>
            <a:spLocks/>
          </p:cNvSpPr>
          <p:nvPr/>
        </p:nvSpPr>
        <p:spPr bwMode="auto">
          <a:xfrm>
            <a:off x="7682855" y="6362904"/>
            <a:ext cx="88017" cy="143945"/>
          </a:xfrm>
          <a:custGeom>
            <a:avLst/>
            <a:gdLst>
              <a:gd name="T0" fmla="*/ 85115 w 152869"/>
              <a:gd name="T1" fmla="*/ 98424 h 248003"/>
              <a:gd name="T2" fmla="*/ 26619 w 152869"/>
              <a:gd name="T3" fmla="*/ 98424 h 248003"/>
              <a:gd name="T4" fmla="*/ 26658 w 152869"/>
              <a:gd name="T5" fmla="*/ 181335 h 248003"/>
              <a:gd name="T6" fmla="*/ 40304 w 152869"/>
              <a:gd name="T7" fmla="*/ 224276 h 248003"/>
              <a:gd name="T8" fmla="*/ 73598 w 152869"/>
              <a:gd name="T9" fmla="*/ 244599 h 248003"/>
              <a:gd name="T10" fmla="*/ 103201 w 152869"/>
              <a:gd name="T11" fmla="*/ 248003 h 248003"/>
              <a:gd name="T12" fmla="*/ 115180 w 152869"/>
              <a:gd name="T13" fmla="*/ 247068 h 248003"/>
              <a:gd name="T14" fmla="*/ 127060 w 152869"/>
              <a:gd name="T15" fmla="*/ 244913 h 248003"/>
              <a:gd name="T16" fmla="*/ 139428 w 152869"/>
              <a:gd name="T17" fmla="*/ 241391 h 248003"/>
              <a:gd name="T18" fmla="*/ 152869 w 152869"/>
              <a:gd name="T19" fmla="*/ 236359 h 248003"/>
              <a:gd name="T20" fmla="*/ 147457 w 152869"/>
              <a:gd name="T21" fmla="*/ 204687 h 248003"/>
              <a:gd name="T22" fmla="*/ 109600 w 152869"/>
              <a:gd name="T23" fmla="*/ 204687 h 248003"/>
              <a:gd name="T24" fmla="*/ 96323 w 152869"/>
              <a:gd name="T25" fmla="*/ 199980 h 248003"/>
              <a:gd name="T26" fmla="*/ 87998 w 152869"/>
              <a:gd name="T27" fmla="*/ 189799 h 248003"/>
              <a:gd name="T28" fmla="*/ 85115 w 152869"/>
              <a:gd name="T29" fmla="*/ 175056 h 248003"/>
              <a:gd name="T30" fmla="*/ 85115 w 152869"/>
              <a:gd name="T31" fmla="*/ 98424 h 248003"/>
              <a:gd name="T32" fmla="*/ 146184 w 152869"/>
              <a:gd name="T33" fmla="*/ 197242 h 248003"/>
              <a:gd name="T34" fmla="*/ 134229 w 152869"/>
              <a:gd name="T35" fmla="*/ 201703 h 248003"/>
              <a:gd name="T36" fmla="*/ 122464 w 152869"/>
              <a:gd name="T37" fmla="*/ 204083 h 248003"/>
              <a:gd name="T38" fmla="*/ 109600 w 152869"/>
              <a:gd name="T39" fmla="*/ 204687 h 248003"/>
              <a:gd name="T40" fmla="*/ 147457 w 152869"/>
              <a:gd name="T41" fmla="*/ 204687 h 248003"/>
              <a:gd name="T42" fmla="*/ 146184 w 152869"/>
              <a:gd name="T43" fmla="*/ 197242 h 248003"/>
              <a:gd name="T44" fmla="*/ 85115 w 152869"/>
              <a:gd name="T45" fmla="*/ 0 h 248003"/>
              <a:gd name="T46" fmla="*/ 77838 w 152869"/>
              <a:gd name="T47" fmla="*/ 0 h 248003"/>
              <a:gd name="T48" fmla="*/ 0 w 152869"/>
              <a:gd name="T49" fmla="*/ 87134 h 248003"/>
              <a:gd name="T50" fmla="*/ 0 w 152869"/>
              <a:gd name="T51" fmla="*/ 98424 h 248003"/>
              <a:gd name="T52" fmla="*/ 152869 w 152869"/>
              <a:gd name="T53" fmla="*/ 98424 h 248003"/>
              <a:gd name="T54" fmla="*/ 152869 w 152869"/>
              <a:gd name="T55" fmla="*/ 58496 h 248003"/>
              <a:gd name="T56" fmla="*/ 85115 w 152869"/>
              <a:gd name="T57" fmla="*/ 58496 h 248003"/>
              <a:gd name="T58" fmla="*/ 85115 w 152869"/>
              <a:gd name="T59" fmla="*/ 0 h 248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6" name="object 14">
            <a:extLst>
              <a:ext uri="{FF2B5EF4-FFF2-40B4-BE49-F238E27FC236}">
                <a16:creationId xmlns:a16="http://schemas.microsoft.com/office/drawing/2014/main" id="{BB736207-CDE9-4918-8658-415DC1EC6485}"/>
              </a:ext>
            </a:extLst>
          </p:cNvPr>
          <p:cNvSpPr>
            <a:spLocks/>
          </p:cNvSpPr>
          <p:nvPr/>
        </p:nvSpPr>
        <p:spPr bwMode="auto">
          <a:xfrm>
            <a:off x="7784625"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5 w 186347"/>
              <a:gd name="T19" fmla="*/ 124886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9 h 275069"/>
              <a:gd name="T44" fmla="*/ 182341 w 186347"/>
              <a:gd name="T45" fmla="*/ 130617 h 275069"/>
              <a:gd name="T46" fmla="*/ 115026 w 186347"/>
              <a:gd name="T47" fmla="*/ 85571 h 275069"/>
              <a:gd name="T48" fmla="*/ 69226 w 186347"/>
              <a:gd name="T49" fmla="*/ 105591 h 275069"/>
              <a:gd name="T50" fmla="*/ 59296 w 186347"/>
              <a:gd name="T51" fmla="*/ 116560 h 275069"/>
              <a:gd name="T52" fmla="*/ 176188 w 186347"/>
              <a:gd name="T53" fmla="*/ 116560 h 275069"/>
              <a:gd name="T54" fmla="*/ 142032 w 186347"/>
              <a:gd name="T55" fmla="*/ 89611 h 275069"/>
              <a:gd name="T56" fmla="*/ 115026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7" name="object 15">
            <a:extLst>
              <a:ext uri="{FF2B5EF4-FFF2-40B4-BE49-F238E27FC236}">
                <a16:creationId xmlns:a16="http://schemas.microsoft.com/office/drawing/2014/main" id="{961BF3BB-C8A2-4918-B3A1-C283CE271CDD}"/>
              </a:ext>
            </a:extLst>
          </p:cNvPr>
          <p:cNvSpPr>
            <a:spLocks/>
          </p:cNvSpPr>
          <p:nvPr/>
        </p:nvSpPr>
        <p:spPr bwMode="auto">
          <a:xfrm>
            <a:off x="7909316" y="6394994"/>
            <a:ext cx="111855" cy="111855"/>
          </a:xfrm>
          <a:custGeom>
            <a:avLst/>
            <a:gdLst>
              <a:gd name="T0" fmla="*/ 105790 w 193899"/>
              <a:gd name="T1" fmla="*/ 0 h 192656"/>
              <a:gd name="T2" fmla="*/ 59479 w 193899"/>
              <a:gd name="T3" fmla="*/ 7871 h 192656"/>
              <a:gd name="T4" fmla="*/ 25255 w 193899"/>
              <a:gd name="T5" fmla="*/ 30136 h 192656"/>
              <a:gd name="T6" fmla="*/ 4931 w 193899"/>
              <a:gd name="T7" fmla="*/ 64117 h 192656"/>
              <a:gd name="T8" fmla="*/ 0 w 193899"/>
              <a:gd name="T9" fmla="*/ 91955 h 192656"/>
              <a:gd name="T10" fmla="*/ 902 w 193899"/>
              <a:gd name="T11" fmla="*/ 107655 h 192656"/>
              <a:gd name="T12" fmla="*/ 14164 w 193899"/>
              <a:gd name="T13" fmla="*/ 147576 h 192656"/>
              <a:gd name="T14" fmla="*/ 41704 w 193899"/>
              <a:gd name="T15" fmla="*/ 175707 h 192656"/>
              <a:gd name="T16" fmla="*/ 81518 w 193899"/>
              <a:gd name="T17" fmla="*/ 190730 h 192656"/>
              <a:gd name="T18" fmla="*/ 107487 w 193899"/>
              <a:gd name="T19" fmla="*/ 192656 h 192656"/>
              <a:gd name="T20" fmla="*/ 118692 w 193899"/>
              <a:gd name="T21" fmla="*/ 192351 h 192656"/>
              <a:gd name="T22" fmla="*/ 169220 w 193899"/>
              <a:gd name="T23" fmla="*/ 180914 h 192656"/>
              <a:gd name="T24" fmla="*/ 185594 w 193899"/>
              <a:gd name="T25" fmla="*/ 157805 h 192656"/>
              <a:gd name="T26" fmla="*/ 131330 w 193899"/>
              <a:gd name="T27" fmla="*/ 157805 h 192656"/>
              <a:gd name="T28" fmla="*/ 112833 w 193899"/>
              <a:gd name="T29" fmla="*/ 156784 h 192656"/>
              <a:gd name="T30" fmla="*/ 74402 w 193899"/>
              <a:gd name="T31" fmla="*/ 140117 h 192656"/>
              <a:gd name="T32" fmla="*/ 60397 w 193899"/>
              <a:gd name="T33" fmla="*/ 105806 h 192656"/>
              <a:gd name="T34" fmla="*/ 193899 w 193899"/>
              <a:gd name="T35" fmla="*/ 105806 h 192656"/>
              <a:gd name="T36" fmla="*/ 193588 w 193899"/>
              <a:gd name="T37" fmla="*/ 88898 h 192656"/>
              <a:gd name="T38" fmla="*/ 191558 w 193899"/>
              <a:gd name="T39" fmla="*/ 75149 h 192656"/>
              <a:gd name="T40" fmla="*/ 61604 w 193899"/>
              <a:gd name="T41" fmla="*/ 75149 h 192656"/>
              <a:gd name="T42" fmla="*/ 65003 w 193899"/>
              <a:gd name="T43" fmla="*/ 59641 h 192656"/>
              <a:gd name="T44" fmla="*/ 71797 w 193899"/>
              <a:gd name="T45" fmla="*/ 47600 h 192656"/>
              <a:gd name="T46" fmla="*/ 81695 w 193899"/>
              <a:gd name="T47" fmla="*/ 39292 h 192656"/>
              <a:gd name="T48" fmla="*/ 94403 w 193899"/>
              <a:gd name="T49" fmla="*/ 34981 h 192656"/>
              <a:gd name="T50" fmla="*/ 101926 w 193899"/>
              <a:gd name="T51" fmla="*/ 34407 h 192656"/>
              <a:gd name="T52" fmla="*/ 173304 w 193899"/>
              <a:gd name="T53" fmla="*/ 34407 h 192656"/>
              <a:gd name="T54" fmla="*/ 165221 w 193899"/>
              <a:gd name="T55" fmla="*/ 25366 h 192656"/>
              <a:gd name="T56" fmla="*/ 155225 w 193899"/>
              <a:gd name="T57" fmla="*/ 17102 h 192656"/>
              <a:gd name="T58" fmla="*/ 144136 w 193899"/>
              <a:gd name="T59" fmla="*/ 10399 h 192656"/>
              <a:gd name="T60" fmla="*/ 132101 w 193899"/>
              <a:gd name="T61" fmla="*/ 5291 h 192656"/>
              <a:gd name="T62" fmla="*/ 119270 w 193899"/>
              <a:gd name="T63" fmla="*/ 1813 h 192656"/>
              <a:gd name="T64" fmla="*/ 105790 w 193899"/>
              <a:gd name="T65" fmla="*/ 0 h 192656"/>
              <a:gd name="T66" fmla="*/ 190674 w 193899"/>
              <a:gd name="T67" fmla="*/ 131613 h 192656"/>
              <a:gd name="T68" fmla="*/ 153672 w 193899"/>
              <a:gd name="T69" fmla="*/ 152711 h 192656"/>
              <a:gd name="T70" fmla="*/ 131330 w 193899"/>
              <a:gd name="T71" fmla="*/ 157805 h 192656"/>
              <a:gd name="T72" fmla="*/ 185594 w 193899"/>
              <a:gd name="T73" fmla="*/ 157805 h 192656"/>
              <a:gd name="T74" fmla="*/ 190674 w 193899"/>
              <a:gd name="T75" fmla="*/ 131613 h 192656"/>
              <a:gd name="T76" fmla="*/ 173304 w 193899"/>
              <a:gd name="T77" fmla="*/ 34407 h 192656"/>
              <a:gd name="T78" fmla="*/ 101926 w 193899"/>
              <a:gd name="T79" fmla="*/ 34407 h 192656"/>
              <a:gd name="T80" fmla="*/ 115810 w 193899"/>
              <a:gd name="T81" fmla="*/ 36607 h 192656"/>
              <a:gd name="T82" fmla="*/ 127186 w 193899"/>
              <a:gd name="T83" fmla="*/ 42978 h 192656"/>
              <a:gd name="T84" fmla="*/ 135687 w 193899"/>
              <a:gd name="T85" fmla="*/ 53177 h 192656"/>
              <a:gd name="T86" fmla="*/ 140942 w 193899"/>
              <a:gd name="T87" fmla="*/ 66864 h 192656"/>
              <a:gd name="T88" fmla="*/ 61604 w 193899"/>
              <a:gd name="T89" fmla="*/ 75149 h 192656"/>
              <a:gd name="T90" fmla="*/ 191558 w 193899"/>
              <a:gd name="T91" fmla="*/ 75149 h 192656"/>
              <a:gd name="T92" fmla="*/ 191292 w 193899"/>
              <a:gd name="T93" fmla="*/ 73345 h 192656"/>
              <a:gd name="T94" fmla="*/ 187158 w 193899"/>
              <a:gd name="T95" fmla="*/ 59180 h 192656"/>
              <a:gd name="T96" fmla="*/ 181336 w 193899"/>
              <a:gd name="T97" fmla="*/ 46439 h 192656"/>
              <a:gd name="T98" fmla="*/ 173974 w 193899"/>
              <a:gd name="T99" fmla="*/ 35157 h 192656"/>
              <a:gd name="T100" fmla="*/ 173304 w 193899"/>
              <a:gd name="T101" fmla="*/ 34407 h 192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8" name="object 16">
            <a:extLst>
              <a:ext uri="{FF2B5EF4-FFF2-40B4-BE49-F238E27FC236}">
                <a16:creationId xmlns:a16="http://schemas.microsoft.com/office/drawing/2014/main" id="{BF96E27F-3819-476A-B113-3AA7237B103A}"/>
              </a:ext>
            </a:extLst>
          </p:cNvPr>
          <p:cNvSpPr>
            <a:spLocks/>
          </p:cNvSpPr>
          <p:nvPr/>
        </p:nvSpPr>
        <p:spPr bwMode="auto">
          <a:xfrm>
            <a:off x="8095435" y="6343651"/>
            <a:ext cx="154947" cy="163198"/>
          </a:xfrm>
          <a:custGeom>
            <a:avLst/>
            <a:gdLst>
              <a:gd name="T0" fmla="*/ 157586 w 268134"/>
              <a:gd name="T1" fmla="*/ 0 h 282037"/>
              <a:gd name="T2" fmla="*/ 108500 w 268134"/>
              <a:gd name="T3" fmla="*/ 7392 h 282037"/>
              <a:gd name="T4" fmla="*/ 67972 w 268134"/>
              <a:gd name="T5" fmla="*/ 24922 h 282037"/>
              <a:gd name="T6" fmla="*/ 36461 w 268134"/>
              <a:gd name="T7" fmla="*/ 50795 h 282037"/>
              <a:gd name="T8" fmla="*/ 14425 w 268134"/>
              <a:gd name="T9" fmla="*/ 83213 h 282037"/>
              <a:gd name="T10" fmla="*/ 2323 w 268134"/>
              <a:gd name="T11" fmla="*/ 120379 h 282037"/>
              <a:gd name="T12" fmla="*/ 0 w 268134"/>
              <a:gd name="T13" fmla="*/ 146908 h 282037"/>
              <a:gd name="T14" fmla="*/ 967 w 268134"/>
              <a:gd name="T15" fmla="*/ 159073 h 282037"/>
              <a:gd name="T16" fmla="*/ 15672 w 268134"/>
              <a:gd name="T17" fmla="*/ 205551 h 282037"/>
              <a:gd name="T18" fmla="*/ 48318 w 268134"/>
              <a:gd name="T19" fmla="*/ 244833 h 282037"/>
              <a:gd name="T20" fmla="*/ 85059 w 268134"/>
              <a:gd name="T21" fmla="*/ 266598 h 282037"/>
              <a:gd name="T22" fmla="*/ 132685 w 268134"/>
              <a:gd name="T23" fmla="*/ 279451 h 282037"/>
              <a:gd name="T24" fmla="*/ 170649 w 268134"/>
              <a:gd name="T25" fmla="*/ 282037 h 282037"/>
              <a:gd name="T26" fmla="*/ 183561 w 268134"/>
              <a:gd name="T27" fmla="*/ 281239 h 282037"/>
              <a:gd name="T28" fmla="*/ 231275 w 268134"/>
              <a:gd name="T29" fmla="*/ 270991 h 282037"/>
              <a:gd name="T30" fmla="*/ 268134 w 268134"/>
              <a:gd name="T31" fmla="*/ 254790 h 282037"/>
              <a:gd name="T32" fmla="*/ 266854 w 268134"/>
              <a:gd name="T33" fmla="*/ 224321 h 282037"/>
              <a:gd name="T34" fmla="*/ 155535 w 268134"/>
              <a:gd name="T35" fmla="*/ 224321 h 282037"/>
              <a:gd name="T36" fmla="*/ 140920 w 268134"/>
              <a:gd name="T37" fmla="*/ 221966 h 282037"/>
              <a:gd name="T38" fmla="*/ 103916 w 268134"/>
              <a:gd name="T39" fmla="*/ 204812 h 282037"/>
              <a:gd name="T40" fmla="*/ 79648 w 268134"/>
              <a:gd name="T41" fmla="*/ 173465 h 282037"/>
              <a:gd name="T42" fmla="*/ 71293 w 268134"/>
              <a:gd name="T43" fmla="*/ 129127 h 282037"/>
              <a:gd name="T44" fmla="*/ 74103 w 268134"/>
              <a:gd name="T45" fmla="*/ 116750 h 282037"/>
              <a:gd name="T46" fmla="*/ 104382 w 268134"/>
              <a:gd name="T47" fmla="*/ 77207 h 282037"/>
              <a:gd name="T48" fmla="*/ 145301 w 268134"/>
              <a:gd name="T49" fmla="*/ 60740 h 282037"/>
              <a:gd name="T50" fmla="*/ 180301 w 268134"/>
              <a:gd name="T51" fmla="*/ 57506 h 282037"/>
              <a:gd name="T52" fmla="*/ 262176 w 268134"/>
              <a:gd name="T53" fmla="*/ 57506 h 282037"/>
              <a:gd name="T54" fmla="*/ 258553 w 268134"/>
              <a:gd name="T55" fmla="*/ 20509 h 282037"/>
              <a:gd name="T56" fmla="*/ 214243 w 268134"/>
              <a:gd name="T57" fmla="*/ 5052 h 282037"/>
              <a:gd name="T58" fmla="*/ 173053 w 268134"/>
              <a:gd name="T59" fmla="*/ 284 h 282037"/>
              <a:gd name="T60" fmla="*/ 157586 w 268134"/>
              <a:gd name="T61" fmla="*/ 0 h 282037"/>
              <a:gd name="T62" fmla="*/ 265659 w 268134"/>
              <a:gd name="T63" fmla="*/ 195880 h 282037"/>
              <a:gd name="T64" fmla="*/ 230811 w 268134"/>
              <a:gd name="T65" fmla="*/ 211498 h 282037"/>
              <a:gd name="T66" fmla="*/ 184338 w 268134"/>
              <a:gd name="T67" fmla="*/ 223081 h 282037"/>
              <a:gd name="T68" fmla="*/ 155535 w 268134"/>
              <a:gd name="T69" fmla="*/ 224321 h 282037"/>
              <a:gd name="T70" fmla="*/ 266854 w 268134"/>
              <a:gd name="T71" fmla="*/ 224321 h 282037"/>
              <a:gd name="T72" fmla="*/ 265659 w 268134"/>
              <a:gd name="T73" fmla="*/ 195880 h 282037"/>
              <a:gd name="T74" fmla="*/ 262176 w 268134"/>
              <a:gd name="T75" fmla="*/ 57506 h 282037"/>
              <a:gd name="T76" fmla="*/ 180301 w 268134"/>
              <a:gd name="T77" fmla="*/ 57506 h 282037"/>
              <a:gd name="T78" fmla="*/ 192971 w 268134"/>
              <a:gd name="T79" fmla="*/ 58883 h 282037"/>
              <a:gd name="T80" fmla="*/ 205388 w 268134"/>
              <a:gd name="T81" fmla="*/ 61248 h 282037"/>
              <a:gd name="T82" fmla="*/ 241472 w 268134"/>
              <a:gd name="T83" fmla="*/ 73559 h 282037"/>
              <a:gd name="T84" fmla="*/ 264908 w 268134"/>
              <a:gd name="T85" fmla="*/ 85398 h 282037"/>
              <a:gd name="T86" fmla="*/ 262176 w 268134"/>
              <a:gd name="T87" fmla="*/ 57506 h 28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9" name="object 17">
            <a:extLst>
              <a:ext uri="{FF2B5EF4-FFF2-40B4-BE49-F238E27FC236}">
                <a16:creationId xmlns:a16="http://schemas.microsoft.com/office/drawing/2014/main" id="{58F47972-8880-49D8-BC88-C146DFAF1A80}"/>
              </a:ext>
            </a:extLst>
          </p:cNvPr>
          <p:cNvSpPr>
            <a:spLocks/>
          </p:cNvSpPr>
          <p:nvPr/>
        </p:nvSpPr>
        <p:spPr bwMode="auto">
          <a:xfrm>
            <a:off x="8274220"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4 w 186347"/>
              <a:gd name="T19" fmla="*/ 124885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7 h 275069"/>
              <a:gd name="T44" fmla="*/ 182341 w 186347"/>
              <a:gd name="T45" fmla="*/ 130617 h 275069"/>
              <a:gd name="T46" fmla="*/ 115025 w 186347"/>
              <a:gd name="T47" fmla="*/ 85571 h 275069"/>
              <a:gd name="T48" fmla="*/ 69225 w 186347"/>
              <a:gd name="T49" fmla="*/ 105591 h 275069"/>
              <a:gd name="T50" fmla="*/ 59296 w 186347"/>
              <a:gd name="T51" fmla="*/ 116560 h 275069"/>
              <a:gd name="T52" fmla="*/ 176188 w 186347"/>
              <a:gd name="T53" fmla="*/ 116560 h 275069"/>
              <a:gd name="T54" fmla="*/ 142031 w 186347"/>
              <a:gd name="T55" fmla="*/ 89611 h 275069"/>
              <a:gd name="T56" fmla="*/ 115025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0" name="object 18">
            <a:extLst>
              <a:ext uri="{FF2B5EF4-FFF2-40B4-BE49-F238E27FC236}">
                <a16:creationId xmlns:a16="http://schemas.microsoft.com/office/drawing/2014/main" id="{034CB882-400B-4C16-97AD-02888CF514F7}"/>
              </a:ext>
            </a:extLst>
          </p:cNvPr>
          <p:cNvSpPr>
            <a:spLocks/>
          </p:cNvSpPr>
          <p:nvPr/>
        </p:nvSpPr>
        <p:spPr bwMode="auto">
          <a:xfrm>
            <a:off x="8405329" y="6396827"/>
            <a:ext cx="33923" cy="107271"/>
          </a:xfrm>
          <a:custGeom>
            <a:avLst/>
            <a:gdLst>
              <a:gd name="T0" fmla="*/ 58483 w 58483"/>
              <a:gd name="T1" fmla="*/ 185940 h 185940"/>
              <a:gd name="T2" fmla="*/ 0 w 58483"/>
              <a:gd name="T3" fmla="*/ 185940 h 185940"/>
              <a:gd name="T4" fmla="*/ 0 w 58483"/>
              <a:gd name="T5" fmla="*/ 0 h 185940"/>
              <a:gd name="T6" fmla="*/ 58483 w 58483"/>
              <a:gd name="T7" fmla="*/ 0 h 185940"/>
              <a:gd name="T8" fmla="*/ 58483 w 58483"/>
              <a:gd name="T9" fmla="*/ 185940 h 185940"/>
            </a:gdLst>
            <a:ahLst/>
            <a:cxnLst>
              <a:cxn ang="0">
                <a:pos x="T0" y="T1"/>
              </a:cxn>
              <a:cxn ang="0">
                <a:pos x="T2" y="T3"/>
              </a:cxn>
              <a:cxn ang="0">
                <a:pos x="T4" y="T5"/>
              </a:cxn>
              <a:cxn ang="0">
                <a:pos x="T6" y="T7"/>
              </a:cxn>
              <a:cxn ang="0">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1" name="object 19">
            <a:extLst>
              <a:ext uri="{FF2B5EF4-FFF2-40B4-BE49-F238E27FC236}">
                <a16:creationId xmlns:a16="http://schemas.microsoft.com/office/drawing/2014/main" id="{C404B6CC-52C7-40C8-BB24-4898F14849D2}"/>
              </a:ext>
            </a:extLst>
          </p:cNvPr>
          <p:cNvSpPr>
            <a:spLocks/>
          </p:cNvSpPr>
          <p:nvPr/>
        </p:nvSpPr>
        <p:spPr bwMode="auto">
          <a:xfrm>
            <a:off x="8403496" y="6344567"/>
            <a:ext cx="37590" cy="35757"/>
          </a:xfrm>
          <a:custGeom>
            <a:avLst/>
            <a:gdLst>
              <a:gd name="T0" fmla="*/ 22527 w 64473"/>
              <a:gd name="T1" fmla="*/ 0 h 61899"/>
              <a:gd name="T2" fmla="*/ 10874 w 64473"/>
              <a:gd name="T3" fmla="*/ 6792 h 61899"/>
              <a:gd name="T4" fmla="*/ 2919 w 64473"/>
              <a:gd name="T5" fmla="*/ 18047 h 61899"/>
              <a:gd name="T6" fmla="*/ 0 w 64473"/>
              <a:gd name="T7" fmla="*/ 32655 h 61899"/>
              <a:gd name="T8" fmla="*/ 3222 w 64473"/>
              <a:gd name="T9" fmla="*/ 44495 h 61899"/>
              <a:gd name="T10" fmla="*/ 11233 w 64473"/>
              <a:gd name="T11" fmla="*/ 54014 h 61899"/>
              <a:gd name="T12" fmla="*/ 23799 w 64473"/>
              <a:gd name="T13" fmla="*/ 60164 h 61899"/>
              <a:gd name="T14" fmla="*/ 40683 w 64473"/>
              <a:gd name="T15" fmla="*/ 61899 h 61899"/>
              <a:gd name="T16" fmla="*/ 52926 w 64473"/>
              <a:gd name="T17" fmla="*/ 55454 h 61899"/>
              <a:gd name="T18" fmla="*/ 61342 w 64473"/>
              <a:gd name="T19" fmla="*/ 44588 h 61899"/>
              <a:gd name="T20" fmla="*/ 64473 w 64473"/>
              <a:gd name="T21" fmla="*/ 30764 h 61899"/>
              <a:gd name="T22" fmla="*/ 64333 w 64473"/>
              <a:gd name="T23" fmla="*/ 27777 h 61899"/>
              <a:gd name="T24" fmla="*/ 60786 w 64473"/>
              <a:gd name="T25" fmla="*/ 16334 h 61899"/>
              <a:gd name="T26" fmla="*/ 52552 w 64473"/>
              <a:gd name="T27" fmla="*/ 7219 h 61899"/>
              <a:gd name="T28" fmla="*/ 39757 w 64473"/>
              <a:gd name="T29" fmla="*/ 1439 h 61899"/>
              <a:gd name="T30" fmla="*/ 22527 w 64473"/>
              <a:gd name="T31" fmla="*/ 0 h 6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2" name="object 20">
            <a:extLst>
              <a:ext uri="{FF2B5EF4-FFF2-40B4-BE49-F238E27FC236}">
                <a16:creationId xmlns:a16="http://schemas.microsoft.com/office/drawing/2014/main" id="{F5B9815A-56C2-431B-8619-98DC47075D2C}"/>
              </a:ext>
            </a:extLst>
          </p:cNvPr>
          <p:cNvSpPr>
            <a:spLocks/>
          </p:cNvSpPr>
          <p:nvPr/>
        </p:nvSpPr>
        <p:spPr bwMode="auto">
          <a:xfrm>
            <a:off x="8464007" y="6345484"/>
            <a:ext cx="33923" cy="158614"/>
          </a:xfrm>
          <a:custGeom>
            <a:avLst/>
            <a:gdLst>
              <a:gd name="T0" fmla="*/ 58483 w 58483"/>
              <a:gd name="T1" fmla="*/ 275069 h 275069"/>
              <a:gd name="T2" fmla="*/ 0 w 58483"/>
              <a:gd name="T3" fmla="*/ 275069 h 275069"/>
              <a:gd name="T4" fmla="*/ 0 w 58483"/>
              <a:gd name="T5" fmla="*/ 0 h 275069"/>
              <a:gd name="T6" fmla="*/ 58483 w 58483"/>
              <a:gd name="T7" fmla="*/ 0 h 275069"/>
              <a:gd name="T8" fmla="*/ 58483 w 58483"/>
              <a:gd name="T9" fmla="*/ 275069 h 275069"/>
            </a:gdLst>
            <a:ahLst/>
            <a:cxnLst>
              <a:cxn ang="0">
                <a:pos x="T0" y="T1"/>
              </a:cxn>
              <a:cxn ang="0">
                <a:pos x="T2" y="T3"/>
              </a:cxn>
              <a:cxn ang="0">
                <a:pos x="T4" y="T5"/>
              </a:cxn>
              <a:cxn ang="0">
                <a:pos x="T6" y="T7"/>
              </a:cxn>
              <a:cxn ang="0">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3" name="object 21">
            <a:extLst>
              <a:ext uri="{FF2B5EF4-FFF2-40B4-BE49-F238E27FC236}">
                <a16:creationId xmlns:a16="http://schemas.microsoft.com/office/drawing/2014/main" id="{50190F82-EF60-4704-8AA4-2E682B1FA9F9}"/>
              </a:ext>
            </a:extLst>
          </p:cNvPr>
          <p:cNvSpPr>
            <a:spLocks/>
          </p:cNvSpPr>
          <p:nvPr/>
        </p:nvSpPr>
        <p:spPr bwMode="auto">
          <a:xfrm>
            <a:off x="8516267" y="6345484"/>
            <a:ext cx="113689" cy="161365"/>
          </a:xfrm>
          <a:custGeom>
            <a:avLst/>
            <a:gdLst>
              <a:gd name="T0" fmla="*/ 102087 w 197236"/>
              <a:gd name="T1" fmla="*/ 86169 h 278582"/>
              <a:gd name="T2" fmla="*/ 55657 w 197236"/>
              <a:gd name="T3" fmla="*/ 94000 h 278582"/>
              <a:gd name="T4" fmla="*/ 22559 w 197236"/>
              <a:gd name="T5" fmla="*/ 116758 h 278582"/>
              <a:gd name="T6" fmla="*/ 3889 w 197236"/>
              <a:gd name="T7" fmla="*/ 151731 h 278582"/>
              <a:gd name="T8" fmla="*/ 0 w 197236"/>
              <a:gd name="T9" fmla="*/ 180495 h 278582"/>
              <a:gd name="T10" fmla="*/ 1017 w 197236"/>
              <a:gd name="T11" fmla="*/ 196586 h 278582"/>
              <a:gd name="T12" fmla="*/ 15258 w 197236"/>
              <a:gd name="T13" fmla="*/ 238127 h 278582"/>
              <a:gd name="T14" fmla="*/ 43518 w 197236"/>
              <a:gd name="T15" fmla="*/ 266692 h 278582"/>
              <a:gd name="T16" fmla="*/ 82248 w 197236"/>
              <a:gd name="T17" fmla="*/ 278582 h 278582"/>
              <a:gd name="T18" fmla="*/ 96853 w 197236"/>
              <a:gd name="T19" fmla="*/ 277906 h 278582"/>
              <a:gd name="T20" fmla="*/ 109525 w 197236"/>
              <a:gd name="T21" fmla="*/ 275602 h 278582"/>
              <a:gd name="T22" fmla="*/ 120879 w 197236"/>
              <a:gd name="T23" fmla="*/ 271516 h 278582"/>
              <a:gd name="T24" fmla="*/ 131530 w 197236"/>
              <a:gd name="T25" fmla="*/ 265489 h 278582"/>
              <a:gd name="T26" fmla="*/ 197236 w 197236"/>
              <a:gd name="T27" fmla="*/ 265489 h 278582"/>
              <a:gd name="T28" fmla="*/ 197236 w 197236"/>
              <a:gd name="T29" fmla="*/ 238062 h 278582"/>
              <a:gd name="T30" fmla="*/ 115807 w 197236"/>
              <a:gd name="T31" fmla="*/ 238062 h 278582"/>
              <a:gd name="T32" fmla="*/ 98970 w 197236"/>
              <a:gd name="T33" fmla="*/ 237049 h 278582"/>
              <a:gd name="T34" fmla="*/ 66747 w 197236"/>
              <a:gd name="T35" fmla="*/ 215624 h 278582"/>
              <a:gd name="T36" fmla="*/ 59470 w 197236"/>
              <a:gd name="T37" fmla="*/ 188992 h 278582"/>
              <a:gd name="T38" fmla="*/ 60697 w 197236"/>
              <a:gd name="T39" fmla="*/ 170084 h 278582"/>
              <a:gd name="T40" fmla="*/ 79093 w 197236"/>
              <a:gd name="T41" fmla="*/ 133069 h 278582"/>
              <a:gd name="T42" fmla="*/ 102296 w 197236"/>
              <a:gd name="T43" fmla="*/ 124759 h 278582"/>
              <a:gd name="T44" fmla="*/ 197236 w 197236"/>
              <a:gd name="T45" fmla="*/ 124759 h 278582"/>
              <a:gd name="T46" fmla="*/ 197236 w 197236"/>
              <a:gd name="T47" fmla="*/ 97205 h 278582"/>
              <a:gd name="T48" fmla="*/ 138739 w 197236"/>
              <a:gd name="T49" fmla="*/ 97205 h 278582"/>
              <a:gd name="T50" fmla="*/ 126684 w 197236"/>
              <a:gd name="T51" fmla="*/ 92052 h 278582"/>
              <a:gd name="T52" fmla="*/ 114506 w 197236"/>
              <a:gd name="T53" fmla="*/ 88361 h 278582"/>
              <a:gd name="T54" fmla="*/ 102087 w 197236"/>
              <a:gd name="T55" fmla="*/ 86169 h 278582"/>
              <a:gd name="T56" fmla="*/ 197236 w 197236"/>
              <a:gd name="T57" fmla="*/ 265489 h 278582"/>
              <a:gd name="T58" fmla="*/ 131530 w 197236"/>
              <a:gd name="T59" fmla="*/ 265489 h 278582"/>
              <a:gd name="T60" fmla="*/ 138739 w 197236"/>
              <a:gd name="T61" fmla="*/ 275081 h 278582"/>
              <a:gd name="T62" fmla="*/ 197236 w 197236"/>
              <a:gd name="T63" fmla="*/ 275081 h 278582"/>
              <a:gd name="T64" fmla="*/ 197236 w 197236"/>
              <a:gd name="T65" fmla="*/ 265489 h 278582"/>
              <a:gd name="T66" fmla="*/ 197236 w 197236"/>
              <a:gd name="T67" fmla="*/ 124759 h 278582"/>
              <a:gd name="T68" fmla="*/ 102296 w 197236"/>
              <a:gd name="T69" fmla="*/ 124759 h 278582"/>
              <a:gd name="T70" fmla="*/ 116209 w 197236"/>
              <a:gd name="T71" fmla="*/ 126154 h 278582"/>
              <a:gd name="T72" fmla="*/ 128713 w 197236"/>
              <a:gd name="T73" fmla="*/ 130025 h 278582"/>
              <a:gd name="T74" fmla="*/ 138739 w 197236"/>
              <a:gd name="T75" fmla="*/ 224256 h 278582"/>
              <a:gd name="T76" fmla="*/ 127098 w 197236"/>
              <a:gd name="T77" fmla="*/ 233105 h 278582"/>
              <a:gd name="T78" fmla="*/ 115807 w 197236"/>
              <a:gd name="T79" fmla="*/ 238062 h 278582"/>
              <a:gd name="T80" fmla="*/ 197236 w 197236"/>
              <a:gd name="T81" fmla="*/ 238062 h 278582"/>
              <a:gd name="T82" fmla="*/ 197236 w 197236"/>
              <a:gd name="T83" fmla="*/ 124759 h 278582"/>
              <a:gd name="T84" fmla="*/ 197236 w 197236"/>
              <a:gd name="T85" fmla="*/ 0 h 278582"/>
              <a:gd name="T86" fmla="*/ 138739 w 197236"/>
              <a:gd name="T87" fmla="*/ 0 h 278582"/>
              <a:gd name="T88" fmla="*/ 138739 w 197236"/>
              <a:gd name="T89" fmla="*/ 97205 h 278582"/>
              <a:gd name="T90" fmla="*/ 197236 w 197236"/>
              <a:gd name="T91" fmla="*/ 97205 h 278582"/>
              <a:gd name="T92" fmla="*/ 197236 w 197236"/>
              <a:gd name="T93" fmla="*/ 0 h 278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4" name="object 22">
            <a:extLst>
              <a:ext uri="{FF2B5EF4-FFF2-40B4-BE49-F238E27FC236}">
                <a16:creationId xmlns:a16="http://schemas.microsoft.com/office/drawing/2014/main" id="{05554EF3-827B-41FA-981B-5F71F9500C11}"/>
              </a:ext>
            </a:extLst>
          </p:cNvPr>
          <p:cNvSpPr>
            <a:spLocks/>
          </p:cNvSpPr>
          <p:nvPr/>
        </p:nvSpPr>
        <p:spPr bwMode="auto">
          <a:xfrm>
            <a:off x="8653794" y="6394994"/>
            <a:ext cx="86183" cy="109104"/>
          </a:xfrm>
          <a:custGeom>
            <a:avLst/>
            <a:gdLst>
              <a:gd name="T0" fmla="*/ 58496 w 148435"/>
              <a:gd name="T1" fmla="*/ 3345 h 189286"/>
              <a:gd name="T2" fmla="*/ 0 w 148435"/>
              <a:gd name="T3" fmla="*/ 3345 h 189286"/>
              <a:gd name="T4" fmla="*/ 0 w 148435"/>
              <a:gd name="T5" fmla="*/ 189286 h 189286"/>
              <a:gd name="T6" fmla="*/ 58496 w 148435"/>
              <a:gd name="T7" fmla="*/ 189286 h 189286"/>
              <a:gd name="T8" fmla="*/ 60302 w 148435"/>
              <a:gd name="T9" fmla="*/ 104333 h 189286"/>
              <a:gd name="T10" fmla="*/ 66688 w 148435"/>
              <a:gd name="T11" fmla="*/ 89744 h 189286"/>
              <a:gd name="T12" fmla="*/ 102362 w 148435"/>
              <a:gd name="T13" fmla="*/ 56832 h 189286"/>
              <a:gd name="T14" fmla="*/ 105753 w 148435"/>
              <a:gd name="T15" fmla="*/ 56583 h 189286"/>
              <a:gd name="T16" fmla="*/ 58496 w 148435"/>
              <a:gd name="T17" fmla="*/ 56583 h 189286"/>
              <a:gd name="T18" fmla="*/ 58496 w 148435"/>
              <a:gd name="T19" fmla="*/ 3345 h 189286"/>
              <a:gd name="T20" fmla="*/ 142734 w 148435"/>
              <a:gd name="T21" fmla="*/ 55849 h 189286"/>
              <a:gd name="T22" fmla="*/ 115759 w 148435"/>
              <a:gd name="T23" fmla="*/ 55849 h 189286"/>
              <a:gd name="T24" fmla="*/ 127166 w 148435"/>
              <a:gd name="T25" fmla="*/ 60293 h 189286"/>
              <a:gd name="T26" fmla="*/ 141173 w 148435"/>
              <a:gd name="T27" fmla="*/ 68280 h 189286"/>
              <a:gd name="T28" fmla="*/ 142734 w 148435"/>
              <a:gd name="T29" fmla="*/ 55849 h 189286"/>
              <a:gd name="T30" fmla="*/ 113722 w 148435"/>
              <a:gd name="T31" fmla="*/ 0 h 189286"/>
              <a:gd name="T32" fmla="*/ 75999 w 148435"/>
              <a:gd name="T33" fmla="*/ 26495 h 189286"/>
              <a:gd name="T34" fmla="*/ 59296 w 148435"/>
              <a:gd name="T35" fmla="*/ 56583 h 189286"/>
              <a:gd name="T36" fmla="*/ 105753 w 148435"/>
              <a:gd name="T37" fmla="*/ 56583 h 189286"/>
              <a:gd name="T38" fmla="*/ 115759 w 148435"/>
              <a:gd name="T39" fmla="*/ 55849 h 189286"/>
              <a:gd name="T40" fmla="*/ 142734 w 148435"/>
              <a:gd name="T41" fmla="*/ 55849 h 189286"/>
              <a:gd name="T42" fmla="*/ 148435 w 148435"/>
              <a:gd name="T43" fmla="*/ 10457 h 189286"/>
              <a:gd name="T44" fmla="*/ 137066 w 148435"/>
              <a:gd name="T45" fmla="*/ 4225 h 189286"/>
              <a:gd name="T46" fmla="*/ 126026 w 148435"/>
              <a:gd name="T47" fmla="*/ 873 h 189286"/>
              <a:gd name="T48" fmla="*/ 113722 w 148435"/>
              <a:gd name="T49" fmla="*/ 0 h 189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5" name="object 23">
            <a:extLst>
              <a:ext uri="{FF2B5EF4-FFF2-40B4-BE49-F238E27FC236}">
                <a16:creationId xmlns:a16="http://schemas.microsoft.com/office/drawing/2014/main" id="{74F8479C-1DFC-4673-B0E8-B9A96232A099}"/>
              </a:ext>
            </a:extLst>
          </p:cNvPr>
          <p:cNvSpPr>
            <a:spLocks/>
          </p:cNvSpPr>
          <p:nvPr/>
        </p:nvSpPr>
        <p:spPr bwMode="auto">
          <a:xfrm>
            <a:off x="8747312" y="6394994"/>
            <a:ext cx="111855" cy="111855"/>
          </a:xfrm>
          <a:custGeom>
            <a:avLst/>
            <a:gdLst>
              <a:gd name="T0" fmla="*/ 105791 w 193899"/>
              <a:gd name="T1" fmla="*/ 0 h 192655"/>
              <a:gd name="T2" fmla="*/ 59480 w 193899"/>
              <a:gd name="T3" fmla="*/ 7870 h 192655"/>
              <a:gd name="T4" fmla="*/ 25255 w 193899"/>
              <a:gd name="T5" fmla="*/ 30136 h 192655"/>
              <a:gd name="T6" fmla="*/ 4931 w 193899"/>
              <a:gd name="T7" fmla="*/ 64116 h 192655"/>
              <a:gd name="T8" fmla="*/ 0 w 193899"/>
              <a:gd name="T9" fmla="*/ 91954 h 192655"/>
              <a:gd name="T10" fmla="*/ 901 w 193899"/>
              <a:gd name="T11" fmla="*/ 107653 h 192655"/>
              <a:gd name="T12" fmla="*/ 14163 w 193899"/>
              <a:gd name="T13" fmla="*/ 147572 h 192655"/>
              <a:gd name="T14" fmla="*/ 41702 w 193899"/>
              <a:gd name="T15" fmla="*/ 175703 h 192655"/>
              <a:gd name="T16" fmla="*/ 81516 w 193899"/>
              <a:gd name="T17" fmla="*/ 190728 h 192655"/>
              <a:gd name="T18" fmla="*/ 107485 w 193899"/>
              <a:gd name="T19" fmla="*/ 192655 h 192655"/>
              <a:gd name="T20" fmla="*/ 118689 w 193899"/>
              <a:gd name="T21" fmla="*/ 192350 h 192655"/>
              <a:gd name="T22" fmla="*/ 169214 w 193899"/>
              <a:gd name="T23" fmla="*/ 180915 h 192655"/>
              <a:gd name="T24" fmla="*/ 185591 w 193899"/>
              <a:gd name="T25" fmla="*/ 157805 h 192655"/>
              <a:gd name="T26" fmla="*/ 131330 w 193899"/>
              <a:gd name="T27" fmla="*/ 157805 h 192655"/>
              <a:gd name="T28" fmla="*/ 112833 w 193899"/>
              <a:gd name="T29" fmla="*/ 156784 h 192655"/>
              <a:gd name="T30" fmla="*/ 74396 w 193899"/>
              <a:gd name="T31" fmla="*/ 140117 h 192655"/>
              <a:gd name="T32" fmla="*/ 60397 w 193899"/>
              <a:gd name="T33" fmla="*/ 105806 h 192655"/>
              <a:gd name="T34" fmla="*/ 193899 w 193899"/>
              <a:gd name="T35" fmla="*/ 105806 h 192655"/>
              <a:gd name="T36" fmla="*/ 193588 w 193899"/>
              <a:gd name="T37" fmla="*/ 88898 h 192655"/>
              <a:gd name="T38" fmla="*/ 191559 w 193899"/>
              <a:gd name="T39" fmla="*/ 75149 h 192655"/>
              <a:gd name="T40" fmla="*/ 61603 w 193899"/>
              <a:gd name="T41" fmla="*/ 75149 h 192655"/>
              <a:gd name="T42" fmla="*/ 65003 w 193899"/>
              <a:gd name="T43" fmla="*/ 59641 h 192655"/>
              <a:gd name="T44" fmla="*/ 71797 w 193899"/>
              <a:gd name="T45" fmla="*/ 47600 h 192655"/>
              <a:gd name="T46" fmla="*/ 81695 w 193899"/>
              <a:gd name="T47" fmla="*/ 39292 h 192655"/>
              <a:gd name="T48" fmla="*/ 94403 w 193899"/>
              <a:gd name="T49" fmla="*/ 34981 h 192655"/>
              <a:gd name="T50" fmla="*/ 101926 w 193899"/>
              <a:gd name="T51" fmla="*/ 34407 h 192655"/>
              <a:gd name="T52" fmla="*/ 173308 w 193899"/>
              <a:gd name="T53" fmla="*/ 34407 h 192655"/>
              <a:gd name="T54" fmla="*/ 165226 w 193899"/>
              <a:gd name="T55" fmla="*/ 25366 h 192655"/>
              <a:gd name="T56" fmla="*/ 155231 w 193899"/>
              <a:gd name="T57" fmla="*/ 17102 h 192655"/>
              <a:gd name="T58" fmla="*/ 144141 w 193899"/>
              <a:gd name="T59" fmla="*/ 10399 h 192655"/>
              <a:gd name="T60" fmla="*/ 132106 w 193899"/>
              <a:gd name="T61" fmla="*/ 5291 h 192655"/>
              <a:gd name="T62" fmla="*/ 119273 w 193899"/>
              <a:gd name="T63" fmla="*/ 1813 h 192655"/>
              <a:gd name="T64" fmla="*/ 105791 w 193899"/>
              <a:gd name="T65" fmla="*/ 0 h 192655"/>
              <a:gd name="T66" fmla="*/ 190674 w 193899"/>
              <a:gd name="T67" fmla="*/ 131613 h 192655"/>
              <a:gd name="T68" fmla="*/ 153671 w 193899"/>
              <a:gd name="T69" fmla="*/ 152711 h 192655"/>
              <a:gd name="T70" fmla="*/ 131330 w 193899"/>
              <a:gd name="T71" fmla="*/ 157805 h 192655"/>
              <a:gd name="T72" fmla="*/ 185591 w 193899"/>
              <a:gd name="T73" fmla="*/ 157805 h 192655"/>
              <a:gd name="T74" fmla="*/ 190674 w 193899"/>
              <a:gd name="T75" fmla="*/ 131613 h 192655"/>
              <a:gd name="T76" fmla="*/ 173308 w 193899"/>
              <a:gd name="T77" fmla="*/ 34407 h 192655"/>
              <a:gd name="T78" fmla="*/ 101926 w 193899"/>
              <a:gd name="T79" fmla="*/ 34407 h 192655"/>
              <a:gd name="T80" fmla="*/ 115810 w 193899"/>
              <a:gd name="T81" fmla="*/ 36607 h 192655"/>
              <a:gd name="T82" fmla="*/ 127186 w 193899"/>
              <a:gd name="T83" fmla="*/ 42978 h 192655"/>
              <a:gd name="T84" fmla="*/ 135687 w 193899"/>
              <a:gd name="T85" fmla="*/ 53177 h 192655"/>
              <a:gd name="T86" fmla="*/ 140942 w 193899"/>
              <a:gd name="T87" fmla="*/ 66864 h 192655"/>
              <a:gd name="T88" fmla="*/ 61603 w 193899"/>
              <a:gd name="T89" fmla="*/ 75149 h 192655"/>
              <a:gd name="T90" fmla="*/ 191559 w 193899"/>
              <a:gd name="T91" fmla="*/ 75149 h 192655"/>
              <a:gd name="T92" fmla="*/ 191292 w 193899"/>
              <a:gd name="T93" fmla="*/ 73345 h 192655"/>
              <a:gd name="T94" fmla="*/ 187160 w 193899"/>
              <a:gd name="T95" fmla="*/ 59180 h 192655"/>
              <a:gd name="T96" fmla="*/ 181339 w 193899"/>
              <a:gd name="T97" fmla="*/ 46439 h 192655"/>
              <a:gd name="T98" fmla="*/ 173978 w 193899"/>
              <a:gd name="T99" fmla="*/ 35157 h 192655"/>
              <a:gd name="T100" fmla="*/ 173308 w 193899"/>
              <a:gd name="T101" fmla="*/ 34407 h 19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6" name="object 24">
            <a:extLst>
              <a:ext uri="{FF2B5EF4-FFF2-40B4-BE49-F238E27FC236}">
                <a16:creationId xmlns:a16="http://schemas.microsoft.com/office/drawing/2014/main" id="{0AEA66E4-18A4-4689-9F1C-0B9E48413643}"/>
              </a:ext>
            </a:extLst>
          </p:cNvPr>
          <p:cNvSpPr>
            <a:spLocks/>
          </p:cNvSpPr>
          <p:nvPr/>
        </p:nvSpPr>
        <p:spPr bwMode="auto">
          <a:xfrm>
            <a:off x="8876587" y="6394994"/>
            <a:ext cx="108188" cy="109104"/>
          </a:xfrm>
          <a:custGeom>
            <a:avLst/>
            <a:gdLst>
              <a:gd name="T0" fmla="*/ 58496 w 186753"/>
              <a:gd name="T1" fmla="*/ 3531 h 189472"/>
              <a:gd name="T2" fmla="*/ 0 w 186753"/>
              <a:gd name="T3" fmla="*/ 3531 h 189472"/>
              <a:gd name="T4" fmla="*/ 0 w 186753"/>
              <a:gd name="T5" fmla="*/ 189472 h 189472"/>
              <a:gd name="T6" fmla="*/ 58496 w 186753"/>
              <a:gd name="T7" fmla="*/ 189472 h 189472"/>
              <a:gd name="T8" fmla="*/ 64716 w 186753"/>
              <a:gd name="T9" fmla="*/ 60917 h 189472"/>
              <a:gd name="T10" fmla="*/ 73902 w 186753"/>
              <a:gd name="T11" fmla="*/ 50710 h 189472"/>
              <a:gd name="T12" fmla="*/ 83535 w 186753"/>
              <a:gd name="T13" fmla="*/ 44118 h 189472"/>
              <a:gd name="T14" fmla="*/ 94633 w 186753"/>
              <a:gd name="T15" fmla="*/ 40761 h 189472"/>
              <a:gd name="T16" fmla="*/ 108215 w 186753"/>
              <a:gd name="T17" fmla="*/ 40256 h 189472"/>
              <a:gd name="T18" fmla="*/ 181204 w 186753"/>
              <a:gd name="T19" fmla="*/ 40256 h 189472"/>
              <a:gd name="T20" fmla="*/ 180209 w 186753"/>
              <a:gd name="T21" fmla="*/ 37064 h 189472"/>
              <a:gd name="T22" fmla="*/ 176069 w 186753"/>
              <a:gd name="T23" fmla="*/ 30150 h 189472"/>
              <a:gd name="T24" fmla="*/ 58496 w 186753"/>
              <a:gd name="T25" fmla="*/ 30150 h 189472"/>
              <a:gd name="T26" fmla="*/ 58496 w 186753"/>
              <a:gd name="T27" fmla="*/ 3531 h 189472"/>
              <a:gd name="T28" fmla="*/ 181204 w 186753"/>
              <a:gd name="T29" fmla="*/ 40256 h 189472"/>
              <a:gd name="T30" fmla="*/ 108215 w 186753"/>
              <a:gd name="T31" fmla="*/ 40256 h 189472"/>
              <a:gd name="T32" fmla="*/ 118687 w 186753"/>
              <a:gd name="T33" fmla="*/ 46405 h 189472"/>
              <a:gd name="T34" fmla="*/ 125699 w 186753"/>
              <a:gd name="T35" fmla="*/ 58192 h 189472"/>
              <a:gd name="T36" fmla="*/ 128257 w 186753"/>
              <a:gd name="T37" fmla="*/ 76137 h 189472"/>
              <a:gd name="T38" fmla="*/ 128257 w 186753"/>
              <a:gd name="T39" fmla="*/ 189472 h 189472"/>
              <a:gd name="T40" fmla="*/ 186753 w 186753"/>
              <a:gd name="T41" fmla="*/ 189472 h 189472"/>
              <a:gd name="T42" fmla="*/ 185042 w 186753"/>
              <a:gd name="T43" fmla="*/ 52574 h 189472"/>
              <a:gd name="T44" fmla="*/ 181204 w 186753"/>
              <a:gd name="T45" fmla="*/ 40256 h 189472"/>
              <a:gd name="T46" fmla="*/ 114684 w 186753"/>
              <a:gd name="T47" fmla="*/ 0 h 189472"/>
              <a:gd name="T48" fmla="*/ 68938 w 186753"/>
              <a:gd name="T49" fmla="*/ 19409 h 189472"/>
              <a:gd name="T50" fmla="*/ 58496 w 186753"/>
              <a:gd name="T51" fmla="*/ 30150 h 189472"/>
              <a:gd name="T52" fmla="*/ 176069 w 186753"/>
              <a:gd name="T53" fmla="*/ 30150 h 189472"/>
              <a:gd name="T54" fmla="*/ 140028 w 186753"/>
              <a:gd name="T55" fmla="*/ 3388 h 189472"/>
              <a:gd name="T56" fmla="*/ 114684 w 186753"/>
              <a:gd name="T57" fmla="*/ 0 h 189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7" name="object 25">
            <a:extLst>
              <a:ext uri="{FF2B5EF4-FFF2-40B4-BE49-F238E27FC236}">
                <a16:creationId xmlns:a16="http://schemas.microsoft.com/office/drawing/2014/main" id="{67D21967-488D-498C-84B4-36169B7D7A09}"/>
              </a:ext>
            </a:extLst>
          </p:cNvPr>
          <p:cNvSpPr>
            <a:spLocks/>
          </p:cNvSpPr>
          <p:nvPr/>
        </p:nvSpPr>
        <p:spPr bwMode="auto">
          <a:xfrm>
            <a:off x="6621149" y="6108938"/>
            <a:ext cx="456589" cy="477676"/>
          </a:xfrm>
          <a:custGeom>
            <a:avLst/>
            <a:gdLst>
              <a:gd name="T0" fmla="*/ 66585 w 790525"/>
              <a:gd name="T1" fmla="*/ 162560 h 826770"/>
              <a:gd name="T2" fmla="*/ 78798 w 790525"/>
              <a:gd name="T3" fmla="*/ 207010 h 826770"/>
              <a:gd name="T4" fmla="*/ 31279 w 790525"/>
              <a:gd name="T5" fmla="*/ 292100 h 826770"/>
              <a:gd name="T6" fmla="*/ 426 w 790525"/>
              <a:gd name="T7" fmla="*/ 466090 h 826770"/>
              <a:gd name="T8" fmla="*/ 43637 w 790525"/>
              <a:gd name="T9" fmla="*/ 624840 h 826770"/>
              <a:gd name="T10" fmla="*/ 81010 w 790525"/>
              <a:gd name="T11" fmla="*/ 681990 h 826770"/>
              <a:gd name="T12" fmla="*/ 157224 w 790525"/>
              <a:gd name="T13" fmla="*/ 754380 h 826770"/>
              <a:gd name="T14" fmla="*/ 207199 w 790525"/>
              <a:gd name="T15" fmla="*/ 783590 h 826770"/>
              <a:gd name="T16" fmla="*/ 315749 w 790525"/>
              <a:gd name="T17" fmla="*/ 821690 h 826770"/>
              <a:gd name="T18" fmla="*/ 514267 w 790525"/>
              <a:gd name="T19" fmla="*/ 819150 h 826770"/>
              <a:gd name="T20" fmla="*/ 609328 w 790525"/>
              <a:gd name="T21" fmla="*/ 786130 h 826770"/>
              <a:gd name="T22" fmla="*/ 616272 w 790525"/>
              <a:gd name="T23" fmla="*/ 744220 h 826770"/>
              <a:gd name="T24" fmla="*/ 201626 w 790525"/>
              <a:gd name="T25" fmla="*/ 715010 h 826770"/>
              <a:gd name="T26" fmla="*/ 134155 w 790525"/>
              <a:gd name="T27" fmla="*/ 654050 h 826770"/>
              <a:gd name="T28" fmla="*/ 66491 w 790525"/>
              <a:gd name="T29" fmla="*/ 543560 h 826770"/>
              <a:gd name="T30" fmla="*/ 42317 w 790525"/>
              <a:gd name="T31" fmla="*/ 401320 h 826770"/>
              <a:gd name="T32" fmla="*/ 83745 w 790525"/>
              <a:gd name="T33" fmla="*/ 247650 h 826770"/>
              <a:gd name="T34" fmla="*/ 191896 w 790525"/>
              <a:gd name="T35" fmla="*/ 212090 h 826770"/>
              <a:gd name="T36" fmla="*/ 154483 w 790525"/>
              <a:gd name="T37" fmla="*/ 173990 h 826770"/>
              <a:gd name="T38" fmla="*/ 119420 w 790525"/>
              <a:gd name="T39" fmla="*/ 148590 h 826770"/>
              <a:gd name="T40" fmla="*/ 119256 w 790525"/>
              <a:gd name="T41" fmla="*/ 255270 h 826770"/>
              <a:gd name="T42" fmla="*/ 183966 w 790525"/>
              <a:gd name="T43" fmla="*/ 330200 h 826770"/>
              <a:gd name="T44" fmla="*/ 225190 w 790525"/>
              <a:gd name="T45" fmla="*/ 381000 h 826770"/>
              <a:gd name="T46" fmla="*/ 254311 w 790525"/>
              <a:gd name="T47" fmla="*/ 425450 h 826770"/>
              <a:gd name="T48" fmla="*/ 253814 w 790525"/>
              <a:gd name="T49" fmla="*/ 482600 h 826770"/>
              <a:gd name="T50" fmla="*/ 237140 w 790525"/>
              <a:gd name="T51" fmla="*/ 554990 h 826770"/>
              <a:gd name="T52" fmla="*/ 222794 w 790525"/>
              <a:gd name="T53" fmla="*/ 718820 h 826770"/>
              <a:gd name="T54" fmla="*/ 592655 w 790525"/>
              <a:gd name="T55" fmla="*/ 669290 h 826770"/>
              <a:gd name="T56" fmla="*/ 577540 w 790525"/>
              <a:gd name="T57" fmla="*/ 482600 h 826770"/>
              <a:gd name="T58" fmla="*/ 626380 w 790525"/>
              <a:gd name="T59" fmla="*/ 356870 h 826770"/>
              <a:gd name="T60" fmla="*/ 405812 w 790525"/>
              <a:gd name="T61" fmla="*/ 321310 h 826770"/>
              <a:gd name="T62" fmla="*/ 286561 w 790525"/>
              <a:gd name="T63" fmla="*/ 284480 h 826770"/>
              <a:gd name="T64" fmla="*/ 210527 w 790525"/>
              <a:gd name="T65" fmla="*/ 228600 h 826770"/>
              <a:gd name="T66" fmla="*/ 728545 w 790525"/>
              <a:gd name="T67" fmla="*/ 339090 h 826770"/>
              <a:gd name="T68" fmla="*/ 738699 w 790525"/>
              <a:gd name="T69" fmla="*/ 504190 h 826770"/>
              <a:gd name="T70" fmla="*/ 662084 w 790525"/>
              <a:gd name="T71" fmla="*/ 665480 h 826770"/>
              <a:gd name="T72" fmla="*/ 666275 w 790525"/>
              <a:gd name="T73" fmla="*/ 684530 h 826770"/>
              <a:gd name="T74" fmla="*/ 710323 w 790525"/>
              <a:gd name="T75" fmla="*/ 645160 h 826770"/>
              <a:gd name="T76" fmla="*/ 785728 w 790525"/>
              <a:gd name="T77" fmla="*/ 415290 h 826770"/>
              <a:gd name="T78" fmla="*/ 759233 w 790525"/>
              <a:gd name="T79" fmla="*/ 269240 h 826770"/>
              <a:gd name="T80" fmla="*/ 583941 w 790525"/>
              <a:gd name="T81" fmla="*/ 142240 h 826770"/>
              <a:gd name="T82" fmla="*/ 578252 w 790525"/>
              <a:gd name="T83" fmla="*/ 264160 h 826770"/>
              <a:gd name="T84" fmla="*/ 653076 w 790525"/>
              <a:gd name="T85" fmla="*/ 321310 h 826770"/>
              <a:gd name="T86" fmla="*/ 759233 w 790525"/>
              <a:gd name="T87" fmla="*/ 269240 h 826770"/>
              <a:gd name="T88" fmla="*/ 789985 w 790525"/>
              <a:gd name="T89" fmla="*/ 166370 h 826770"/>
              <a:gd name="T90" fmla="*/ 660777 w 790525"/>
              <a:gd name="T91" fmla="*/ 128270 h 826770"/>
              <a:gd name="T92" fmla="*/ 300642 w 790525"/>
              <a:gd name="T93" fmla="*/ 85090 h 826770"/>
              <a:gd name="T94" fmla="*/ 291916 w 790525"/>
              <a:gd name="T95" fmla="*/ 138430 h 826770"/>
              <a:gd name="T96" fmla="*/ 385181 w 790525"/>
              <a:gd name="T97" fmla="*/ 283210 h 826770"/>
              <a:gd name="T98" fmla="*/ 523231 w 790525"/>
              <a:gd name="T99" fmla="*/ 205740 h 826770"/>
              <a:gd name="T100" fmla="*/ 630062 w 790525"/>
              <a:gd name="T101" fmla="*/ 104140 h 826770"/>
              <a:gd name="T102" fmla="*/ 718209 w 790525"/>
              <a:gd name="T103" fmla="*/ 146050 h 826770"/>
              <a:gd name="T104" fmla="*/ 776367 w 790525"/>
              <a:gd name="T105" fmla="*/ 143510 h 826770"/>
              <a:gd name="T106" fmla="*/ 401475 w 790525"/>
              <a:gd name="T107" fmla="*/ 0 h 826770"/>
              <a:gd name="T108" fmla="*/ 238833 w 790525"/>
              <a:gd name="T109" fmla="*/ 73660 h 826770"/>
              <a:gd name="T110" fmla="*/ 152920 w 790525"/>
              <a:gd name="T111" fmla="*/ 129540 h 826770"/>
              <a:gd name="T112" fmla="*/ 176990 w 790525"/>
              <a:gd name="T113" fmla="*/ 142240 h 826770"/>
              <a:gd name="T114" fmla="*/ 231913 w 790525"/>
              <a:gd name="T115" fmla="*/ 109220 h 826770"/>
              <a:gd name="T116" fmla="*/ 575018 w 790525"/>
              <a:gd name="T117" fmla="*/ 72390 h 826770"/>
              <a:gd name="T118" fmla="*/ 503374 w 790525"/>
              <a:gd name="T119" fmla="*/ 46990 h 826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8" name="object 26">
            <a:extLst>
              <a:ext uri="{FF2B5EF4-FFF2-40B4-BE49-F238E27FC236}">
                <a16:creationId xmlns:a16="http://schemas.microsoft.com/office/drawing/2014/main" id="{C0C0C0CE-4B1C-43F8-A280-1176226CAF20}"/>
              </a:ext>
            </a:extLst>
          </p:cNvPr>
          <p:cNvSpPr>
            <a:spLocks/>
          </p:cNvSpPr>
          <p:nvPr/>
        </p:nvSpPr>
        <p:spPr bwMode="auto">
          <a:xfrm>
            <a:off x="2608207" y="255524"/>
            <a:ext cx="5361709" cy="780235"/>
          </a:xfrm>
          <a:custGeom>
            <a:avLst/>
            <a:gdLst>
              <a:gd name="T0" fmla="*/ 9283611 w 9283611"/>
              <a:gd name="T1" fmla="*/ 0 h 1349997"/>
              <a:gd name="T2" fmla="*/ 0 w 9283611"/>
              <a:gd name="T3" fmla="*/ 0 h 1349997"/>
              <a:gd name="T4" fmla="*/ 0 w 9283611"/>
              <a:gd name="T5" fmla="*/ 1349997 h 1349997"/>
              <a:gd name="T6" fmla="*/ 8802179 w 9283611"/>
              <a:gd name="T7" fmla="*/ 1349336 h 1349997"/>
              <a:gd name="T8" fmla="*/ 8878042 w 9283611"/>
              <a:gd name="T9" fmla="*/ 1347768 h 1349997"/>
              <a:gd name="T10" fmla="*/ 8945486 w 9283611"/>
              <a:gd name="T11" fmla="*/ 1344714 h 1349997"/>
              <a:gd name="T12" fmla="*/ 9005004 w 9283611"/>
              <a:gd name="T13" fmla="*/ 1339678 h 1349997"/>
              <a:gd name="T14" fmla="*/ 9057093 w 9283611"/>
              <a:gd name="T15" fmla="*/ 1332166 h 1349997"/>
              <a:gd name="T16" fmla="*/ 9102248 w 9283611"/>
              <a:gd name="T17" fmla="*/ 1321682 h 1349997"/>
              <a:gd name="T18" fmla="*/ 9140964 w 9283611"/>
              <a:gd name="T19" fmla="*/ 1307731 h 1349997"/>
              <a:gd name="T20" fmla="*/ 9201061 w 9283611"/>
              <a:gd name="T21" fmla="*/ 1267447 h 1349997"/>
              <a:gd name="T22" fmla="*/ 9241345 w 9283611"/>
              <a:gd name="T23" fmla="*/ 1207350 h 1349997"/>
              <a:gd name="T24" fmla="*/ 9255296 w 9283611"/>
              <a:gd name="T25" fmla="*/ 1168634 h 1349997"/>
              <a:gd name="T26" fmla="*/ 9265780 w 9283611"/>
              <a:gd name="T27" fmla="*/ 1123480 h 1349997"/>
              <a:gd name="T28" fmla="*/ 9273292 w 9283611"/>
              <a:gd name="T29" fmla="*/ 1071391 h 1349997"/>
              <a:gd name="T30" fmla="*/ 9278327 w 9283611"/>
              <a:gd name="T31" fmla="*/ 1011872 h 1349997"/>
              <a:gd name="T32" fmla="*/ 9281382 w 9283611"/>
              <a:gd name="T33" fmla="*/ 944429 h 1349997"/>
              <a:gd name="T34" fmla="*/ 9282950 w 9283611"/>
              <a:gd name="T35" fmla="*/ 868565 h 1349997"/>
              <a:gd name="T36" fmla="*/ 9283528 w 9283611"/>
              <a:gd name="T37" fmla="*/ 783786 h 1349997"/>
              <a:gd name="T38" fmla="*/ 9283611 w 9283611"/>
              <a:gd name="T39" fmla="*/ 0 h 1349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83611" h="1349997">
                <a:moveTo>
                  <a:pt x="9283611" y="0"/>
                </a:moveTo>
                <a:lnTo>
                  <a:pt x="0" y="0"/>
                </a:lnTo>
                <a:lnTo>
                  <a:pt x="0" y="1349997"/>
                </a:lnTo>
                <a:lnTo>
                  <a:pt x="8802179" y="1349336"/>
                </a:lnTo>
                <a:lnTo>
                  <a:pt x="8878042" y="1347768"/>
                </a:lnTo>
                <a:lnTo>
                  <a:pt x="8945486" y="1344714"/>
                </a:lnTo>
                <a:lnTo>
                  <a:pt x="9005004" y="1339678"/>
                </a:lnTo>
                <a:lnTo>
                  <a:pt x="9057093" y="1332166"/>
                </a:lnTo>
                <a:lnTo>
                  <a:pt x="9102248" y="1321682"/>
                </a:lnTo>
                <a:lnTo>
                  <a:pt x="9140964" y="1307731"/>
                </a:lnTo>
                <a:lnTo>
                  <a:pt x="9201061" y="1267447"/>
                </a:lnTo>
                <a:lnTo>
                  <a:pt x="9241345" y="1207350"/>
                </a:lnTo>
                <a:lnTo>
                  <a:pt x="9255296" y="1168634"/>
                </a:lnTo>
                <a:lnTo>
                  <a:pt x="9265780" y="1123480"/>
                </a:lnTo>
                <a:lnTo>
                  <a:pt x="9273292" y="1071391"/>
                </a:lnTo>
                <a:lnTo>
                  <a:pt x="9278327" y="1011872"/>
                </a:lnTo>
                <a:lnTo>
                  <a:pt x="9281382" y="944429"/>
                </a:lnTo>
                <a:lnTo>
                  <a:pt x="9282950" y="868565"/>
                </a:lnTo>
                <a:lnTo>
                  <a:pt x="9283528" y="783786"/>
                </a:lnTo>
                <a:lnTo>
                  <a:pt x="9283611"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7" name="object 27">
            <a:extLst>
              <a:ext uri="{FF2B5EF4-FFF2-40B4-BE49-F238E27FC236}">
                <a16:creationId xmlns:a16="http://schemas.microsoft.com/office/drawing/2014/main" id="{68BAAD1C-3D77-40A5-9698-25350253B19B}"/>
              </a:ext>
            </a:extLst>
          </p:cNvPr>
          <p:cNvSpPr txBox="1">
            <a:spLocks noGrp="1"/>
          </p:cNvSpPr>
          <p:nvPr>
            <p:ph type="title"/>
          </p:nvPr>
        </p:nvSpPr>
        <p:spPr>
          <a:xfrm>
            <a:off x="2632170" y="361242"/>
            <a:ext cx="5734254" cy="575779"/>
          </a:xfrm>
        </p:spPr>
        <p:txBody>
          <a:bodyPr vert="horz" lIns="0" tIns="56362" rIns="0" bIns="0" rtlCol="0" anchor="ctr">
            <a:noAutofit/>
          </a:bodyPr>
          <a:lstStyle/>
          <a:p>
            <a:pPr marL="624878">
              <a:defRPr/>
            </a:pPr>
            <a:r>
              <a:rPr lang="en-US" sz="2426" dirty="0" err="1">
                <a:solidFill>
                  <a:srgbClr val="FFFFFF"/>
                </a:solidFill>
                <a:latin typeface="Gill Sans Light"/>
                <a:cs typeface="Gill Sans Light"/>
              </a:rPr>
              <a:t>ခံနိုင်ရည်စွမ်းအား</a:t>
            </a:r>
            <a:endParaRPr sz="2426" dirty="0">
              <a:latin typeface="Gill Sans Light"/>
              <a:cs typeface="Gill Sans Light"/>
            </a:endParaRPr>
          </a:p>
        </p:txBody>
      </p:sp>
      <p:sp>
        <p:nvSpPr>
          <p:cNvPr id="35" name="object 35">
            <a:extLst>
              <a:ext uri="{FF2B5EF4-FFF2-40B4-BE49-F238E27FC236}">
                <a16:creationId xmlns:a16="http://schemas.microsoft.com/office/drawing/2014/main" id="{9AC9A2A1-D13B-4B3A-92AF-E4DEEC90750C}"/>
              </a:ext>
            </a:extLst>
          </p:cNvPr>
          <p:cNvSpPr>
            <a:spLocks noGrp="1"/>
          </p:cNvSpPr>
          <p:nvPr>
            <p:ph type="ftr" sz="quarter" idx="11"/>
          </p:nvPr>
        </p:nvSpPr>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64541" name="object 28">
            <a:extLst>
              <a:ext uri="{FF2B5EF4-FFF2-40B4-BE49-F238E27FC236}">
                <a16:creationId xmlns:a16="http://schemas.microsoft.com/office/drawing/2014/main" id="{19392DDA-BB9A-4280-B827-1A229D7A01D9}"/>
              </a:ext>
            </a:extLst>
          </p:cNvPr>
          <p:cNvSpPr>
            <a:spLocks/>
          </p:cNvSpPr>
          <p:nvPr/>
        </p:nvSpPr>
        <p:spPr bwMode="auto">
          <a:xfrm>
            <a:off x="2953463" y="2073903"/>
            <a:ext cx="5347040" cy="2348957"/>
          </a:xfrm>
          <a:custGeom>
            <a:avLst/>
            <a:gdLst>
              <a:gd name="T0" fmla="*/ 0 w 9257868"/>
              <a:gd name="T1" fmla="*/ 4068000 h 4068000"/>
              <a:gd name="T2" fmla="*/ 9257868 w 9257868"/>
              <a:gd name="T3" fmla="*/ 4068000 h 4068000"/>
              <a:gd name="T4" fmla="*/ 9257868 w 9257868"/>
              <a:gd name="T5" fmla="*/ 0 h 4068000"/>
              <a:gd name="T6" fmla="*/ 0 w 9257868"/>
              <a:gd name="T7" fmla="*/ 0 h 4068000"/>
              <a:gd name="T8" fmla="*/ 0 w 9257868"/>
              <a:gd name="T9" fmla="*/ 4068000 h 4068000"/>
            </a:gdLst>
            <a:ahLst/>
            <a:cxnLst>
              <a:cxn ang="0">
                <a:pos x="T0" y="T1"/>
              </a:cxn>
              <a:cxn ang="0">
                <a:pos x="T2" y="T3"/>
              </a:cxn>
              <a:cxn ang="0">
                <a:pos x="T4" y="T5"/>
              </a:cxn>
              <a:cxn ang="0">
                <a:pos x="T6" y="T7"/>
              </a:cxn>
              <a:cxn ang="0">
                <a:pos x="T8" y="T9"/>
              </a:cxn>
            </a:cxnLst>
            <a:rect l="0" t="0" r="r" b="b"/>
            <a:pathLst>
              <a:path w="9257868" h="4068000">
                <a:moveTo>
                  <a:pt x="0" y="4068000"/>
                </a:moveTo>
                <a:lnTo>
                  <a:pt x="9257868" y="4068000"/>
                </a:lnTo>
                <a:lnTo>
                  <a:pt x="9257868" y="0"/>
                </a:lnTo>
                <a:lnTo>
                  <a:pt x="0" y="0"/>
                </a:lnTo>
                <a:lnTo>
                  <a:pt x="0" y="40680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42" name="object 29">
            <a:extLst>
              <a:ext uri="{FF2B5EF4-FFF2-40B4-BE49-F238E27FC236}">
                <a16:creationId xmlns:a16="http://schemas.microsoft.com/office/drawing/2014/main" id="{7D47C894-2DBE-42F9-A354-D5BA3755386F}"/>
              </a:ext>
            </a:extLst>
          </p:cNvPr>
          <p:cNvSpPr>
            <a:spLocks/>
          </p:cNvSpPr>
          <p:nvPr/>
        </p:nvSpPr>
        <p:spPr bwMode="auto">
          <a:xfrm>
            <a:off x="1290612" y="2385631"/>
            <a:ext cx="65096" cy="65096"/>
          </a:xfrm>
          <a:custGeom>
            <a:avLst/>
            <a:gdLst>
              <a:gd name="T0" fmla="*/ 65157 w 112628"/>
              <a:gd name="T1" fmla="*/ 0 h 113495"/>
              <a:gd name="T2" fmla="*/ 21503 w 112628"/>
              <a:gd name="T3" fmla="*/ 12099 h 113495"/>
              <a:gd name="T4" fmla="*/ 0 w 112628"/>
              <a:gd name="T5" fmla="*/ 43839 h 113495"/>
              <a:gd name="T6" fmla="*/ 933 w 112628"/>
              <a:gd name="T7" fmla="*/ 61196 h 113495"/>
              <a:gd name="T8" fmla="*/ 19229 w 112628"/>
              <a:gd name="T9" fmla="*/ 99136 h 113495"/>
              <a:gd name="T10" fmla="*/ 55736 w 112628"/>
              <a:gd name="T11" fmla="*/ 113495 h 113495"/>
              <a:gd name="T12" fmla="*/ 70098 w 112628"/>
              <a:gd name="T13" fmla="*/ 111676 h 113495"/>
              <a:gd name="T14" fmla="*/ 103297 w 112628"/>
              <a:gd name="T15" fmla="*/ 88037 h 113495"/>
              <a:gd name="T16" fmla="*/ 112628 w 112628"/>
              <a:gd name="T17" fmla="*/ 61691 h 113495"/>
              <a:gd name="T18" fmla="*/ 111068 w 112628"/>
              <a:gd name="T19" fmla="*/ 45933 h 113495"/>
              <a:gd name="T20" fmla="*/ 89546 w 112628"/>
              <a:gd name="T21" fmla="*/ 10650 h 113495"/>
              <a:gd name="T22" fmla="*/ 65157 w 112628"/>
              <a:gd name="T23" fmla="*/ 0 h 113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628" h="113495">
                <a:moveTo>
                  <a:pt x="65157" y="0"/>
                </a:moveTo>
                <a:lnTo>
                  <a:pt x="21503" y="12099"/>
                </a:lnTo>
                <a:lnTo>
                  <a:pt x="0" y="43839"/>
                </a:lnTo>
                <a:lnTo>
                  <a:pt x="933" y="61196"/>
                </a:lnTo>
                <a:lnTo>
                  <a:pt x="19229" y="99136"/>
                </a:lnTo>
                <a:lnTo>
                  <a:pt x="55736" y="113495"/>
                </a:lnTo>
                <a:lnTo>
                  <a:pt x="70098" y="111676"/>
                </a:lnTo>
                <a:lnTo>
                  <a:pt x="103297" y="88037"/>
                </a:lnTo>
                <a:lnTo>
                  <a:pt x="112628" y="61691"/>
                </a:lnTo>
                <a:lnTo>
                  <a:pt x="111068" y="45933"/>
                </a:lnTo>
                <a:lnTo>
                  <a:pt x="89546" y="10650"/>
                </a:lnTo>
                <a:lnTo>
                  <a:pt x="65157"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43" name="object 30">
            <a:extLst>
              <a:ext uri="{FF2B5EF4-FFF2-40B4-BE49-F238E27FC236}">
                <a16:creationId xmlns:a16="http://schemas.microsoft.com/office/drawing/2014/main" id="{00FC2D63-D0D0-4D00-B1E2-FFF3A895CC39}"/>
              </a:ext>
            </a:extLst>
          </p:cNvPr>
          <p:cNvSpPr>
            <a:spLocks/>
          </p:cNvSpPr>
          <p:nvPr/>
        </p:nvSpPr>
        <p:spPr bwMode="auto">
          <a:xfrm>
            <a:off x="1290612" y="2869725"/>
            <a:ext cx="65096" cy="65096"/>
          </a:xfrm>
          <a:custGeom>
            <a:avLst/>
            <a:gdLst>
              <a:gd name="T0" fmla="*/ 65157 w 112628"/>
              <a:gd name="T1" fmla="*/ 0 h 113495"/>
              <a:gd name="T2" fmla="*/ 21503 w 112628"/>
              <a:gd name="T3" fmla="*/ 12099 h 113495"/>
              <a:gd name="T4" fmla="*/ 0 w 112628"/>
              <a:gd name="T5" fmla="*/ 43839 h 113495"/>
              <a:gd name="T6" fmla="*/ 933 w 112628"/>
              <a:gd name="T7" fmla="*/ 61196 h 113495"/>
              <a:gd name="T8" fmla="*/ 19229 w 112628"/>
              <a:gd name="T9" fmla="*/ 99136 h 113495"/>
              <a:gd name="T10" fmla="*/ 55736 w 112628"/>
              <a:gd name="T11" fmla="*/ 113495 h 113495"/>
              <a:gd name="T12" fmla="*/ 70098 w 112628"/>
              <a:gd name="T13" fmla="*/ 111676 h 113495"/>
              <a:gd name="T14" fmla="*/ 103297 w 112628"/>
              <a:gd name="T15" fmla="*/ 88037 h 113495"/>
              <a:gd name="T16" fmla="*/ 112628 w 112628"/>
              <a:gd name="T17" fmla="*/ 61691 h 113495"/>
              <a:gd name="T18" fmla="*/ 111068 w 112628"/>
              <a:gd name="T19" fmla="*/ 45933 h 113495"/>
              <a:gd name="T20" fmla="*/ 89546 w 112628"/>
              <a:gd name="T21" fmla="*/ 10650 h 113495"/>
              <a:gd name="T22" fmla="*/ 65157 w 112628"/>
              <a:gd name="T23" fmla="*/ 0 h 113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628" h="113495">
                <a:moveTo>
                  <a:pt x="65157" y="0"/>
                </a:moveTo>
                <a:lnTo>
                  <a:pt x="21503" y="12099"/>
                </a:lnTo>
                <a:lnTo>
                  <a:pt x="0" y="43839"/>
                </a:lnTo>
                <a:lnTo>
                  <a:pt x="933" y="61196"/>
                </a:lnTo>
                <a:lnTo>
                  <a:pt x="19229" y="99136"/>
                </a:lnTo>
                <a:lnTo>
                  <a:pt x="55736" y="113495"/>
                </a:lnTo>
                <a:lnTo>
                  <a:pt x="70098" y="111676"/>
                </a:lnTo>
                <a:lnTo>
                  <a:pt x="103297" y="88037"/>
                </a:lnTo>
                <a:lnTo>
                  <a:pt x="112628" y="61691"/>
                </a:lnTo>
                <a:lnTo>
                  <a:pt x="111068" y="45933"/>
                </a:lnTo>
                <a:lnTo>
                  <a:pt x="89546" y="10650"/>
                </a:lnTo>
                <a:lnTo>
                  <a:pt x="65157"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44" name="object 31">
            <a:extLst>
              <a:ext uri="{FF2B5EF4-FFF2-40B4-BE49-F238E27FC236}">
                <a16:creationId xmlns:a16="http://schemas.microsoft.com/office/drawing/2014/main" id="{7993A7B8-4472-45EA-AFD2-D6C72A3C0BF9}"/>
              </a:ext>
            </a:extLst>
          </p:cNvPr>
          <p:cNvSpPr>
            <a:spLocks/>
          </p:cNvSpPr>
          <p:nvPr/>
        </p:nvSpPr>
        <p:spPr bwMode="auto">
          <a:xfrm>
            <a:off x="1290612" y="3353819"/>
            <a:ext cx="65096" cy="65096"/>
          </a:xfrm>
          <a:custGeom>
            <a:avLst/>
            <a:gdLst>
              <a:gd name="T0" fmla="*/ 65157 w 112628"/>
              <a:gd name="T1" fmla="*/ 0 h 113495"/>
              <a:gd name="T2" fmla="*/ 21503 w 112628"/>
              <a:gd name="T3" fmla="*/ 12099 h 113495"/>
              <a:gd name="T4" fmla="*/ 0 w 112628"/>
              <a:gd name="T5" fmla="*/ 43839 h 113495"/>
              <a:gd name="T6" fmla="*/ 933 w 112628"/>
              <a:gd name="T7" fmla="*/ 61196 h 113495"/>
              <a:gd name="T8" fmla="*/ 19229 w 112628"/>
              <a:gd name="T9" fmla="*/ 99136 h 113495"/>
              <a:gd name="T10" fmla="*/ 55736 w 112628"/>
              <a:gd name="T11" fmla="*/ 113495 h 113495"/>
              <a:gd name="T12" fmla="*/ 70098 w 112628"/>
              <a:gd name="T13" fmla="*/ 111676 h 113495"/>
              <a:gd name="T14" fmla="*/ 103297 w 112628"/>
              <a:gd name="T15" fmla="*/ 88037 h 113495"/>
              <a:gd name="T16" fmla="*/ 112628 w 112628"/>
              <a:gd name="T17" fmla="*/ 61691 h 113495"/>
              <a:gd name="T18" fmla="*/ 111068 w 112628"/>
              <a:gd name="T19" fmla="*/ 45933 h 113495"/>
              <a:gd name="T20" fmla="*/ 89546 w 112628"/>
              <a:gd name="T21" fmla="*/ 10650 h 113495"/>
              <a:gd name="T22" fmla="*/ 65157 w 112628"/>
              <a:gd name="T23" fmla="*/ 0 h 113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628" h="113495">
                <a:moveTo>
                  <a:pt x="65157" y="0"/>
                </a:moveTo>
                <a:lnTo>
                  <a:pt x="21503" y="12099"/>
                </a:lnTo>
                <a:lnTo>
                  <a:pt x="0" y="43839"/>
                </a:lnTo>
                <a:lnTo>
                  <a:pt x="933" y="61196"/>
                </a:lnTo>
                <a:lnTo>
                  <a:pt x="19229" y="99136"/>
                </a:lnTo>
                <a:lnTo>
                  <a:pt x="55736" y="113495"/>
                </a:lnTo>
                <a:lnTo>
                  <a:pt x="70098" y="111676"/>
                </a:lnTo>
                <a:lnTo>
                  <a:pt x="103297" y="88037"/>
                </a:lnTo>
                <a:lnTo>
                  <a:pt x="112628" y="61691"/>
                </a:lnTo>
                <a:lnTo>
                  <a:pt x="111068" y="45933"/>
                </a:lnTo>
                <a:lnTo>
                  <a:pt x="89546" y="10650"/>
                </a:lnTo>
                <a:lnTo>
                  <a:pt x="65157"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45" name="object 32">
            <a:extLst>
              <a:ext uri="{FF2B5EF4-FFF2-40B4-BE49-F238E27FC236}">
                <a16:creationId xmlns:a16="http://schemas.microsoft.com/office/drawing/2014/main" id="{B6A055E2-A461-4D31-A3E7-4B8660AC0ED4}"/>
              </a:ext>
            </a:extLst>
          </p:cNvPr>
          <p:cNvSpPr>
            <a:spLocks/>
          </p:cNvSpPr>
          <p:nvPr/>
        </p:nvSpPr>
        <p:spPr bwMode="auto">
          <a:xfrm>
            <a:off x="1290612" y="3837913"/>
            <a:ext cx="65096" cy="65096"/>
          </a:xfrm>
          <a:custGeom>
            <a:avLst/>
            <a:gdLst>
              <a:gd name="T0" fmla="*/ 65157 w 112628"/>
              <a:gd name="T1" fmla="*/ 0 h 113495"/>
              <a:gd name="T2" fmla="*/ 21503 w 112628"/>
              <a:gd name="T3" fmla="*/ 12099 h 113495"/>
              <a:gd name="T4" fmla="*/ 0 w 112628"/>
              <a:gd name="T5" fmla="*/ 43839 h 113495"/>
              <a:gd name="T6" fmla="*/ 933 w 112628"/>
              <a:gd name="T7" fmla="*/ 61196 h 113495"/>
              <a:gd name="T8" fmla="*/ 19229 w 112628"/>
              <a:gd name="T9" fmla="*/ 99136 h 113495"/>
              <a:gd name="T10" fmla="*/ 55736 w 112628"/>
              <a:gd name="T11" fmla="*/ 113495 h 113495"/>
              <a:gd name="T12" fmla="*/ 70098 w 112628"/>
              <a:gd name="T13" fmla="*/ 111676 h 113495"/>
              <a:gd name="T14" fmla="*/ 103297 w 112628"/>
              <a:gd name="T15" fmla="*/ 88037 h 113495"/>
              <a:gd name="T16" fmla="*/ 112628 w 112628"/>
              <a:gd name="T17" fmla="*/ 61691 h 113495"/>
              <a:gd name="T18" fmla="*/ 111068 w 112628"/>
              <a:gd name="T19" fmla="*/ 45933 h 113495"/>
              <a:gd name="T20" fmla="*/ 89546 w 112628"/>
              <a:gd name="T21" fmla="*/ 10650 h 113495"/>
              <a:gd name="T22" fmla="*/ 65157 w 112628"/>
              <a:gd name="T23" fmla="*/ 0 h 113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628" h="113495">
                <a:moveTo>
                  <a:pt x="65157" y="0"/>
                </a:moveTo>
                <a:lnTo>
                  <a:pt x="21503" y="12099"/>
                </a:lnTo>
                <a:lnTo>
                  <a:pt x="0" y="43839"/>
                </a:lnTo>
                <a:lnTo>
                  <a:pt x="933" y="61196"/>
                </a:lnTo>
                <a:lnTo>
                  <a:pt x="19229" y="99136"/>
                </a:lnTo>
                <a:lnTo>
                  <a:pt x="55736" y="113495"/>
                </a:lnTo>
                <a:lnTo>
                  <a:pt x="70098" y="111676"/>
                </a:lnTo>
                <a:lnTo>
                  <a:pt x="103297" y="88037"/>
                </a:lnTo>
                <a:lnTo>
                  <a:pt x="112628" y="61691"/>
                </a:lnTo>
                <a:lnTo>
                  <a:pt x="111068" y="45933"/>
                </a:lnTo>
                <a:lnTo>
                  <a:pt x="89546" y="10650"/>
                </a:lnTo>
                <a:lnTo>
                  <a:pt x="65157"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3" name="object 33">
            <a:extLst>
              <a:ext uri="{FF2B5EF4-FFF2-40B4-BE49-F238E27FC236}">
                <a16:creationId xmlns:a16="http://schemas.microsoft.com/office/drawing/2014/main" id="{5BDCD199-EA60-49CD-8A8B-B077D61938D7}"/>
              </a:ext>
            </a:extLst>
          </p:cNvPr>
          <p:cNvSpPr txBox="1"/>
          <p:nvPr/>
        </p:nvSpPr>
        <p:spPr>
          <a:xfrm>
            <a:off x="3571767" y="2443567"/>
            <a:ext cx="5179427" cy="1085194"/>
          </a:xfrm>
          <a:prstGeom prst="rect">
            <a:avLst/>
          </a:prstGeom>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marL="0" indent="0">
              <a:buNone/>
            </a:pPr>
            <a:r>
              <a:rPr lang="en-US" sz="2000" dirty="0" err="1"/>
              <a:t>လူတွေရဲ</a:t>
            </a:r>
            <a:r>
              <a:rPr lang="en-US" sz="2000" dirty="0"/>
              <a:t>့ </a:t>
            </a:r>
            <a:r>
              <a:rPr lang="en-US" sz="2000" dirty="0" err="1"/>
              <a:t>ခံနိုင်ရည်စွမ်းအားက</a:t>
            </a:r>
            <a:r>
              <a:rPr lang="en-US" sz="2000" dirty="0"/>
              <a:t> </a:t>
            </a:r>
            <a:r>
              <a:rPr lang="en-US" sz="2000" dirty="0" err="1"/>
              <a:t>မတူကြဘူး</a:t>
            </a:r>
            <a:r>
              <a:rPr lang="en-US" sz="2000" dirty="0"/>
              <a:t>..</a:t>
            </a:r>
          </a:p>
          <a:p>
            <a:pPr marL="0" indent="0">
              <a:buNone/>
            </a:pPr>
            <a:r>
              <a:rPr lang="en-US" sz="2000" dirty="0">
                <a:solidFill>
                  <a:srgbClr val="00B0F0"/>
                </a:solidFill>
              </a:rPr>
              <a:t> </a:t>
            </a:r>
          </a:p>
          <a:p>
            <a:pPr marL="0" indent="0">
              <a:buNone/>
            </a:pPr>
            <a:endParaRPr lang="en-US" sz="2000" dirty="0"/>
          </a:p>
          <a:p>
            <a:pPr>
              <a:lnSpc>
                <a:spcPts val="4194"/>
              </a:lnSpc>
            </a:pPr>
            <a:endParaRPr lang="en-US" altLang="en-US" sz="1400" dirty="0">
              <a:latin typeface="Gill Sans Light"/>
              <a:ea typeface="Gill Sans Light"/>
              <a:cs typeface="Gill Sans Light"/>
            </a:endParaRPr>
          </a:p>
        </p:txBody>
      </p:sp>
      <p:sp>
        <p:nvSpPr>
          <p:cNvPr id="34" name="object 34">
            <a:extLst>
              <a:ext uri="{FF2B5EF4-FFF2-40B4-BE49-F238E27FC236}">
                <a16:creationId xmlns:a16="http://schemas.microsoft.com/office/drawing/2014/main" id="{7D4A421B-9AF6-46B4-BCCF-4809B41CB1ED}"/>
              </a:ext>
            </a:extLst>
          </p:cNvPr>
          <p:cNvSpPr txBox="1"/>
          <p:nvPr/>
        </p:nvSpPr>
        <p:spPr>
          <a:xfrm>
            <a:off x="9056779" y="5065773"/>
            <a:ext cx="69313" cy="695702"/>
          </a:xfrm>
          <a:prstGeom prst="rect">
            <a:avLst/>
          </a:prstGeom>
        </p:spPr>
        <p:txBody>
          <a:bodyPr vert="vert270" lIns="0" tIns="0" rIns="0" bIns="0"/>
          <a:lstStyle/>
          <a:p>
            <a:pPr marL="7334">
              <a:defRPr/>
            </a:pPr>
            <a:r>
              <a:rPr sz="404" dirty="0">
                <a:solidFill>
                  <a:srgbClr val="FFFFFF"/>
                </a:solidFill>
                <a:latin typeface="Gill Sans"/>
                <a:cs typeface="Gill Sans"/>
              </a:rPr>
              <a:t>Chris de Bode/S</a:t>
            </a:r>
            <a:r>
              <a:rPr sz="404" spc="-14" dirty="0">
                <a:solidFill>
                  <a:srgbClr val="FFFFFF"/>
                </a:solidFill>
                <a:latin typeface="Gill Sans"/>
                <a:cs typeface="Gill Sans"/>
              </a:rPr>
              <a:t>a</a:t>
            </a:r>
            <a:r>
              <a:rPr sz="404" spc="-9" dirty="0">
                <a:solidFill>
                  <a:srgbClr val="FFFFFF"/>
                </a:solidFill>
                <a:latin typeface="Gill Sans"/>
                <a:cs typeface="Gill Sans"/>
              </a:rPr>
              <a:t>v</a:t>
            </a:r>
            <a:r>
              <a:rPr sz="404" dirty="0">
                <a:solidFill>
                  <a:srgbClr val="FFFFFF"/>
                </a:solidFill>
                <a:latin typeface="Gill Sans"/>
                <a:cs typeface="Gill Sans"/>
              </a:rPr>
              <a:t>e the Child</a:t>
            </a:r>
            <a:r>
              <a:rPr sz="404" spc="-9" dirty="0">
                <a:solidFill>
                  <a:srgbClr val="FFFFFF"/>
                </a:solidFill>
                <a:latin typeface="Gill Sans"/>
                <a:cs typeface="Gill Sans"/>
              </a:rPr>
              <a:t>r</a:t>
            </a:r>
            <a:r>
              <a:rPr sz="404" dirty="0">
                <a:solidFill>
                  <a:srgbClr val="FFFFFF"/>
                </a:solidFill>
                <a:latin typeface="Gill Sans"/>
                <a:cs typeface="Gill Sans"/>
              </a:rPr>
              <a:t>en</a:t>
            </a:r>
            <a:endParaRPr sz="404">
              <a:latin typeface="Gill Sans"/>
              <a:cs typeface="Gill Sans"/>
            </a:endParaRPr>
          </a:p>
        </p:txBody>
      </p:sp>
      <p:grpSp>
        <p:nvGrpSpPr>
          <p:cNvPr id="36" name="Group 35">
            <a:extLst>
              <a:ext uri="{FF2B5EF4-FFF2-40B4-BE49-F238E27FC236}">
                <a16:creationId xmlns:a16="http://schemas.microsoft.com/office/drawing/2014/main" id="{6133A9D1-153D-4B18-B7FB-B951FCE56E5D}"/>
              </a:ext>
            </a:extLst>
          </p:cNvPr>
          <p:cNvGrpSpPr/>
          <p:nvPr/>
        </p:nvGrpSpPr>
        <p:grpSpPr>
          <a:xfrm>
            <a:off x="152400" y="2209800"/>
            <a:ext cx="2598542" cy="1628113"/>
            <a:chOff x="838200" y="2514600"/>
            <a:chExt cx="2463800" cy="2050212"/>
          </a:xfrm>
        </p:grpSpPr>
        <p:sp>
          <p:nvSpPr>
            <p:cNvPr id="37" name="object 24">
              <a:extLst>
                <a:ext uri="{FF2B5EF4-FFF2-40B4-BE49-F238E27FC236}">
                  <a16:creationId xmlns:a16="http://schemas.microsoft.com/office/drawing/2014/main" id="{ACC26BC1-B838-405A-9A63-2EFB4C7FB58B}"/>
                </a:ext>
              </a:extLst>
            </p:cNvPr>
            <p:cNvSpPr>
              <a:spLocks/>
            </p:cNvSpPr>
            <p:nvPr/>
          </p:nvSpPr>
          <p:spPr bwMode="auto">
            <a:xfrm>
              <a:off x="838200" y="2514600"/>
              <a:ext cx="2463800" cy="2050212"/>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900"/>
            </a:p>
          </p:txBody>
        </p:sp>
        <p:sp>
          <p:nvSpPr>
            <p:cNvPr id="38" name="TextBox 37">
              <a:extLst>
                <a:ext uri="{FF2B5EF4-FFF2-40B4-BE49-F238E27FC236}">
                  <a16:creationId xmlns:a16="http://schemas.microsoft.com/office/drawing/2014/main" id="{D4DF3B46-5297-4275-AE8D-0BB996760F31}"/>
                </a:ext>
              </a:extLst>
            </p:cNvPr>
            <p:cNvSpPr txBox="1"/>
            <p:nvPr/>
          </p:nvSpPr>
          <p:spPr>
            <a:xfrm>
              <a:off x="1330959" y="3013501"/>
              <a:ext cx="1478281" cy="369332"/>
            </a:xfrm>
            <a:prstGeom prst="rect">
              <a:avLst/>
            </a:prstGeom>
            <a:noFill/>
          </p:spPr>
          <p:txBody>
            <a:bodyPr wrap="square" lIns="0" tIns="0" rIns="0" bIns="0" rtlCol="0">
              <a:spAutoFit/>
            </a:bodyPr>
            <a:lstStyle/>
            <a:p>
              <a:r>
                <a:rPr lang="en-US" sz="2400" dirty="0" err="1">
                  <a:solidFill>
                    <a:schemeClr val="bg1"/>
                  </a:solidFill>
                  <a:latin typeface="Gill Sans Infant Std"/>
                  <a:cs typeface="Gill Sans Infant Std"/>
                </a:rPr>
                <a:t>ဘာကြောင</a:t>
              </a:r>
              <a:r>
                <a:rPr lang="en-US" sz="2400" dirty="0">
                  <a:solidFill>
                    <a:schemeClr val="bg1"/>
                  </a:solidFill>
                  <a:latin typeface="Gill Sans Infant Std"/>
                  <a:cs typeface="Gill Sans Infant Std"/>
                </a:rPr>
                <a:t>့်</a:t>
              </a:r>
            </a:p>
          </p:txBody>
        </p:sp>
      </p:grpSp>
      <p:sp>
        <p:nvSpPr>
          <p:cNvPr id="39" name="Oval 38">
            <a:extLst>
              <a:ext uri="{FF2B5EF4-FFF2-40B4-BE49-F238E27FC236}">
                <a16:creationId xmlns:a16="http://schemas.microsoft.com/office/drawing/2014/main" id="{D9362533-2E3B-40E9-855B-0536B9157F63}"/>
              </a:ext>
            </a:extLst>
          </p:cNvPr>
          <p:cNvSpPr/>
          <p:nvPr/>
        </p:nvSpPr>
        <p:spPr>
          <a:xfrm>
            <a:off x="3632363" y="4197731"/>
            <a:ext cx="1253432" cy="752467"/>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မိသားစု</a:t>
            </a:r>
            <a:r>
              <a:rPr lang="en-US" sz="1600" dirty="0"/>
              <a:t> </a:t>
            </a:r>
            <a:r>
              <a:rPr lang="en-US" sz="1600" dirty="0" err="1"/>
              <a:t>ပံ့ပိုးမှု</a:t>
            </a:r>
            <a:endParaRPr lang="en-US" sz="1600" dirty="0"/>
          </a:p>
        </p:txBody>
      </p:sp>
      <p:sp>
        <p:nvSpPr>
          <p:cNvPr id="40" name="Oval 39">
            <a:extLst>
              <a:ext uri="{FF2B5EF4-FFF2-40B4-BE49-F238E27FC236}">
                <a16:creationId xmlns:a16="http://schemas.microsoft.com/office/drawing/2014/main" id="{E76750B0-ABEF-4067-9013-A89C8F856F11}"/>
              </a:ext>
            </a:extLst>
          </p:cNvPr>
          <p:cNvSpPr/>
          <p:nvPr/>
        </p:nvSpPr>
        <p:spPr>
          <a:xfrm>
            <a:off x="3261359" y="3164264"/>
            <a:ext cx="1264602" cy="7736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အတွေ့အကြုံ</a:t>
            </a:r>
            <a:endParaRPr lang="en-US" sz="1600" dirty="0"/>
          </a:p>
        </p:txBody>
      </p:sp>
      <p:sp>
        <p:nvSpPr>
          <p:cNvPr id="41" name="Oval 40">
            <a:extLst>
              <a:ext uri="{FF2B5EF4-FFF2-40B4-BE49-F238E27FC236}">
                <a16:creationId xmlns:a16="http://schemas.microsoft.com/office/drawing/2014/main" id="{2B336737-0C73-44A3-A6A2-EA52E4AAFD26}"/>
              </a:ext>
            </a:extLst>
          </p:cNvPr>
          <p:cNvSpPr/>
          <p:nvPr/>
        </p:nvSpPr>
        <p:spPr>
          <a:xfrm>
            <a:off x="5558785" y="4422860"/>
            <a:ext cx="1230086" cy="1038144"/>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အသက်အရွယ</a:t>
            </a:r>
            <a:r>
              <a:rPr lang="en-US" sz="1600" dirty="0"/>
              <a:t>်</a:t>
            </a:r>
          </a:p>
        </p:txBody>
      </p:sp>
      <p:sp>
        <p:nvSpPr>
          <p:cNvPr id="42" name="Oval 41">
            <a:extLst>
              <a:ext uri="{FF2B5EF4-FFF2-40B4-BE49-F238E27FC236}">
                <a16:creationId xmlns:a16="http://schemas.microsoft.com/office/drawing/2014/main" id="{302B5DD8-F74B-4884-9024-195963F71A43}"/>
              </a:ext>
            </a:extLst>
          </p:cNvPr>
          <p:cNvSpPr/>
          <p:nvPr/>
        </p:nvSpPr>
        <p:spPr>
          <a:xfrm>
            <a:off x="448235" y="4145458"/>
            <a:ext cx="2113801" cy="877043"/>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ခန္ဓာကျန်းမာရေး</a:t>
            </a:r>
            <a:endParaRPr lang="en-US" sz="1600" dirty="0"/>
          </a:p>
        </p:txBody>
      </p:sp>
      <p:sp>
        <p:nvSpPr>
          <p:cNvPr id="43" name="Oval 42">
            <a:extLst>
              <a:ext uri="{FF2B5EF4-FFF2-40B4-BE49-F238E27FC236}">
                <a16:creationId xmlns:a16="http://schemas.microsoft.com/office/drawing/2014/main" id="{5F19758D-C4E7-4001-9931-245904EA3596}"/>
              </a:ext>
            </a:extLst>
          </p:cNvPr>
          <p:cNvSpPr/>
          <p:nvPr/>
        </p:nvSpPr>
        <p:spPr>
          <a:xfrm>
            <a:off x="5144265" y="3296136"/>
            <a:ext cx="1511632" cy="683476"/>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a:t>သူငယ်ချင်း</a:t>
            </a:r>
            <a:endParaRPr lang="en-US" sz="1400" dirty="0"/>
          </a:p>
        </p:txBody>
      </p:sp>
      <p:sp>
        <p:nvSpPr>
          <p:cNvPr id="44" name="Oval 43">
            <a:extLst>
              <a:ext uri="{FF2B5EF4-FFF2-40B4-BE49-F238E27FC236}">
                <a16:creationId xmlns:a16="http://schemas.microsoft.com/office/drawing/2014/main" id="{2FF2881E-E6F8-4796-BD13-15447F45011E}"/>
              </a:ext>
            </a:extLst>
          </p:cNvPr>
          <p:cNvSpPr/>
          <p:nvPr/>
        </p:nvSpPr>
        <p:spPr>
          <a:xfrm>
            <a:off x="2185472" y="4842035"/>
            <a:ext cx="2041353" cy="91315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လူမှု</a:t>
            </a:r>
            <a:endParaRPr lang="en-US" sz="1600" dirty="0"/>
          </a:p>
          <a:p>
            <a:pPr algn="ctr"/>
            <a:r>
              <a:rPr lang="en-US" sz="1600" dirty="0" err="1"/>
              <a:t>အထောက်အပံ</a:t>
            </a:r>
            <a:r>
              <a:rPr lang="en-US" sz="1600" dirty="0"/>
              <a:t>့</a:t>
            </a:r>
          </a:p>
        </p:txBody>
      </p:sp>
      <p:sp>
        <p:nvSpPr>
          <p:cNvPr id="45" name="Oval 44">
            <a:extLst>
              <a:ext uri="{FF2B5EF4-FFF2-40B4-BE49-F238E27FC236}">
                <a16:creationId xmlns:a16="http://schemas.microsoft.com/office/drawing/2014/main" id="{7860C206-5C59-4235-830B-E9C411192EDC}"/>
              </a:ext>
            </a:extLst>
          </p:cNvPr>
          <p:cNvSpPr/>
          <p:nvPr/>
        </p:nvSpPr>
        <p:spPr>
          <a:xfrm>
            <a:off x="7104106" y="2804319"/>
            <a:ext cx="1525849" cy="77339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ရိုးရာယဥ</a:t>
            </a:r>
            <a:r>
              <a:rPr lang="en-US" sz="1600" dirty="0"/>
              <a:t>◌်</a:t>
            </a:r>
            <a:r>
              <a:rPr lang="en-US" sz="1600" dirty="0" err="1"/>
              <a:t>ကျေးမှု</a:t>
            </a:r>
            <a:endParaRPr lang="en-US" sz="1600" dirty="0"/>
          </a:p>
        </p:txBody>
      </p:sp>
      <p:sp>
        <p:nvSpPr>
          <p:cNvPr id="46" name="Oval 45">
            <a:extLst>
              <a:ext uri="{FF2B5EF4-FFF2-40B4-BE49-F238E27FC236}">
                <a16:creationId xmlns:a16="http://schemas.microsoft.com/office/drawing/2014/main" id="{2A04890D-9D93-485C-B2FB-313073E21D9E}"/>
              </a:ext>
            </a:extLst>
          </p:cNvPr>
          <p:cNvSpPr/>
          <p:nvPr/>
        </p:nvSpPr>
        <p:spPr>
          <a:xfrm>
            <a:off x="7355977" y="3948878"/>
            <a:ext cx="1511632" cy="75623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ပြင်းထန်မှု</a:t>
            </a:r>
            <a:endParaRPr lang="en-US" sz="1600" dirty="0"/>
          </a:p>
        </p:txBody>
      </p:sp>
      <p:sp>
        <p:nvSpPr>
          <p:cNvPr id="47" name="Oval 46">
            <a:extLst>
              <a:ext uri="{FF2B5EF4-FFF2-40B4-BE49-F238E27FC236}">
                <a16:creationId xmlns:a16="http://schemas.microsoft.com/office/drawing/2014/main" id="{05F86FCE-B2A4-46EA-8401-FFCEB63DBE5D}"/>
              </a:ext>
            </a:extLst>
          </p:cNvPr>
          <p:cNvSpPr/>
          <p:nvPr/>
        </p:nvSpPr>
        <p:spPr>
          <a:xfrm>
            <a:off x="6734923" y="4827808"/>
            <a:ext cx="2141664" cy="887192"/>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err="1"/>
              <a:t>ကျန်းမာရေး</a:t>
            </a:r>
            <a:r>
              <a:rPr lang="en-US" sz="1600" dirty="0"/>
              <a:t> </a:t>
            </a:r>
            <a:r>
              <a:rPr lang="en-US" sz="1600" dirty="0" err="1"/>
              <a:t>ရာဇဝင</a:t>
            </a:r>
            <a:r>
              <a:rPr lang="en-US" sz="1600" dirty="0"/>
              <a:t>်</a:t>
            </a:r>
          </a:p>
        </p:txBody>
      </p:sp>
      <p:sp>
        <p:nvSpPr>
          <p:cNvPr id="2" name="TextBox 1">
            <a:extLst>
              <a:ext uri="{FF2B5EF4-FFF2-40B4-BE49-F238E27FC236}">
                <a16:creationId xmlns:a16="http://schemas.microsoft.com/office/drawing/2014/main" id="{F1B0D204-8A8A-4B2D-BF84-DF921B8BA555}"/>
              </a:ext>
            </a:extLst>
          </p:cNvPr>
          <p:cNvSpPr txBox="1"/>
          <p:nvPr/>
        </p:nvSpPr>
        <p:spPr>
          <a:xfrm>
            <a:off x="2782902" y="1120644"/>
            <a:ext cx="5025062" cy="461665"/>
          </a:xfrm>
          <a:prstGeom prst="rect">
            <a:avLst/>
          </a:prstGeom>
          <a:noFill/>
        </p:spPr>
        <p:txBody>
          <a:bodyPr wrap="square" lIns="0" tIns="0" rIns="0" bIns="0" rtlCol="0">
            <a:spAutoFit/>
          </a:bodyPr>
          <a:lstStyle/>
          <a:p>
            <a:pPr algn="ctr"/>
            <a:r>
              <a:rPr lang="en-US" sz="1500" dirty="0" err="1">
                <a:latin typeface="Gill Sans Infant Std"/>
                <a:cs typeface="Gill Sans Infant Std"/>
              </a:rPr>
              <a:t>ကြုံတွေ့ရတဲ</a:t>
            </a:r>
            <a:r>
              <a:rPr lang="en-US" sz="1500" dirty="0">
                <a:latin typeface="Gill Sans Infant Std"/>
                <a:cs typeface="Gill Sans Infant Std"/>
              </a:rPr>
              <a:t>့ </a:t>
            </a:r>
            <a:r>
              <a:rPr lang="en-US" sz="1500" dirty="0" err="1">
                <a:latin typeface="Gill Sans Infant Std"/>
                <a:cs typeface="Gill Sans Infant Std"/>
              </a:rPr>
              <a:t>လောကဓံကို</a:t>
            </a:r>
            <a:r>
              <a:rPr lang="en-US" sz="1500" dirty="0">
                <a:latin typeface="Gill Sans Infant Std"/>
                <a:cs typeface="Gill Sans Infant Std"/>
              </a:rPr>
              <a:t> </a:t>
            </a:r>
            <a:r>
              <a:rPr lang="en-US" sz="1500" dirty="0" err="1">
                <a:latin typeface="Gill Sans Infant Std"/>
                <a:cs typeface="Gill Sans Infant Std"/>
              </a:rPr>
              <a:t>တွန်းလှန်ကျော်လ</a:t>
            </a:r>
            <a:r>
              <a:rPr lang="en-US" sz="1500" dirty="0">
                <a:latin typeface="Gill Sans Infant Std"/>
                <a:cs typeface="Gill Sans Infant Std"/>
              </a:rPr>
              <a:t>ွှ</a:t>
            </a:r>
            <a:r>
              <a:rPr lang="en-US" sz="1500" dirty="0" err="1">
                <a:latin typeface="Gill Sans Infant Std"/>
                <a:cs typeface="Gill Sans Infant Std"/>
              </a:rPr>
              <a:t>ားပြီး</a:t>
            </a:r>
            <a:r>
              <a:rPr lang="en-US" sz="1500" dirty="0">
                <a:latin typeface="Gill Sans Infant Std"/>
                <a:cs typeface="Gill Sans Infant Std"/>
              </a:rPr>
              <a:t> </a:t>
            </a:r>
            <a:r>
              <a:rPr lang="en-US" sz="1500" dirty="0" err="1">
                <a:latin typeface="Gill Sans Infant Std"/>
                <a:cs typeface="Gill Sans Infant Std"/>
              </a:rPr>
              <a:t>ပုံမှန်အခြေအနေကို</a:t>
            </a:r>
            <a:r>
              <a:rPr lang="en-US" sz="1500" dirty="0">
                <a:latin typeface="Gill Sans Infant Std"/>
                <a:cs typeface="Gill Sans Infant Std"/>
              </a:rPr>
              <a:t> </a:t>
            </a:r>
            <a:r>
              <a:rPr lang="en-US" sz="1500" dirty="0" err="1">
                <a:latin typeface="Gill Sans Infant Std"/>
                <a:cs typeface="Gill Sans Infant Std"/>
              </a:rPr>
              <a:t>အမြန်ဆုံး</a:t>
            </a:r>
            <a:r>
              <a:rPr lang="en-US" sz="1500" dirty="0">
                <a:latin typeface="Gill Sans Infant Std"/>
                <a:cs typeface="Gill Sans Infant Std"/>
              </a:rPr>
              <a:t> </a:t>
            </a:r>
            <a:r>
              <a:rPr lang="en-US" sz="1500" dirty="0" err="1">
                <a:latin typeface="Gill Sans Infant Std"/>
                <a:cs typeface="Gill Sans Infant Std"/>
              </a:rPr>
              <a:t>ပြန်လည</a:t>
            </a:r>
            <a:r>
              <a:rPr lang="en-US" sz="1500" dirty="0">
                <a:latin typeface="Gill Sans Infant Std"/>
                <a:cs typeface="Gill Sans Infant Std"/>
              </a:rPr>
              <a:t>် </a:t>
            </a:r>
            <a:r>
              <a:rPr lang="en-US" sz="1500" dirty="0" err="1">
                <a:latin typeface="Gill Sans Infant Std"/>
                <a:cs typeface="Gill Sans Infant Std"/>
              </a:rPr>
              <a:t>နလံထနိုင်သည</a:t>
            </a:r>
            <a:r>
              <a:rPr lang="en-US" sz="1500" dirty="0">
                <a:latin typeface="Gill Sans Infant Std"/>
                <a:cs typeface="Gill Sans Infant Std"/>
              </a:rPr>
              <a:t>့် </a:t>
            </a:r>
            <a:r>
              <a:rPr lang="en-US" sz="1500" dirty="0" err="1">
                <a:latin typeface="Gill Sans Infant Std"/>
                <a:cs typeface="Gill Sans Infant Std"/>
              </a:rPr>
              <a:t>စွမ်းအား</a:t>
            </a:r>
            <a:endParaRPr lang="en-US" sz="1500" dirty="0">
              <a:latin typeface="Gill Sans Infant Std"/>
              <a:cs typeface="Gill Sans Infant Std"/>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12E4214-D640-4D1A-8175-23ED0AEB050A}"/>
              </a:ext>
            </a:extLst>
          </p:cNvPr>
          <p:cNvGrpSpPr/>
          <p:nvPr/>
        </p:nvGrpSpPr>
        <p:grpSpPr>
          <a:xfrm>
            <a:off x="304800" y="2209800"/>
            <a:ext cx="2667000" cy="2050212"/>
            <a:chOff x="838200" y="2514600"/>
            <a:chExt cx="2667000" cy="2050212"/>
          </a:xfrm>
        </p:grpSpPr>
        <p:sp>
          <p:nvSpPr>
            <p:cNvPr id="5" name="object 24">
              <a:extLst>
                <a:ext uri="{FF2B5EF4-FFF2-40B4-BE49-F238E27FC236}">
                  <a16:creationId xmlns:a16="http://schemas.microsoft.com/office/drawing/2014/main" id="{5641A61E-ED01-446D-B52B-7175B50F88D2}"/>
                </a:ext>
              </a:extLst>
            </p:cNvPr>
            <p:cNvSpPr>
              <a:spLocks/>
            </p:cNvSpPr>
            <p:nvPr/>
          </p:nvSpPr>
          <p:spPr bwMode="auto">
            <a:xfrm>
              <a:off x="838200" y="2514600"/>
              <a:ext cx="2463800" cy="2050212"/>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900"/>
            </a:p>
          </p:txBody>
        </p:sp>
        <p:sp>
          <p:nvSpPr>
            <p:cNvPr id="6" name="TextBox 5">
              <a:extLst>
                <a:ext uri="{FF2B5EF4-FFF2-40B4-BE49-F238E27FC236}">
                  <a16:creationId xmlns:a16="http://schemas.microsoft.com/office/drawing/2014/main" id="{CAC15518-4340-4895-82E0-3E84778D0116}"/>
                </a:ext>
              </a:extLst>
            </p:cNvPr>
            <p:cNvSpPr txBox="1"/>
            <p:nvPr/>
          </p:nvSpPr>
          <p:spPr>
            <a:xfrm>
              <a:off x="1143000" y="3013500"/>
              <a:ext cx="2362200" cy="553998"/>
            </a:xfrm>
            <a:prstGeom prst="rect">
              <a:avLst/>
            </a:prstGeom>
            <a:noFill/>
          </p:spPr>
          <p:txBody>
            <a:bodyPr wrap="square" lIns="0" tIns="0" rIns="0" bIns="0" rtlCol="0">
              <a:spAutoFit/>
            </a:bodyPr>
            <a:lstStyle/>
            <a:p>
              <a:r>
                <a:rPr lang="en-US" sz="3600" dirty="0" err="1">
                  <a:solidFill>
                    <a:schemeClr val="bg1"/>
                  </a:solidFill>
                  <a:latin typeface="Gill Sans Infant Std"/>
                  <a:cs typeface="Gill Sans Infant Std"/>
                </a:rPr>
                <a:t>ဘာကြောင</a:t>
              </a:r>
              <a:r>
                <a:rPr lang="en-US" sz="3600" dirty="0">
                  <a:solidFill>
                    <a:schemeClr val="bg1"/>
                  </a:solidFill>
                  <a:latin typeface="Gill Sans Infant Std"/>
                  <a:cs typeface="Gill Sans Infant Std"/>
                </a:rPr>
                <a:t>့်</a:t>
              </a:r>
            </a:p>
          </p:txBody>
        </p:sp>
      </p:grpSp>
      <p:sp>
        <p:nvSpPr>
          <p:cNvPr id="8" name="Title 7">
            <a:extLst>
              <a:ext uri="{FF2B5EF4-FFF2-40B4-BE49-F238E27FC236}">
                <a16:creationId xmlns:a16="http://schemas.microsoft.com/office/drawing/2014/main" id="{4D907E65-979C-4425-A8B5-B82938CE57E2}"/>
              </a:ext>
            </a:extLst>
          </p:cNvPr>
          <p:cNvSpPr>
            <a:spLocks noGrp="1"/>
          </p:cNvSpPr>
          <p:nvPr>
            <p:ph type="title"/>
          </p:nvPr>
        </p:nvSpPr>
        <p:spPr/>
        <p:txBody>
          <a:bodyPr/>
          <a:lstStyle/>
          <a:p>
            <a:endParaRPr lang="en-US" dirty="0"/>
          </a:p>
        </p:txBody>
      </p:sp>
      <p:sp>
        <p:nvSpPr>
          <p:cNvPr id="9" name="Content Placeholder 2">
            <a:extLst>
              <a:ext uri="{FF2B5EF4-FFF2-40B4-BE49-F238E27FC236}">
                <a16:creationId xmlns:a16="http://schemas.microsoft.com/office/drawing/2014/main" id="{3AD2FA5D-A044-4ACF-8E0E-D3A6B39451B1}"/>
              </a:ext>
            </a:extLst>
          </p:cNvPr>
          <p:cNvSpPr>
            <a:spLocks noGrp="1"/>
          </p:cNvSpPr>
          <p:nvPr>
            <p:ph idx="1"/>
          </p:nvPr>
        </p:nvSpPr>
        <p:spPr>
          <a:xfrm>
            <a:off x="3261358" y="1600216"/>
            <a:ext cx="5425441" cy="4525963"/>
          </a:xfrm>
        </p:spPr>
        <p:txBody>
          <a:bodyPr/>
          <a:lstStyle/>
          <a:p>
            <a:pPr marL="268288" indent="0">
              <a:lnSpc>
                <a:spcPct val="150000"/>
              </a:lnSpc>
              <a:buClr>
                <a:schemeClr val="tx1"/>
              </a:buClr>
              <a:buNone/>
            </a:pPr>
            <a:r>
              <a:rPr lang="en-US" altLang="en-US" sz="1600" dirty="0" err="1">
                <a:latin typeface="Zawgyi-One" panose="020B0604030504040204" pitchFamily="34" charset="0"/>
                <a:cs typeface="Zawgyi-One" panose="020B0604030504040204" pitchFamily="34" charset="0"/>
              </a:rPr>
              <a:t>လူေတြက</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အခ်ိန္ေတ</a:t>
            </a:r>
            <a:r>
              <a:rPr lang="en-US" altLang="en-US" sz="1600" dirty="0">
                <a:latin typeface="Zawgyi-One" panose="020B0604030504040204" pitchFamily="34" charset="0"/>
                <a:cs typeface="Zawgyi-One" panose="020B0604030504040204" pitchFamily="34" charset="0"/>
              </a:rPr>
              <a:t>ြၾ</a:t>
            </a:r>
            <a:r>
              <a:rPr lang="en-US" altLang="en-US" sz="1600" dirty="0" err="1">
                <a:latin typeface="Zawgyi-One" panose="020B0604030504040204" pitchFamily="34" charset="0"/>
                <a:cs typeface="Zawgyi-One" panose="020B0604030504040204" pitchFamily="34" charset="0"/>
              </a:rPr>
              <a:t>ကာလာတာနဲ</a:t>
            </a:r>
            <a:r>
              <a:rPr lang="en-US" altLang="en-US" sz="1600" dirty="0">
                <a:latin typeface="Zawgyi-One" panose="020B0604030504040204" pitchFamily="34" charset="0"/>
                <a:cs typeface="Zawgyi-One" panose="020B0604030504040204" pitchFamily="34" charset="0"/>
              </a:rPr>
              <a:t>႔ </a:t>
            </a:r>
            <a:r>
              <a:rPr lang="en-US" altLang="en-US" sz="1600" dirty="0" err="1">
                <a:latin typeface="Zawgyi-One" panose="020B0604030504040204" pitchFamily="34" charset="0"/>
                <a:cs typeface="Zawgyi-One" panose="020B0604030504040204" pitchFamily="34" charset="0"/>
              </a:rPr>
              <a:t>ပုိမို</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တုိးတက္ေကာင္းမြန္လာႏုိင္တယ</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အကယ</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သူတုိ႔သာ</a:t>
            </a:r>
            <a:r>
              <a:rPr lang="en-US" altLang="en-US" sz="1600" dirty="0">
                <a:latin typeface="Zawgyi-One" panose="020B0604030504040204" pitchFamily="34" charset="0"/>
                <a:cs typeface="Zawgyi-One" panose="020B0604030504040204" pitchFamily="34" charset="0"/>
              </a:rPr>
              <a:t>..</a:t>
            </a:r>
          </a:p>
          <a:p>
            <a:pPr marL="611188">
              <a:lnSpc>
                <a:spcPct val="150000"/>
              </a:lnSpc>
              <a:buClr>
                <a:schemeClr val="tx1"/>
              </a:buClr>
            </a:pPr>
            <a:r>
              <a:rPr lang="en-US" altLang="en-US" sz="1600" dirty="0" err="1">
                <a:latin typeface="Zawgyi-One" panose="020B0604030504040204" pitchFamily="34" charset="0"/>
                <a:cs typeface="Zawgyi-One" panose="020B0604030504040204" pitchFamily="34" charset="0"/>
              </a:rPr>
              <a:t>လံုၿခံဳမႈကို</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ခံစားရမယ</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အျခားသူမ်ား</a:t>
            </a:r>
            <a:r>
              <a:rPr lang="en-US" altLang="en-US" sz="1600" dirty="0">
                <a:latin typeface="Zawgyi-One" panose="020B0604030504040204" pitchFamily="34" charset="0"/>
                <a:cs typeface="Zawgyi-One" panose="020B0604030504040204" pitchFamily="34" charset="0"/>
              </a:rPr>
              <a:t>ႏွ</a:t>
            </a:r>
            <a:r>
              <a:rPr lang="en-US" altLang="en-US" sz="1600" dirty="0" err="1">
                <a:latin typeface="Zawgyi-One" panose="020B0604030504040204" pitchFamily="34" charset="0"/>
                <a:cs typeface="Zawgyi-One" panose="020B0604030504040204" pitchFamily="34" charset="0"/>
              </a:rPr>
              <a:t>င</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ခ်ိတ္ဆက</a:t>
            </a:r>
            <a:r>
              <a:rPr lang="en-US" altLang="en-US" sz="1600" dirty="0">
                <a:latin typeface="Zawgyi-One" panose="020B0604030504040204" pitchFamily="34" charset="0"/>
                <a:cs typeface="Zawgyi-One" panose="020B0604030504040204" pitchFamily="34" charset="0"/>
              </a:rPr>
              <a:t>္ႏ</a:t>
            </a:r>
            <a:r>
              <a:rPr lang="en-US" altLang="en-US" sz="1600" dirty="0" err="1">
                <a:latin typeface="Zawgyi-One" panose="020B0604030504040204" pitchFamily="34" charset="0"/>
                <a:cs typeface="Zawgyi-One" panose="020B0604030504040204" pitchFamily="34" charset="0"/>
              </a:rPr>
              <a:t>ုိင္မယ</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စိတ္တည</a:t>
            </a:r>
            <a:r>
              <a:rPr lang="en-US" altLang="en-US" sz="1600" dirty="0">
                <a:latin typeface="Zawgyi-One" panose="020B0604030504040204" pitchFamily="34" charset="0"/>
                <a:cs typeface="Zawgyi-One" panose="020B0604030504040204" pitchFamily="34" charset="0"/>
              </a:rPr>
              <a:t>္ၿ</a:t>
            </a:r>
            <a:r>
              <a:rPr lang="en-US" altLang="en-US" sz="1600" dirty="0" err="1">
                <a:latin typeface="Zawgyi-One" panose="020B0604030504040204" pitchFamily="34" charset="0"/>
                <a:cs typeface="Zawgyi-One" panose="020B0604030504040204" pitchFamily="34" charset="0"/>
              </a:rPr>
              <a:t>ငိမ္မ</a:t>
            </a:r>
            <a:r>
              <a:rPr lang="en-US" altLang="en-US" sz="1600" dirty="0">
                <a:latin typeface="Zawgyi-One" panose="020B0604030504040204" pitchFamily="34" charset="0"/>
                <a:cs typeface="Zawgyi-One" panose="020B0604030504040204" pitchFamily="34" charset="0"/>
              </a:rPr>
              <a:t>ႈႏွ</a:t>
            </a:r>
            <a:r>
              <a:rPr lang="en-US" altLang="en-US" sz="1600" dirty="0" err="1">
                <a:latin typeface="Zawgyi-One" panose="020B0604030504040204" pitchFamily="34" charset="0"/>
                <a:cs typeface="Zawgyi-One" panose="020B0604030504040204" pitchFamily="34" charset="0"/>
              </a:rPr>
              <a:t>င</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မ</a:t>
            </a:r>
            <a:r>
              <a:rPr lang="en-US" altLang="en-US" sz="1600" dirty="0">
                <a:latin typeface="Zawgyi-One" panose="020B0604030504040204" pitchFamily="34" charset="0"/>
                <a:cs typeface="Zawgyi-One" panose="020B0604030504040204" pitchFamily="34" charset="0"/>
              </a:rPr>
              <a:t>ွ်</a:t>
            </a:r>
            <a:r>
              <a:rPr lang="en-US" altLang="en-US" sz="1600" dirty="0" err="1">
                <a:latin typeface="Zawgyi-One" panose="020B0604030504040204" pitchFamily="34" charset="0"/>
                <a:cs typeface="Zawgyi-One" panose="020B0604030504040204" pitchFamily="34" charset="0"/>
              </a:rPr>
              <a:t>ာ္လင</a:t>
            </a:r>
            <a:r>
              <a:rPr lang="en-US" altLang="en-US" sz="1600" dirty="0">
                <a:latin typeface="Zawgyi-One" panose="020B0604030504040204" pitchFamily="34" charset="0"/>
                <a:cs typeface="Zawgyi-One" panose="020B0604030504040204" pitchFamily="34" charset="0"/>
              </a:rPr>
              <a:t>့္</a:t>
            </a:r>
            <a:r>
              <a:rPr lang="en-US" altLang="en-US" sz="1600" dirty="0" err="1">
                <a:latin typeface="Zawgyi-One" panose="020B0604030504040204" pitchFamily="34" charset="0"/>
                <a:cs typeface="Zawgyi-One" panose="020B0604030504040204" pitchFamily="34" charset="0"/>
              </a:rPr>
              <a:t>ခ်က္ေတ</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ရွင္သန္ေနမယ္ဆုိရင</a:t>
            </a:r>
            <a:r>
              <a:rPr lang="en-US" altLang="en-US" sz="1600" dirty="0">
                <a:latin typeface="Zawgyi-One" panose="020B0604030504040204" pitchFamily="34" charset="0"/>
                <a:cs typeface="Zawgyi-One" panose="020B0604030504040204" pitchFamily="34" charset="0"/>
              </a:rPr>
              <a:t>္</a:t>
            </a:r>
            <a:r>
              <a:rPr lang="mr-IN" altLang="en-US" sz="1600" dirty="0">
                <a:latin typeface="Zawgyi-One" panose="020B0604030504040204" pitchFamily="34" charset="0"/>
                <a:cs typeface="Zawgyi-One" panose="020B0604030504040204" pitchFamily="34" charset="0"/>
              </a:rPr>
              <a:t>…</a:t>
            </a:r>
            <a:endParaRPr lang="en-US" altLang="en-US" sz="1600" dirty="0">
              <a:latin typeface="Zawgyi-One" panose="020B0604030504040204" pitchFamily="34" charset="0"/>
              <a:cs typeface="Zawgyi-One" panose="020B0604030504040204" pitchFamily="34" charset="0"/>
            </a:endParaRPr>
          </a:p>
          <a:p>
            <a:pPr marL="611188">
              <a:lnSpc>
                <a:spcPct val="150000"/>
              </a:lnSpc>
              <a:buClr>
                <a:schemeClr val="tx1"/>
              </a:buClr>
            </a:pPr>
            <a:r>
              <a:rPr lang="en-US" altLang="en-US" sz="1600" dirty="0" err="1">
                <a:latin typeface="Zawgyi-One" panose="020B0604030504040204" pitchFamily="34" charset="0"/>
                <a:cs typeface="Zawgyi-One" panose="020B0604030504040204" pitchFamily="34" charset="0"/>
              </a:rPr>
              <a:t>လူမ</a:t>
            </a:r>
            <a:r>
              <a:rPr lang="en-US" altLang="en-US" sz="1600" dirty="0">
                <a:latin typeface="Zawgyi-One" panose="020B0604030504040204" pitchFamily="34" charset="0"/>
                <a:cs typeface="Zawgyi-One" panose="020B0604030504040204" pitchFamily="34" charset="0"/>
              </a:rPr>
              <a:t>ႈ၊ ႐</a:t>
            </a:r>
            <a:r>
              <a:rPr lang="en-US" altLang="en-US" sz="1600" dirty="0" err="1">
                <a:latin typeface="Zawgyi-One" panose="020B0604030504040204" pitchFamily="34" charset="0"/>
                <a:cs typeface="Zawgyi-One" panose="020B0604030504040204" pitchFamily="34" charset="0"/>
              </a:rPr>
              <a:t>ုပ္ပုိင္း</a:t>
            </a:r>
            <a:r>
              <a:rPr lang="en-US" altLang="en-US" sz="1600" dirty="0">
                <a:latin typeface="Zawgyi-One" panose="020B0604030504040204" pitchFamily="34" charset="0"/>
                <a:cs typeface="Zawgyi-One" panose="020B0604030504040204" pitchFamily="34" charset="0"/>
              </a:rPr>
              <a:t>ႏွ</a:t>
            </a:r>
            <a:r>
              <a:rPr lang="en-US" altLang="en-US" sz="1600" dirty="0" err="1">
                <a:latin typeface="Zawgyi-One" panose="020B0604030504040204" pitchFamily="34" charset="0"/>
                <a:cs typeface="Zawgyi-One" panose="020B0604030504040204" pitchFamily="34" charset="0"/>
              </a:rPr>
              <a:t>င</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ခံစားမႈပုိင္းဆိုင္ရာ</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အေထာက္အပံ့မ်ားကို</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လက္လွမ္းမွီ</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အသံုးျပ</a:t>
            </a:r>
            <a:r>
              <a:rPr lang="en-US" altLang="en-US" sz="1600" dirty="0">
                <a:latin typeface="Zawgyi-One" panose="020B0604030504040204" pitchFamily="34" charset="0"/>
                <a:cs typeface="Zawgyi-One" panose="020B0604030504040204" pitchFamily="34" charset="0"/>
              </a:rPr>
              <a:t>ဳႏ</a:t>
            </a:r>
            <a:r>
              <a:rPr lang="en-US" altLang="en-US" sz="1600" dirty="0" err="1">
                <a:latin typeface="Zawgyi-One" panose="020B0604030504040204" pitchFamily="34" charset="0"/>
                <a:cs typeface="Zawgyi-One" panose="020B0604030504040204" pitchFamily="34" charset="0"/>
              </a:rPr>
              <a:t>ုိင္ခြင</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ရွိမယ္ဆုိရင</a:t>
            </a:r>
            <a:r>
              <a:rPr lang="en-US" altLang="en-US" sz="1600" dirty="0">
                <a:latin typeface="Zawgyi-One" panose="020B0604030504040204" pitchFamily="34" charset="0"/>
                <a:cs typeface="Zawgyi-One" panose="020B0604030504040204" pitchFamily="34" charset="0"/>
              </a:rPr>
              <a:t>္</a:t>
            </a:r>
            <a:r>
              <a:rPr lang="mr-IN" altLang="en-US" sz="1600" dirty="0">
                <a:latin typeface="Zawgyi-One" panose="020B0604030504040204" pitchFamily="34" charset="0"/>
                <a:cs typeface="Zawgyi-One" panose="020B0604030504040204" pitchFamily="34" charset="0"/>
              </a:rPr>
              <a:t>…</a:t>
            </a:r>
            <a:endParaRPr lang="en-US" altLang="en-US" sz="1600" dirty="0">
              <a:latin typeface="Zawgyi-One" panose="020B0604030504040204" pitchFamily="34" charset="0"/>
              <a:cs typeface="Zawgyi-One" panose="020B0604030504040204" pitchFamily="34" charset="0"/>
            </a:endParaRPr>
          </a:p>
          <a:p>
            <a:pPr marL="611188">
              <a:lnSpc>
                <a:spcPct val="150000"/>
              </a:lnSpc>
              <a:buClr>
                <a:schemeClr val="tx1"/>
              </a:buClr>
            </a:pPr>
            <a:r>
              <a:rPr lang="en-US" altLang="en-US" sz="1600" dirty="0" err="1">
                <a:latin typeface="Zawgyi-One" panose="020B0604030504040204" pitchFamily="34" charset="0"/>
                <a:cs typeface="Zawgyi-One" panose="020B0604030504040204" pitchFamily="34" charset="0"/>
              </a:rPr>
              <a:t>သူတုိ႔ကိုယ္ကို</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သူတုိ</a:t>
            </a:r>
            <a:r>
              <a:rPr lang="en-US" altLang="en-US" sz="1600" dirty="0">
                <a:latin typeface="Zawgyi-One" panose="020B0604030504040204" pitchFamily="34" charset="0"/>
                <a:cs typeface="Zawgyi-One" panose="020B0604030504040204" pitchFamily="34" charset="0"/>
              </a:rPr>
              <a:t>႔ ျ</a:t>
            </a:r>
            <a:r>
              <a:rPr lang="en-US" altLang="en-US" sz="1600" dirty="0" err="1">
                <a:latin typeface="Zawgyi-One" panose="020B0604030504040204" pitchFamily="34" charset="0"/>
                <a:cs typeface="Zawgyi-One" panose="020B0604030504040204" pitchFamily="34" charset="0"/>
              </a:rPr>
              <a:t>ပန္လည္ကူညီႏုိင္တဲ</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စိတ္ပုိင္းဆုိင္ရာ</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အေျခအေနတစ္ခုျပန္လည</a:t>
            </a:r>
            <a:r>
              <a:rPr lang="en-US" altLang="en-US" sz="1600" dirty="0">
                <a:latin typeface="Zawgyi-One" panose="020B0604030504040204" pitchFamily="34" charset="0"/>
                <a:cs typeface="Zawgyi-One" panose="020B0604030504040204" pitchFamily="34" charset="0"/>
              </a:rPr>
              <a:t>္ </a:t>
            </a:r>
            <a:r>
              <a:rPr lang="en-US" altLang="en-US" sz="1600" dirty="0" err="1">
                <a:latin typeface="Zawgyi-One" panose="020B0604030504040204" pitchFamily="34" charset="0"/>
                <a:cs typeface="Zawgyi-One" panose="020B0604030504040204" pitchFamily="34" charset="0"/>
              </a:rPr>
              <a:t>ရရွိမယ္ဆုိရင</a:t>
            </a:r>
            <a:r>
              <a:rPr lang="en-US" altLang="en-US" sz="1600" dirty="0">
                <a:latin typeface="Zawgyi-One" panose="020B0604030504040204" pitchFamily="34" charset="0"/>
                <a:cs typeface="Zawgyi-One" panose="020B0604030504040204" pitchFamily="34" charset="0"/>
              </a:rPr>
              <a:t>္..</a:t>
            </a:r>
          </a:p>
        </p:txBody>
      </p:sp>
      <p:sp>
        <p:nvSpPr>
          <p:cNvPr id="10" name="object 6">
            <a:extLst>
              <a:ext uri="{FF2B5EF4-FFF2-40B4-BE49-F238E27FC236}">
                <a16:creationId xmlns:a16="http://schemas.microsoft.com/office/drawing/2014/main" id="{9EF0E3BE-043A-403D-9757-300CF0F465A9}"/>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 name="object 7">
            <a:extLst>
              <a:ext uri="{FF2B5EF4-FFF2-40B4-BE49-F238E27FC236}">
                <a16:creationId xmlns:a16="http://schemas.microsoft.com/office/drawing/2014/main" id="{F0A78E7B-CBF2-40CE-ABD6-852867162396}"/>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4</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885107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object 2">
            <a:extLst>
              <a:ext uri="{FF2B5EF4-FFF2-40B4-BE49-F238E27FC236}">
                <a16:creationId xmlns:a16="http://schemas.microsoft.com/office/drawing/2014/main" id="{54B8F5BA-316A-44FD-B36F-4A801B7AC194}"/>
              </a:ext>
            </a:extLst>
          </p:cNvPr>
          <p:cNvSpPr>
            <a:spLocks noChangeArrowheads="1"/>
          </p:cNvSpPr>
          <p:nvPr/>
        </p:nvSpPr>
        <p:spPr bwMode="auto">
          <a:xfrm>
            <a:off x="2445" y="58678"/>
            <a:ext cx="9140027" cy="5854972"/>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endParaRPr lang="en-US" altLang="en-US" sz="1040"/>
          </a:p>
        </p:txBody>
      </p:sp>
      <p:sp>
        <p:nvSpPr>
          <p:cNvPr id="64516" name="object 4">
            <a:extLst>
              <a:ext uri="{FF2B5EF4-FFF2-40B4-BE49-F238E27FC236}">
                <a16:creationId xmlns:a16="http://schemas.microsoft.com/office/drawing/2014/main" id="{A51A25FA-1BD7-494F-9ECA-BA441887260F}"/>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17" name="object 5">
            <a:extLst>
              <a:ext uri="{FF2B5EF4-FFF2-40B4-BE49-F238E27FC236}">
                <a16:creationId xmlns:a16="http://schemas.microsoft.com/office/drawing/2014/main" id="{019851A6-7AB6-4F56-89C2-439BFFF10D66}"/>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18" name="object 6">
            <a:extLst>
              <a:ext uri="{FF2B5EF4-FFF2-40B4-BE49-F238E27FC236}">
                <a16:creationId xmlns:a16="http://schemas.microsoft.com/office/drawing/2014/main" id="{71E2DE1F-E854-4F50-8C5F-493105D80203}"/>
              </a:ext>
            </a:extLst>
          </p:cNvPr>
          <p:cNvSpPr>
            <a:spLocks/>
          </p:cNvSpPr>
          <p:nvPr/>
        </p:nvSpPr>
        <p:spPr bwMode="auto">
          <a:xfrm>
            <a:off x="2445" y="0"/>
            <a:ext cx="9140027" cy="118273"/>
          </a:xfrm>
          <a:custGeom>
            <a:avLst/>
            <a:gdLst>
              <a:gd name="T0" fmla="*/ 0 w 15825596"/>
              <a:gd name="T1" fmla="*/ 204177 h 204177"/>
              <a:gd name="T2" fmla="*/ 15825596 w 15825596"/>
              <a:gd name="T3" fmla="*/ 204177 h 204177"/>
              <a:gd name="T4" fmla="*/ 15825596 w 15825596"/>
              <a:gd name="T5" fmla="*/ 0 h 204177"/>
              <a:gd name="T6" fmla="*/ 0 w 15825596"/>
              <a:gd name="T7" fmla="*/ 0 h 204177"/>
              <a:gd name="T8" fmla="*/ 0 w 15825596"/>
              <a:gd name="T9" fmla="*/ 204177 h 204177"/>
            </a:gdLst>
            <a:ahLst/>
            <a:cxnLst>
              <a:cxn ang="0">
                <a:pos x="T0" y="T1"/>
              </a:cxn>
              <a:cxn ang="0">
                <a:pos x="T2" y="T3"/>
              </a:cxn>
              <a:cxn ang="0">
                <a:pos x="T4" y="T5"/>
              </a:cxn>
              <a:cxn ang="0">
                <a:pos x="T6" y="T7"/>
              </a:cxn>
              <a:cxn ang="0">
                <a:pos x="T8" y="T9"/>
              </a:cxn>
            </a:cxnLst>
            <a:rect l="0" t="0" r="r" b="b"/>
            <a:pathLst>
              <a:path w="15825596" h="204177">
                <a:moveTo>
                  <a:pt x="0" y="204177"/>
                </a:moveTo>
                <a:lnTo>
                  <a:pt x="15825596" y="204177"/>
                </a:lnTo>
                <a:lnTo>
                  <a:pt x="15825596" y="0"/>
                </a:lnTo>
                <a:lnTo>
                  <a:pt x="0" y="0"/>
                </a:lnTo>
                <a:lnTo>
                  <a:pt x="0" y="204177"/>
                </a:lnTo>
              </a:path>
            </a:pathLst>
          </a:custGeom>
          <a:solidFill>
            <a:srgbClr val="00528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19" name="object 7">
            <a:extLst>
              <a:ext uri="{FF2B5EF4-FFF2-40B4-BE49-F238E27FC236}">
                <a16:creationId xmlns:a16="http://schemas.microsoft.com/office/drawing/2014/main" id="{BEAA469B-32B9-410F-8491-B5D900E9FD32}"/>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1" name="object 9">
            <a:extLst>
              <a:ext uri="{FF2B5EF4-FFF2-40B4-BE49-F238E27FC236}">
                <a16:creationId xmlns:a16="http://schemas.microsoft.com/office/drawing/2014/main" id="{61F2952B-ECCD-475A-BCF0-DE6FF8042D32}"/>
              </a:ext>
            </a:extLst>
          </p:cNvPr>
          <p:cNvSpPr>
            <a:spLocks/>
          </p:cNvSpPr>
          <p:nvPr/>
        </p:nvSpPr>
        <p:spPr bwMode="auto">
          <a:xfrm>
            <a:off x="7137332" y="6343651"/>
            <a:ext cx="116440" cy="163198"/>
          </a:xfrm>
          <a:custGeom>
            <a:avLst/>
            <a:gdLst>
              <a:gd name="T0" fmla="*/ 5640 w 201527"/>
              <a:gd name="T1" fmla="*/ 196283 h 282176"/>
              <a:gd name="T2" fmla="*/ 8677 w 201527"/>
              <a:gd name="T3" fmla="*/ 257130 h 282176"/>
              <a:gd name="T4" fmla="*/ 49711 w 201527"/>
              <a:gd name="T5" fmla="*/ 274727 h 282176"/>
              <a:gd name="T6" fmla="*/ 90485 w 201527"/>
              <a:gd name="T7" fmla="*/ 281658 h 282176"/>
              <a:gd name="T8" fmla="*/ 107731 w 201527"/>
              <a:gd name="T9" fmla="*/ 282176 h 282176"/>
              <a:gd name="T10" fmla="*/ 123607 w 201527"/>
              <a:gd name="T11" fmla="*/ 281179 h 282176"/>
              <a:gd name="T12" fmla="*/ 165022 w 201527"/>
              <a:gd name="T13" fmla="*/ 269253 h 282176"/>
              <a:gd name="T14" fmla="*/ 194586 w 201527"/>
              <a:gd name="T15" fmla="*/ 243732 h 282176"/>
              <a:gd name="T16" fmla="*/ 201527 w 201527"/>
              <a:gd name="T17" fmla="*/ 231399 h 282176"/>
              <a:gd name="T18" fmla="*/ 89385 w 201527"/>
              <a:gd name="T19" fmla="*/ 231399 h 282176"/>
              <a:gd name="T20" fmla="*/ 78461 w 201527"/>
              <a:gd name="T21" fmla="*/ 230048 h 282176"/>
              <a:gd name="T22" fmla="*/ 33026 w 201527"/>
              <a:gd name="T23" fmla="*/ 213043 h 282176"/>
              <a:gd name="T24" fmla="*/ 19938 w 201527"/>
              <a:gd name="T25" fmla="*/ 205428 h 282176"/>
              <a:gd name="T26" fmla="*/ 5640 w 201527"/>
              <a:gd name="T27" fmla="*/ 196283 h 282176"/>
              <a:gd name="T28" fmla="*/ 97394 w 201527"/>
              <a:gd name="T29" fmla="*/ 0 h 282176"/>
              <a:gd name="T30" fmla="*/ 50135 w 201527"/>
              <a:gd name="T31" fmla="*/ 9503 h 282176"/>
              <a:gd name="T32" fmla="*/ 17155 w 201527"/>
              <a:gd name="T33" fmla="*/ 32415 h 282176"/>
              <a:gd name="T34" fmla="*/ 0 w 201527"/>
              <a:gd name="T35" fmla="*/ 80392 h 282176"/>
              <a:gd name="T36" fmla="*/ 1613 w 201527"/>
              <a:gd name="T37" fmla="*/ 96400 h 282176"/>
              <a:gd name="T38" fmla="*/ 20167 w 201527"/>
              <a:gd name="T39" fmla="*/ 132500 h 282176"/>
              <a:gd name="T40" fmla="*/ 52208 w 201527"/>
              <a:gd name="T41" fmla="*/ 155308 h 282176"/>
              <a:gd name="T42" fmla="*/ 100167 w 201527"/>
              <a:gd name="T43" fmla="*/ 175259 h 282176"/>
              <a:gd name="T44" fmla="*/ 110843 w 201527"/>
              <a:gd name="T45" fmla="*/ 179838 h 282176"/>
              <a:gd name="T46" fmla="*/ 139478 w 201527"/>
              <a:gd name="T47" fmla="*/ 211224 h 282176"/>
              <a:gd name="T48" fmla="*/ 135082 w 201527"/>
              <a:gd name="T49" fmla="*/ 219958 h 282176"/>
              <a:gd name="T50" fmla="*/ 125635 w 201527"/>
              <a:gd name="T51" fmla="*/ 226358 h 282176"/>
              <a:gd name="T52" fmla="*/ 110587 w 201527"/>
              <a:gd name="T53" fmla="*/ 230235 h 282176"/>
              <a:gd name="T54" fmla="*/ 89385 w 201527"/>
              <a:gd name="T55" fmla="*/ 231399 h 282176"/>
              <a:gd name="T56" fmla="*/ 201527 w 201527"/>
              <a:gd name="T57" fmla="*/ 231399 h 282176"/>
              <a:gd name="T58" fmla="*/ 206103 w 201527"/>
              <a:gd name="T59" fmla="*/ 219047 h 282176"/>
              <a:gd name="T60" fmla="*/ 209043 w 201527"/>
              <a:gd name="T61" fmla="*/ 204376 h 282176"/>
              <a:gd name="T62" fmla="*/ 209942 w 201527"/>
              <a:gd name="T63" fmla="*/ 188141 h 282176"/>
              <a:gd name="T64" fmla="*/ 206744 w 201527"/>
              <a:gd name="T65" fmla="*/ 173333 h 282176"/>
              <a:gd name="T66" fmla="*/ 184021 w 201527"/>
              <a:gd name="T67" fmla="*/ 139885 h 282176"/>
              <a:gd name="T68" fmla="*/ 149308 w 201527"/>
              <a:gd name="T69" fmla="*/ 118293 h 282176"/>
              <a:gd name="T70" fmla="*/ 112516 w 201527"/>
              <a:gd name="T71" fmla="*/ 102634 h 282176"/>
              <a:gd name="T72" fmla="*/ 101503 w 201527"/>
              <a:gd name="T73" fmla="*/ 97708 h 282176"/>
              <a:gd name="T74" fmla="*/ 72331 w 201527"/>
              <a:gd name="T75" fmla="*/ 65412 h 282176"/>
              <a:gd name="T76" fmla="*/ 80154 w 201527"/>
              <a:gd name="T77" fmla="*/ 57314 h 282176"/>
              <a:gd name="T78" fmla="*/ 93652 w 201527"/>
              <a:gd name="T79" fmla="*/ 52113 h 282176"/>
              <a:gd name="T80" fmla="*/ 112174 w 201527"/>
              <a:gd name="T81" fmla="*/ 50278 h 282176"/>
              <a:gd name="T82" fmla="*/ 197432 w 201527"/>
              <a:gd name="T83" fmla="*/ 50278 h 282176"/>
              <a:gd name="T84" fmla="*/ 196707 w 201527"/>
              <a:gd name="T85" fmla="*/ 20659 h 282176"/>
              <a:gd name="T86" fmla="*/ 160233 w 201527"/>
              <a:gd name="T87" fmla="*/ 7703 h 282176"/>
              <a:gd name="T88" fmla="*/ 111068 w 201527"/>
              <a:gd name="T89" fmla="*/ 250 h 282176"/>
              <a:gd name="T90" fmla="*/ 97394 w 201527"/>
              <a:gd name="T91" fmla="*/ 0 h 282176"/>
              <a:gd name="T92" fmla="*/ 197432 w 201527"/>
              <a:gd name="T93" fmla="*/ 50278 h 282176"/>
              <a:gd name="T94" fmla="*/ 112174 w 201527"/>
              <a:gd name="T95" fmla="*/ 50278 h 282176"/>
              <a:gd name="T96" fmla="*/ 122111 w 201527"/>
              <a:gd name="T97" fmla="*/ 50802 h 282176"/>
              <a:gd name="T98" fmla="*/ 132391 w 201527"/>
              <a:gd name="T99" fmla="*/ 52212 h 282176"/>
              <a:gd name="T100" fmla="*/ 182137 w 201527"/>
              <a:gd name="T101" fmla="*/ 68036 h 282176"/>
              <a:gd name="T102" fmla="*/ 198033 w 201527"/>
              <a:gd name="T103" fmla="*/ 74871 h 282176"/>
              <a:gd name="T104" fmla="*/ 197432 w 201527"/>
              <a:gd name="T105" fmla="*/ 50278 h 28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2" name="object 10">
            <a:extLst>
              <a:ext uri="{FF2B5EF4-FFF2-40B4-BE49-F238E27FC236}">
                <a16:creationId xmlns:a16="http://schemas.microsoft.com/office/drawing/2014/main" id="{F2E9415D-8523-40CB-9EAE-33F1F26A4355}"/>
              </a:ext>
            </a:extLst>
          </p:cNvPr>
          <p:cNvSpPr>
            <a:spLocks/>
          </p:cNvSpPr>
          <p:nvPr/>
        </p:nvSpPr>
        <p:spPr bwMode="auto">
          <a:xfrm>
            <a:off x="7271192" y="6394994"/>
            <a:ext cx="115522" cy="111855"/>
          </a:xfrm>
          <a:custGeom>
            <a:avLst/>
            <a:gdLst>
              <a:gd name="T0" fmla="*/ 66476 w 200263"/>
              <a:gd name="T1" fmla="*/ 39675 h 192883"/>
              <a:gd name="T2" fmla="*/ 100495 w 200263"/>
              <a:gd name="T3" fmla="*/ 46500 h 192883"/>
              <a:gd name="T4" fmla="*/ 110000 w 200263"/>
              <a:gd name="T5" fmla="*/ 65236 h 192883"/>
              <a:gd name="T6" fmla="*/ 55446 w 200263"/>
              <a:gd name="T7" fmla="*/ 85753 h 192883"/>
              <a:gd name="T8" fmla="*/ 0 w 200263"/>
              <a:gd name="T9" fmla="*/ 137558 h 192883"/>
              <a:gd name="T10" fmla="*/ 24597 w 200263"/>
              <a:gd name="T11" fmla="*/ 185847 h 192883"/>
              <a:gd name="T12" fmla="*/ 63017 w 200263"/>
              <a:gd name="T13" fmla="*/ 192206 h 192883"/>
              <a:gd name="T14" fmla="*/ 86370 w 200263"/>
              <a:gd name="T15" fmla="*/ 186242 h 192883"/>
              <a:gd name="T16" fmla="*/ 111205 w 200263"/>
              <a:gd name="T17" fmla="*/ 172930 h 192883"/>
              <a:gd name="T18" fmla="*/ 197471 w 200263"/>
              <a:gd name="T19" fmla="*/ 156999 h 192883"/>
              <a:gd name="T20" fmla="*/ 69768 w 200263"/>
              <a:gd name="T21" fmla="*/ 154725 h 192883"/>
              <a:gd name="T22" fmla="*/ 61380 w 200263"/>
              <a:gd name="T23" fmla="*/ 134110 h 192883"/>
              <a:gd name="T24" fmla="*/ 73272 w 200263"/>
              <a:gd name="T25" fmla="*/ 116262 h 192883"/>
              <a:gd name="T26" fmla="*/ 99093 w 200263"/>
              <a:gd name="T27" fmla="*/ 103309 h 192883"/>
              <a:gd name="T28" fmla="*/ 168398 w 200263"/>
              <a:gd name="T29" fmla="*/ 56143 h 192883"/>
              <a:gd name="T30" fmla="*/ 166143 w 200263"/>
              <a:gd name="T31" fmla="*/ 39675 h 192883"/>
              <a:gd name="T32" fmla="*/ 111205 w 200263"/>
              <a:gd name="T33" fmla="*/ 172930 h 192883"/>
              <a:gd name="T34" fmla="*/ 128176 w 200263"/>
              <a:gd name="T35" fmla="*/ 190465 h 192883"/>
              <a:gd name="T36" fmla="*/ 155289 w 200263"/>
              <a:gd name="T37" fmla="*/ 191925 h 192883"/>
              <a:gd name="T38" fmla="*/ 180758 w 200263"/>
              <a:gd name="T39" fmla="*/ 185216 h 192883"/>
              <a:gd name="T40" fmla="*/ 194234 w 200263"/>
              <a:gd name="T41" fmla="*/ 172930 h 192883"/>
              <a:gd name="T42" fmla="*/ 99093 w 200263"/>
              <a:gd name="T43" fmla="*/ 103309 h 192883"/>
              <a:gd name="T44" fmla="*/ 98785 w 200263"/>
              <a:gd name="T45" fmla="*/ 152179 h 192883"/>
              <a:gd name="T46" fmla="*/ 197471 w 200263"/>
              <a:gd name="T47" fmla="*/ 156999 h 192883"/>
              <a:gd name="T48" fmla="*/ 172031 w 200263"/>
              <a:gd name="T49" fmla="*/ 153755 h 192883"/>
              <a:gd name="T50" fmla="*/ 168398 w 200263"/>
              <a:gd name="T51" fmla="*/ 103309 h 192883"/>
              <a:gd name="T52" fmla="*/ 186547 w 200263"/>
              <a:gd name="T53" fmla="*/ 152942 h 192883"/>
              <a:gd name="T54" fmla="*/ 198131 w 200263"/>
              <a:gd name="T55" fmla="*/ 153755 h 192883"/>
              <a:gd name="T56" fmla="*/ 100921 w 200263"/>
              <a:gd name="T57" fmla="*/ 0 h 192883"/>
              <a:gd name="T58" fmla="*/ 13527 w 200263"/>
              <a:gd name="T59" fmla="*/ 19618 h 192883"/>
              <a:gd name="T60" fmla="*/ 19103 w 200263"/>
              <a:gd name="T61" fmla="*/ 60877 h 192883"/>
              <a:gd name="T62" fmla="*/ 41987 w 200263"/>
              <a:gd name="T63" fmla="*/ 47029 h 192883"/>
              <a:gd name="T64" fmla="*/ 66476 w 200263"/>
              <a:gd name="T65" fmla="*/ 39675 h 192883"/>
              <a:gd name="T66" fmla="*/ 162125 w 200263"/>
              <a:gd name="T67" fmla="*/ 29081 h 192883"/>
              <a:gd name="T68" fmla="*/ 144530 w 200263"/>
              <a:gd name="T69" fmla="*/ 11338 h 192883"/>
              <a:gd name="T70" fmla="*/ 117446 w 200263"/>
              <a:gd name="T71" fmla="*/ 1909 h 19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3" name="object 11">
            <a:extLst>
              <a:ext uri="{FF2B5EF4-FFF2-40B4-BE49-F238E27FC236}">
                <a16:creationId xmlns:a16="http://schemas.microsoft.com/office/drawing/2014/main" id="{BFE37584-B639-4625-81CA-0B30AF4DFB88}"/>
              </a:ext>
            </a:extLst>
          </p:cNvPr>
          <p:cNvSpPr>
            <a:spLocks/>
          </p:cNvSpPr>
          <p:nvPr/>
        </p:nvSpPr>
        <p:spPr bwMode="auto">
          <a:xfrm>
            <a:off x="7382130" y="6396827"/>
            <a:ext cx="118273" cy="110021"/>
          </a:xfrm>
          <a:custGeom>
            <a:avLst/>
            <a:gdLst>
              <a:gd name="T0" fmla="*/ 62522 w 204089"/>
              <a:gd name="T1" fmla="*/ 0 h 189572"/>
              <a:gd name="T2" fmla="*/ 0 w 204089"/>
              <a:gd name="T3" fmla="*/ 0 h 189572"/>
              <a:gd name="T4" fmla="*/ 85915 w 204089"/>
              <a:gd name="T5" fmla="*/ 189572 h 189572"/>
              <a:gd name="T6" fmla="*/ 118579 w 204089"/>
              <a:gd name="T7" fmla="*/ 189572 h 189572"/>
              <a:gd name="T8" fmla="*/ 157877 w 204089"/>
              <a:gd name="T9" fmla="*/ 102450 h 189572"/>
              <a:gd name="T10" fmla="*/ 102044 w 204089"/>
              <a:gd name="T11" fmla="*/ 102450 h 189572"/>
              <a:gd name="T12" fmla="*/ 62522 w 204089"/>
              <a:gd name="T13" fmla="*/ 0 h 189572"/>
              <a:gd name="T14" fmla="*/ 204089 w 204089"/>
              <a:gd name="T15" fmla="*/ 0 h 189572"/>
              <a:gd name="T16" fmla="*/ 141986 w 204089"/>
              <a:gd name="T17" fmla="*/ 0 h 189572"/>
              <a:gd name="T18" fmla="*/ 102044 w 204089"/>
              <a:gd name="T19" fmla="*/ 102450 h 189572"/>
              <a:gd name="T20" fmla="*/ 157877 w 204089"/>
              <a:gd name="T21" fmla="*/ 102450 h 189572"/>
              <a:gd name="T22" fmla="*/ 204089 w 204089"/>
              <a:gd name="T23" fmla="*/ 0 h 189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4" name="object 12">
            <a:extLst>
              <a:ext uri="{FF2B5EF4-FFF2-40B4-BE49-F238E27FC236}">
                <a16:creationId xmlns:a16="http://schemas.microsoft.com/office/drawing/2014/main" id="{047F6BF5-9A51-490B-90E1-EF07EA0B021D}"/>
              </a:ext>
            </a:extLst>
          </p:cNvPr>
          <p:cNvSpPr>
            <a:spLocks/>
          </p:cNvSpPr>
          <p:nvPr/>
        </p:nvSpPr>
        <p:spPr bwMode="auto">
          <a:xfrm>
            <a:off x="7504988" y="6394994"/>
            <a:ext cx="111855" cy="111855"/>
          </a:xfrm>
          <a:custGeom>
            <a:avLst/>
            <a:gdLst>
              <a:gd name="T0" fmla="*/ 105811 w 193899"/>
              <a:gd name="T1" fmla="*/ 0 h 192654"/>
              <a:gd name="T2" fmla="*/ 59491 w 193899"/>
              <a:gd name="T3" fmla="*/ 7868 h 192654"/>
              <a:gd name="T4" fmla="*/ 25263 w 193899"/>
              <a:gd name="T5" fmla="*/ 30129 h 192654"/>
              <a:gd name="T6" fmla="*/ 4935 w 193899"/>
              <a:gd name="T7" fmla="*/ 64103 h 192654"/>
              <a:gd name="T8" fmla="*/ 0 w 193899"/>
              <a:gd name="T9" fmla="*/ 91936 h 192654"/>
              <a:gd name="T10" fmla="*/ 901 w 193899"/>
              <a:gd name="T11" fmla="*/ 107638 h 192654"/>
              <a:gd name="T12" fmla="*/ 14163 w 193899"/>
              <a:gd name="T13" fmla="*/ 147563 h 192654"/>
              <a:gd name="T14" fmla="*/ 41700 w 193899"/>
              <a:gd name="T15" fmla="*/ 175697 h 192654"/>
              <a:gd name="T16" fmla="*/ 81507 w 193899"/>
              <a:gd name="T17" fmla="*/ 190725 h 192654"/>
              <a:gd name="T18" fmla="*/ 107477 w 193899"/>
              <a:gd name="T19" fmla="*/ 192654 h 192654"/>
              <a:gd name="T20" fmla="*/ 118685 w 193899"/>
              <a:gd name="T21" fmla="*/ 192350 h 192654"/>
              <a:gd name="T22" fmla="*/ 169205 w 193899"/>
              <a:gd name="T23" fmla="*/ 180923 h 192654"/>
              <a:gd name="T24" fmla="*/ 185590 w 193899"/>
              <a:gd name="T25" fmla="*/ 157804 h 192654"/>
              <a:gd name="T26" fmla="*/ 131343 w 193899"/>
              <a:gd name="T27" fmla="*/ 157804 h 192654"/>
              <a:gd name="T28" fmla="*/ 112847 w 193899"/>
              <a:gd name="T29" fmla="*/ 156783 h 192654"/>
              <a:gd name="T30" fmla="*/ 74410 w 193899"/>
              <a:gd name="T31" fmla="*/ 140121 h 192654"/>
              <a:gd name="T32" fmla="*/ 60396 w 193899"/>
              <a:gd name="T33" fmla="*/ 105806 h 192654"/>
              <a:gd name="T34" fmla="*/ 193899 w 193899"/>
              <a:gd name="T35" fmla="*/ 105806 h 192654"/>
              <a:gd name="T36" fmla="*/ 193591 w 193899"/>
              <a:gd name="T37" fmla="*/ 88898 h 192654"/>
              <a:gd name="T38" fmla="*/ 191563 w 193899"/>
              <a:gd name="T39" fmla="*/ 75148 h 192654"/>
              <a:gd name="T40" fmla="*/ 61603 w 193899"/>
              <a:gd name="T41" fmla="*/ 75148 h 192654"/>
              <a:gd name="T42" fmla="*/ 65005 w 193899"/>
              <a:gd name="T43" fmla="*/ 59643 h 192654"/>
              <a:gd name="T44" fmla="*/ 71796 w 193899"/>
              <a:gd name="T45" fmla="*/ 47603 h 192654"/>
              <a:gd name="T46" fmla="*/ 81690 w 193899"/>
              <a:gd name="T47" fmla="*/ 39294 h 192654"/>
              <a:gd name="T48" fmla="*/ 94400 w 193899"/>
              <a:gd name="T49" fmla="*/ 34982 h 192654"/>
              <a:gd name="T50" fmla="*/ 101938 w 193899"/>
              <a:gd name="T51" fmla="*/ 34406 h 192654"/>
              <a:gd name="T52" fmla="*/ 173313 w 193899"/>
              <a:gd name="T53" fmla="*/ 34406 h 192654"/>
              <a:gd name="T54" fmla="*/ 165235 w 193899"/>
              <a:gd name="T55" fmla="*/ 25369 h 192654"/>
              <a:gd name="T56" fmla="*/ 155241 w 193899"/>
              <a:gd name="T57" fmla="*/ 17104 h 192654"/>
              <a:gd name="T58" fmla="*/ 144153 w 193899"/>
              <a:gd name="T59" fmla="*/ 10401 h 192654"/>
              <a:gd name="T60" fmla="*/ 132120 w 193899"/>
              <a:gd name="T61" fmla="*/ 5293 h 192654"/>
              <a:gd name="T62" fmla="*/ 119289 w 193899"/>
              <a:gd name="T63" fmla="*/ 1814 h 192654"/>
              <a:gd name="T64" fmla="*/ 105811 w 193899"/>
              <a:gd name="T65" fmla="*/ 0 h 192654"/>
              <a:gd name="T66" fmla="*/ 190686 w 193899"/>
              <a:gd name="T67" fmla="*/ 131612 h 192654"/>
              <a:gd name="T68" fmla="*/ 153687 w 193899"/>
              <a:gd name="T69" fmla="*/ 152708 h 192654"/>
              <a:gd name="T70" fmla="*/ 131343 w 193899"/>
              <a:gd name="T71" fmla="*/ 157804 h 192654"/>
              <a:gd name="T72" fmla="*/ 185590 w 193899"/>
              <a:gd name="T73" fmla="*/ 157804 h 192654"/>
              <a:gd name="T74" fmla="*/ 190686 w 193899"/>
              <a:gd name="T75" fmla="*/ 131612 h 192654"/>
              <a:gd name="T76" fmla="*/ 173313 w 193899"/>
              <a:gd name="T77" fmla="*/ 34406 h 192654"/>
              <a:gd name="T78" fmla="*/ 101938 w 193899"/>
              <a:gd name="T79" fmla="*/ 34406 h 192654"/>
              <a:gd name="T80" fmla="*/ 115822 w 193899"/>
              <a:gd name="T81" fmla="*/ 36606 h 192654"/>
              <a:gd name="T82" fmla="*/ 127198 w 193899"/>
              <a:gd name="T83" fmla="*/ 42977 h 192654"/>
              <a:gd name="T84" fmla="*/ 135699 w 193899"/>
              <a:gd name="T85" fmla="*/ 53177 h 192654"/>
              <a:gd name="T86" fmla="*/ 140954 w 193899"/>
              <a:gd name="T87" fmla="*/ 66864 h 192654"/>
              <a:gd name="T88" fmla="*/ 61603 w 193899"/>
              <a:gd name="T89" fmla="*/ 75148 h 192654"/>
              <a:gd name="T90" fmla="*/ 191563 w 193899"/>
              <a:gd name="T91" fmla="*/ 75148 h 192654"/>
              <a:gd name="T92" fmla="*/ 191297 w 193899"/>
              <a:gd name="T93" fmla="*/ 73346 h 192654"/>
              <a:gd name="T94" fmla="*/ 187165 w 193899"/>
              <a:gd name="T95" fmla="*/ 59182 h 192654"/>
              <a:gd name="T96" fmla="*/ 181346 w 193899"/>
              <a:gd name="T97" fmla="*/ 46442 h 192654"/>
              <a:gd name="T98" fmla="*/ 173986 w 193899"/>
              <a:gd name="T99" fmla="*/ 35159 h 192654"/>
              <a:gd name="T100" fmla="*/ 173313 w 193899"/>
              <a:gd name="T101" fmla="*/ 34406 h 19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5" name="object 13">
            <a:extLst>
              <a:ext uri="{FF2B5EF4-FFF2-40B4-BE49-F238E27FC236}">
                <a16:creationId xmlns:a16="http://schemas.microsoft.com/office/drawing/2014/main" id="{C24BA3FF-F579-4167-AE25-A8878DE1C4DD}"/>
              </a:ext>
            </a:extLst>
          </p:cNvPr>
          <p:cNvSpPr>
            <a:spLocks/>
          </p:cNvSpPr>
          <p:nvPr/>
        </p:nvSpPr>
        <p:spPr bwMode="auto">
          <a:xfrm>
            <a:off x="7682855" y="6362904"/>
            <a:ext cx="88017" cy="143945"/>
          </a:xfrm>
          <a:custGeom>
            <a:avLst/>
            <a:gdLst>
              <a:gd name="T0" fmla="*/ 85115 w 152869"/>
              <a:gd name="T1" fmla="*/ 98424 h 248003"/>
              <a:gd name="T2" fmla="*/ 26619 w 152869"/>
              <a:gd name="T3" fmla="*/ 98424 h 248003"/>
              <a:gd name="T4" fmla="*/ 26658 w 152869"/>
              <a:gd name="T5" fmla="*/ 181335 h 248003"/>
              <a:gd name="T6" fmla="*/ 40304 w 152869"/>
              <a:gd name="T7" fmla="*/ 224276 h 248003"/>
              <a:gd name="T8" fmla="*/ 73598 w 152869"/>
              <a:gd name="T9" fmla="*/ 244599 h 248003"/>
              <a:gd name="T10" fmla="*/ 103201 w 152869"/>
              <a:gd name="T11" fmla="*/ 248003 h 248003"/>
              <a:gd name="T12" fmla="*/ 115180 w 152869"/>
              <a:gd name="T13" fmla="*/ 247068 h 248003"/>
              <a:gd name="T14" fmla="*/ 127060 w 152869"/>
              <a:gd name="T15" fmla="*/ 244913 h 248003"/>
              <a:gd name="T16" fmla="*/ 139428 w 152869"/>
              <a:gd name="T17" fmla="*/ 241391 h 248003"/>
              <a:gd name="T18" fmla="*/ 152869 w 152869"/>
              <a:gd name="T19" fmla="*/ 236359 h 248003"/>
              <a:gd name="T20" fmla="*/ 147457 w 152869"/>
              <a:gd name="T21" fmla="*/ 204687 h 248003"/>
              <a:gd name="T22" fmla="*/ 109600 w 152869"/>
              <a:gd name="T23" fmla="*/ 204687 h 248003"/>
              <a:gd name="T24" fmla="*/ 96323 w 152869"/>
              <a:gd name="T25" fmla="*/ 199980 h 248003"/>
              <a:gd name="T26" fmla="*/ 87998 w 152869"/>
              <a:gd name="T27" fmla="*/ 189799 h 248003"/>
              <a:gd name="T28" fmla="*/ 85115 w 152869"/>
              <a:gd name="T29" fmla="*/ 175056 h 248003"/>
              <a:gd name="T30" fmla="*/ 85115 w 152869"/>
              <a:gd name="T31" fmla="*/ 98424 h 248003"/>
              <a:gd name="T32" fmla="*/ 146184 w 152869"/>
              <a:gd name="T33" fmla="*/ 197242 h 248003"/>
              <a:gd name="T34" fmla="*/ 134229 w 152869"/>
              <a:gd name="T35" fmla="*/ 201703 h 248003"/>
              <a:gd name="T36" fmla="*/ 122464 w 152869"/>
              <a:gd name="T37" fmla="*/ 204083 h 248003"/>
              <a:gd name="T38" fmla="*/ 109600 w 152869"/>
              <a:gd name="T39" fmla="*/ 204687 h 248003"/>
              <a:gd name="T40" fmla="*/ 147457 w 152869"/>
              <a:gd name="T41" fmla="*/ 204687 h 248003"/>
              <a:gd name="T42" fmla="*/ 146184 w 152869"/>
              <a:gd name="T43" fmla="*/ 197242 h 248003"/>
              <a:gd name="T44" fmla="*/ 85115 w 152869"/>
              <a:gd name="T45" fmla="*/ 0 h 248003"/>
              <a:gd name="T46" fmla="*/ 77838 w 152869"/>
              <a:gd name="T47" fmla="*/ 0 h 248003"/>
              <a:gd name="T48" fmla="*/ 0 w 152869"/>
              <a:gd name="T49" fmla="*/ 87134 h 248003"/>
              <a:gd name="T50" fmla="*/ 0 w 152869"/>
              <a:gd name="T51" fmla="*/ 98424 h 248003"/>
              <a:gd name="T52" fmla="*/ 152869 w 152869"/>
              <a:gd name="T53" fmla="*/ 98424 h 248003"/>
              <a:gd name="T54" fmla="*/ 152869 w 152869"/>
              <a:gd name="T55" fmla="*/ 58496 h 248003"/>
              <a:gd name="T56" fmla="*/ 85115 w 152869"/>
              <a:gd name="T57" fmla="*/ 58496 h 248003"/>
              <a:gd name="T58" fmla="*/ 85115 w 152869"/>
              <a:gd name="T59" fmla="*/ 0 h 248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6" name="object 14">
            <a:extLst>
              <a:ext uri="{FF2B5EF4-FFF2-40B4-BE49-F238E27FC236}">
                <a16:creationId xmlns:a16="http://schemas.microsoft.com/office/drawing/2014/main" id="{BB736207-CDE9-4918-8658-415DC1EC6485}"/>
              </a:ext>
            </a:extLst>
          </p:cNvPr>
          <p:cNvSpPr>
            <a:spLocks/>
          </p:cNvSpPr>
          <p:nvPr/>
        </p:nvSpPr>
        <p:spPr bwMode="auto">
          <a:xfrm>
            <a:off x="7784625"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5 w 186347"/>
              <a:gd name="T19" fmla="*/ 124886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9 h 275069"/>
              <a:gd name="T44" fmla="*/ 182341 w 186347"/>
              <a:gd name="T45" fmla="*/ 130617 h 275069"/>
              <a:gd name="T46" fmla="*/ 115026 w 186347"/>
              <a:gd name="T47" fmla="*/ 85571 h 275069"/>
              <a:gd name="T48" fmla="*/ 69226 w 186347"/>
              <a:gd name="T49" fmla="*/ 105591 h 275069"/>
              <a:gd name="T50" fmla="*/ 59296 w 186347"/>
              <a:gd name="T51" fmla="*/ 116560 h 275069"/>
              <a:gd name="T52" fmla="*/ 176188 w 186347"/>
              <a:gd name="T53" fmla="*/ 116560 h 275069"/>
              <a:gd name="T54" fmla="*/ 142032 w 186347"/>
              <a:gd name="T55" fmla="*/ 89611 h 275069"/>
              <a:gd name="T56" fmla="*/ 115026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7" name="object 15">
            <a:extLst>
              <a:ext uri="{FF2B5EF4-FFF2-40B4-BE49-F238E27FC236}">
                <a16:creationId xmlns:a16="http://schemas.microsoft.com/office/drawing/2014/main" id="{961BF3BB-C8A2-4918-B3A1-C283CE271CDD}"/>
              </a:ext>
            </a:extLst>
          </p:cNvPr>
          <p:cNvSpPr>
            <a:spLocks/>
          </p:cNvSpPr>
          <p:nvPr/>
        </p:nvSpPr>
        <p:spPr bwMode="auto">
          <a:xfrm>
            <a:off x="7909316" y="6394994"/>
            <a:ext cx="111855" cy="111855"/>
          </a:xfrm>
          <a:custGeom>
            <a:avLst/>
            <a:gdLst>
              <a:gd name="T0" fmla="*/ 105790 w 193899"/>
              <a:gd name="T1" fmla="*/ 0 h 192656"/>
              <a:gd name="T2" fmla="*/ 59479 w 193899"/>
              <a:gd name="T3" fmla="*/ 7871 h 192656"/>
              <a:gd name="T4" fmla="*/ 25255 w 193899"/>
              <a:gd name="T5" fmla="*/ 30136 h 192656"/>
              <a:gd name="T6" fmla="*/ 4931 w 193899"/>
              <a:gd name="T7" fmla="*/ 64117 h 192656"/>
              <a:gd name="T8" fmla="*/ 0 w 193899"/>
              <a:gd name="T9" fmla="*/ 91955 h 192656"/>
              <a:gd name="T10" fmla="*/ 902 w 193899"/>
              <a:gd name="T11" fmla="*/ 107655 h 192656"/>
              <a:gd name="T12" fmla="*/ 14164 w 193899"/>
              <a:gd name="T13" fmla="*/ 147576 h 192656"/>
              <a:gd name="T14" fmla="*/ 41704 w 193899"/>
              <a:gd name="T15" fmla="*/ 175707 h 192656"/>
              <a:gd name="T16" fmla="*/ 81518 w 193899"/>
              <a:gd name="T17" fmla="*/ 190730 h 192656"/>
              <a:gd name="T18" fmla="*/ 107487 w 193899"/>
              <a:gd name="T19" fmla="*/ 192656 h 192656"/>
              <a:gd name="T20" fmla="*/ 118692 w 193899"/>
              <a:gd name="T21" fmla="*/ 192351 h 192656"/>
              <a:gd name="T22" fmla="*/ 169220 w 193899"/>
              <a:gd name="T23" fmla="*/ 180914 h 192656"/>
              <a:gd name="T24" fmla="*/ 185594 w 193899"/>
              <a:gd name="T25" fmla="*/ 157805 h 192656"/>
              <a:gd name="T26" fmla="*/ 131330 w 193899"/>
              <a:gd name="T27" fmla="*/ 157805 h 192656"/>
              <a:gd name="T28" fmla="*/ 112833 w 193899"/>
              <a:gd name="T29" fmla="*/ 156784 h 192656"/>
              <a:gd name="T30" fmla="*/ 74402 w 193899"/>
              <a:gd name="T31" fmla="*/ 140117 h 192656"/>
              <a:gd name="T32" fmla="*/ 60397 w 193899"/>
              <a:gd name="T33" fmla="*/ 105806 h 192656"/>
              <a:gd name="T34" fmla="*/ 193899 w 193899"/>
              <a:gd name="T35" fmla="*/ 105806 h 192656"/>
              <a:gd name="T36" fmla="*/ 193588 w 193899"/>
              <a:gd name="T37" fmla="*/ 88898 h 192656"/>
              <a:gd name="T38" fmla="*/ 191558 w 193899"/>
              <a:gd name="T39" fmla="*/ 75149 h 192656"/>
              <a:gd name="T40" fmla="*/ 61604 w 193899"/>
              <a:gd name="T41" fmla="*/ 75149 h 192656"/>
              <a:gd name="T42" fmla="*/ 65003 w 193899"/>
              <a:gd name="T43" fmla="*/ 59641 h 192656"/>
              <a:gd name="T44" fmla="*/ 71797 w 193899"/>
              <a:gd name="T45" fmla="*/ 47600 h 192656"/>
              <a:gd name="T46" fmla="*/ 81695 w 193899"/>
              <a:gd name="T47" fmla="*/ 39292 h 192656"/>
              <a:gd name="T48" fmla="*/ 94403 w 193899"/>
              <a:gd name="T49" fmla="*/ 34981 h 192656"/>
              <a:gd name="T50" fmla="*/ 101926 w 193899"/>
              <a:gd name="T51" fmla="*/ 34407 h 192656"/>
              <a:gd name="T52" fmla="*/ 173304 w 193899"/>
              <a:gd name="T53" fmla="*/ 34407 h 192656"/>
              <a:gd name="T54" fmla="*/ 165221 w 193899"/>
              <a:gd name="T55" fmla="*/ 25366 h 192656"/>
              <a:gd name="T56" fmla="*/ 155225 w 193899"/>
              <a:gd name="T57" fmla="*/ 17102 h 192656"/>
              <a:gd name="T58" fmla="*/ 144136 w 193899"/>
              <a:gd name="T59" fmla="*/ 10399 h 192656"/>
              <a:gd name="T60" fmla="*/ 132101 w 193899"/>
              <a:gd name="T61" fmla="*/ 5291 h 192656"/>
              <a:gd name="T62" fmla="*/ 119270 w 193899"/>
              <a:gd name="T63" fmla="*/ 1813 h 192656"/>
              <a:gd name="T64" fmla="*/ 105790 w 193899"/>
              <a:gd name="T65" fmla="*/ 0 h 192656"/>
              <a:gd name="T66" fmla="*/ 190674 w 193899"/>
              <a:gd name="T67" fmla="*/ 131613 h 192656"/>
              <a:gd name="T68" fmla="*/ 153672 w 193899"/>
              <a:gd name="T69" fmla="*/ 152711 h 192656"/>
              <a:gd name="T70" fmla="*/ 131330 w 193899"/>
              <a:gd name="T71" fmla="*/ 157805 h 192656"/>
              <a:gd name="T72" fmla="*/ 185594 w 193899"/>
              <a:gd name="T73" fmla="*/ 157805 h 192656"/>
              <a:gd name="T74" fmla="*/ 190674 w 193899"/>
              <a:gd name="T75" fmla="*/ 131613 h 192656"/>
              <a:gd name="T76" fmla="*/ 173304 w 193899"/>
              <a:gd name="T77" fmla="*/ 34407 h 192656"/>
              <a:gd name="T78" fmla="*/ 101926 w 193899"/>
              <a:gd name="T79" fmla="*/ 34407 h 192656"/>
              <a:gd name="T80" fmla="*/ 115810 w 193899"/>
              <a:gd name="T81" fmla="*/ 36607 h 192656"/>
              <a:gd name="T82" fmla="*/ 127186 w 193899"/>
              <a:gd name="T83" fmla="*/ 42978 h 192656"/>
              <a:gd name="T84" fmla="*/ 135687 w 193899"/>
              <a:gd name="T85" fmla="*/ 53177 h 192656"/>
              <a:gd name="T86" fmla="*/ 140942 w 193899"/>
              <a:gd name="T87" fmla="*/ 66864 h 192656"/>
              <a:gd name="T88" fmla="*/ 61604 w 193899"/>
              <a:gd name="T89" fmla="*/ 75149 h 192656"/>
              <a:gd name="T90" fmla="*/ 191558 w 193899"/>
              <a:gd name="T91" fmla="*/ 75149 h 192656"/>
              <a:gd name="T92" fmla="*/ 191292 w 193899"/>
              <a:gd name="T93" fmla="*/ 73345 h 192656"/>
              <a:gd name="T94" fmla="*/ 187158 w 193899"/>
              <a:gd name="T95" fmla="*/ 59180 h 192656"/>
              <a:gd name="T96" fmla="*/ 181336 w 193899"/>
              <a:gd name="T97" fmla="*/ 46439 h 192656"/>
              <a:gd name="T98" fmla="*/ 173974 w 193899"/>
              <a:gd name="T99" fmla="*/ 35157 h 192656"/>
              <a:gd name="T100" fmla="*/ 173304 w 193899"/>
              <a:gd name="T101" fmla="*/ 34407 h 192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8" name="object 16">
            <a:extLst>
              <a:ext uri="{FF2B5EF4-FFF2-40B4-BE49-F238E27FC236}">
                <a16:creationId xmlns:a16="http://schemas.microsoft.com/office/drawing/2014/main" id="{BF96E27F-3819-476A-B113-3AA7237B103A}"/>
              </a:ext>
            </a:extLst>
          </p:cNvPr>
          <p:cNvSpPr>
            <a:spLocks/>
          </p:cNvSpPr>
          <p:nvPr/>
        </p:nvSpPr>
        <p:spPr bwMode="auto">
          <a:xfrm>
            <a:off x="8095435" y="6343651"/>
            <a:ext cx="154947" cy="163198"/>
          </a:xfrm>
          <a:custGeom>
            <a:avLst/>
            <a:gdLst>
              <a:gd name="T0" fmla="*/ 157586 w 268134"/>
              <a:gd name="T1" fmla="*/ 0 h 282037"/>
              <a:gd name="T2" fmla="*/ 108500 w 268134"/>
              <a:gd name="T3" fmla="*/ 7392 h 282037"/>
              <a:gd name="T4" fmla="*/ 67972 w 268134"/>
              <a:gd name="T5" fmla="*/ 24922 h 282037"/>
              <a:gd name="T6" fmla="*/ 36461 w 268134"/>
              <a:gd name="T7" fmla="*/ 50795 h 282037"/>
              <a:gd name="T8" fmla="*/ 14425 w 268134"/>
              <a:gd name="T9" fmla="*/ 83213 h 282037"/>
              <a:gd name="T10" fmla="*/ 2323 w 268134"/>
              <a:gd name="T11" fmla="*/ 120379 h 282037"/>
              <a:gd name="T12" fmla="*/ 0 w 268134"/>
              <a:gd name="T13" fmla="*/ 146908 h 282037"/>
              <a:gd name="T14" fmla="*/ 967 w 268134"/>
              <a:gd name="T15" fmla="*/ 159073 h 282037"/>
              <a:gd name="T16" fmla="*/ 15672 w 268134"/>
              <a:gd name="T17" fmla="*/ 205551 h 282037"/>
              <a:gd name="T18" fmla="*/ 48318 w 268134"/>
              <a:gd name="T19" fmla="*/ 244833 h 282037"/>
              <a:gd name="T20" fmla="*/ 85059 w 268134"/>
              <a:gd name="T21" fmla="*/ 266598 h 282037"/>
              <a:gd name="T22" fmla="*/ 132685 w 268134"/>
              <a:gd name="T23" fmla="*/ 279451 h 282037"/>
              <a:gd name="T24" fmla="*/ 170649 w 268134"/>
              <a:gd name="T25" fmla="*/ 282037 h 282037"/>
              <a:gd name="T26" fmla="*/ 183561 w 268134"/>
              <a:gd name="T27" fmla="*/ 281239 h 282037"/>
              <a:gd name="T28" fmla="*/ 231275 w 268134"/>
              <a:gd name="T29" fmla="*/ 270991 h 282037"/>
              <a:gd name="T30" fmla="*/ 268134 w 268134"/>
              <a:gd name="T31" fmla="*/ 254790 h 282037"/>
              <a:gd name="T32" fmla="*/ 266854 w 268134"/>
              <a:gd name="T33" fmla="*/ 224321 h 282037"/>
              <a:gd name="T34" fmla="*/ 155535 w 268134"/>
              <a:gd name="T35" fmla="*/ 224321 h 282037"/>
              <a:gd name="T36" fmla="*/ 140920 w 268134"/>
              <a:gd name="T37" fmla="*/ 221966 h 282037"/>
              <a:gd name="T38" fmla="*/ 103916 w 268134"/>
              <a:gd name="T39" fmla="*/ 204812 h 282037"/>
              <a:gd name="T40" fmla="*/ 79648 w 268134"/>
              <a:gd name="T41" fmla="*/ 173465 h 282037"/>
              <a:gd name="T42" fmla="*/ 71293 w 268134"/>
              <a:gd name="T43" fmla="*/ 129127 h 282037"/>
              <a:gd name="T44" fmla="*/ 74103 w 268134"/>
              <a:gd name="T45" fmla="*/ 116750 h 282037"/>
              <a:gd name="T46" fmla="*/ 104382 w 268134"/>
              <a:gd name="T47" fmla="*/ 77207 h 282037"/>
              <a:gd name="T48" fmla="*/ 145301 w 268134"/>
              <a:gd name="T49" fmla="*/ 60740 h 282037"/>
              <a:gd name="T50" fmla="*/ 180301 w 268134"/>
              <a:gd name="T51" fmla="*/ 57506 h 282037"/>
              <a:gd name="T52" fmla="*/ 262176 w 268134"/>
              <a:gd name="T53" fmla="*/ 57506 h 282037"/>
              <a:gd name="T54" fmla="*/ 258553 w 268134"/>
              <a:gd name="T55" fmla="*/ 20509 h 282037"/>
              <a:gd name="T56" fmla="*/ 214243 w 268134"/>
              <a:gd name="T57" fmla="*/ 5052 h 282037"/>
              <a:gd name="T58" fmla="*/ 173053 w 268134"/>
              <a:gd name="T59" fmla="*/ 284 h 282037"/>
              <a:gd name="T60" fmla="*/ 157586 w 268134"/>
              <a:gd name="T61" fmla="*/ 0 h 282037"/>
              <a:gd name="T62" fmla="*/ 265659 w 268134"/>
              <a:gd name="T63" fmla="*/ 195880 h 282037"/>
              <a:gd name="T64" fmla="*/ 230811 w 268134"/>
              <a:gd name="T65" fmla="*/ 211498 h 282037"/>
              <a:gd name="T66" fmla="*/ 184338 w 268134"/>
              <a:gd name="T67" fmla="*/ 223081 h 282037"/>
              <a:gd name="T68" fmla="*/ 155535 w 268134"/>
              <a:gd name="T69" fmla="*/ 224321 h 282037"/>
              <a:gd name="T70" fmla="*/ 266854 w 268134"/>
              <a:gd name="T71" fmla="*/ 224321 h 282037"/>
              <a:gd name="T72" fmla="*/ 265659 w 268134"/>
              <a:gd name="T73" fmla="*/ 195880 h 282037"/>
              <a:gd name="T74" fmla="*/ 262176 w 268134"/>
              <a:gd name="T75" fmla="*/ 57506 h 282037"/>
              <a:gd name="T76" fmla="*/ 180301 w 268134"/>
              <a:gd name="T77" fmla="*/ 57506 h 282037"/>
              <a:gd name="T78" fmla="*/ 192971 w 268134"/>
              <a:gd name="T79" fmla="*/ 58883 h 282037"/>
              <a:gd name="T80" fmla="*/ 205388 w 268134"/>
              <a:gd name="T81" fmla="*/ 61248 h 282037"/>
              <a:gd name="T82" fmla="*/ 241472 w 268134"/>
              <a:gd name="T83" fmla="*/ 73559 h 282037"/>
              <a:gd name="T84" fmla="*/ 264908 w 268134"/>
              <a:gd name="T85" fmla="*/ 85398 h 282037"/>
              <a:gd name="T86" fmla="*/ 262176 w 268134"/>
              <a:gd name="T87" fmla="*/ 57506 h 28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29" name="object 17">
            <a:extLst>
              <a:ext uri="{FF2B5EF4-FFF2-40B4-BE49-F238E27FC236}">
                <a16:creationId xmlns:a16="http://schemas.microsoft.com/office/drawing/2014/main" id="{58F47972-8880-49D8-BC88-C146DFAF1A80}"/>
              </a:ext>
            </a:extLst>
          </p:cNvPr>
          <p:cNvSpPr>
            <a:spLocks/>
          </p:cNvSpPr>
          <p:nvPr/>
        </p:nvSpPr>
        <p:spPr bwMode="auto">
          <a:xfrm>
            <a:off x="8274220"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4 w 186347"/>
              <a:gd name="T19" fmla="*/ 124885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7 h 275069"/>
              <a:gd name="T44" fmla="*/ 182341 w 186347"/>
              <a:gd name="T45" fmla="*/ 130617 h 275069"/>
              <a:gd name="T46" fmla="*/ 115025 w 186347"/>
              <a:gd name="T47" fmla="*/ 85571 h 275069"/>
              <a:gd name="T48" fmla="*/ 69225 w 186347"/>
              <a:gd name="T49" fmla="*/ 105591 h 275069"/>
              <a:gd name="T50" fmla="*/ 59296 w 186347"/>
              <a:gd name="T51" fmla="*/ 116560 h 275069"/>
              <a:gd name="T52" fmla="*/ 176188 w 186347"/>
              <a:gd name="T53" fmla="*/ 116560 h 275069"/>
              <a:gd name="T54" fmla="*/ 142031 w 186347"/>
              <a:gd name="T55" fmla="*/ 89611 h 275069"/>
              <a:gd name="T56" fmla="*/ 115025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0" name="object 18">
            <a:extLst>
              <a:ext uri="{FF2B5EF4-FFF2-40B4-BE49-F238E27FC236}">
                <a16:creationId xmlns:a16="http://schemas.microsoft.com/office/drawing/2014/main" id="{034CB882-400B-4C16-97AD-02888CF514F7}"/>
              </a:ext>
            </a:extLst>
          </p:cNvPr>
          <p:cNvSpPr>
            <a:spLocks/>
          </p:cNvSpPr>
          <p:nvPr/>
        </p:nvSpPr>
        <p:spPr bwMode="auto">
          <a:xfrm>
            <a:off x="8405329" y="6396827"/>
            <a:ext cx="33923" cy="107271"/>
          </a:xfrm>
          <a:custGeom>
            <a:avLst/>
            <a:gdLst>
              <a:gd name="T0" fmla="*/ 58483 w 58483"/>
              <a:gd name="T1" fmla="*/ 185940 h 185940"/>
              <a:gd name="T2" fmla="*/ 0 w 58483"/>
              <a:gd name="T3" fmla="*/ 185940 h 185940"/>
              <a:gd name="T4" fmla="*/ 0 w 58483"/>
              <a:gd name="T5" fmla="*/ 0 h 185940"/>
              <a:gd name="T6" fmla="*/ 58483 w 58483"/>
              <a:gd name="T7" fmla="*/ 0 h 185940"/>
              <a:gd name="T8" fmla="*/ 58483 w 58483"/>
              <a:gd name="T9" fmla="*/ 185940 h 185940"/>
            </a:gdLst>
            <a:ahLst/>
            <a:cxnLst>
              <a:cxn ang="0">
                <a:pos x="T0" y="T1"/>
              </a:cxn>
              <a:cxn ang="0">
                <a:pos x="T2" y="T3"/>
              </a:cxn>
              <a:cxn ang="0">
                <a:pos x="T4" y="T5"/>
              </a:cxn>
              <a:cxn ang="0">
                <a:pos x="T6" y="T7"/>
              </a:cxn>
              <a:cxn ang="0">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1" name="object 19">
            <a:extLst>
              <a:ext uri="{FF2B5EF4-FFF2-40B4-BE49-F238E27FC236}">
                <a16:creationId xmlns:a16="http://schemas.microsoft.com/office/drawing/2014/main" id="{C404B6CC-52C7-40C8-BB24-4898F14849D2}"/>
              </a:ext>
            </a:extLst>
          </p:cNvPr>
          <p:cNvSpPr>
            <a:spLocks/>
          </p:cNvSpPr>
          <p:nvPr/>
        </p:nvSpPr>
        <p:spPr bwMode="auto">
          <a:xfrm>
            <a:off x="8403496" y="6344567"/>
            <a:ext cx="37590" cy="35757"/>
          </a:xfrm>
          <a:custGeom>
            <a:avLst/>
            <a:gdLst>
              <a:gd name="T0" fmla="*/ 22527 w 64473"/>
              <a:gd name="T1" fmla="*/ 0 h 61899"/>
              <a:gd name="T2" fmla="*/ 10874 w 64473"/>
              <a:gd name="T3" fmla="*/ 6792 h 61899"/>
              <a:gd name="T4" fmla="*/ 2919 w 64473"/>
              <a:gd name="T5" fmla="*/ 18047 h 61899"/>
              <a:gd name="T6" fmla="*/ 0 w 64473"/>
              <a:gd name="T7" fmla="*/ 32655 h 61899"/>
              <a:gd name="T8" fmla="*/ 3222 w 64473"/>
              <a:gd name="T9" fmla="*/ 44495 h 61899"/>
              <a:gd name="T10" fmla="*/ 11233 w 64473"/>
              <a:gd name="T11" fmla="*/ 54014 h 61899"/>
              <a:gd name="T12" fmla="*/ 23799 w 64473"/>
              <a:gd name="T13" fmla="*/ 60164 h 61899"/>
              <a:gd name="T14" fmla="*/ 40683 w 64473"/>
              <a:gd name="T15" fmla="*/ 61899 h 61899"/>
              <a:gd name="T16" fmla="*/ 52926 w 64473"/>
              <a:gd name="T17" fmla="*/ 55454 h 61899"/>
              <a:gd name="T18" fmla="*/ 61342 w 64473"/>
              <a:gd name="T19" fmla="*/ 44588 h 61899"/>
              <a:gd name="T20" fmla="*/ 64473 w 64473"/>
              <a:gd name="T21" fmla="*/ 30764 h 61899"/>
              <a:gd name="T22" fmla="*/ 64333 w 64473"/>
              <a:gd name="T23" fmla="*/ 27777 h 61899"/>
              <a:gd name="T24" fmla="*/ 60786 w 64473"/>
              <a:gd name="T25" fmla="*/ 16334 h 61899"/>
              <a:gd name="T26" fmla="*/ 52552 w 64473"/>
              <a:gd name="T27" fmla="*/ 7219 h 61899"/>
              <a:gd name="T28" fmla="*/ 39757 w 64473"/>
              <a:gd name="T29" fmla="*/ 1439 h 61899"/>
              <a:gd name="T30" fmla="*/ 22527 w 64473"/>
              <a:gd name="T31" fmla="*/ 0 h 6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2" name="object 20">
            <a:extLst>
              <a:ext uri="{FF2B5EF4-FFF2-40B4-BE49-F238E27FC236}">
                <a16:creationId xmlns:a16="http://schemas.microsoft.com/office/drawing/2014/main" id="{F5B9815A-56C2-431B-8619-98DC47075D2C}"/>
              </a:ext>
            </a:extLst>
          </p:cNvPr>
          <p:cNvSpPr>
            <a:spLocks/>
          </p:cNvSpPr>
          <p:nvPr/>
        </p:nvSpPr>
        <p:spPr bwMode="auto">
          <a:xfrm>
            <a:off x="8464007" y="6345484"/>
            <a:ext cx="33923" cy="158614"/>
          </a:xfrm>
          <a:custGeom>
            <a:avLst/>
            <a:gdLst>
              <a:gd name="T0" fmla="*/ 58483 w 58483"/>
              <a:gd name="T1" fmla="*/ 275069 h 275069"/>
              <a:gd name="T2" fmla="*/ 0 w 58483"/>
              <a:gd name="T3" fmla="*/ 275069 h 275069"/>
              <a:gd name="T4" fmla="*/ 0 w 58483"/>
              <a:gd name="T5" fmla="*/ 0 h 275069"/>
              <a:gd name="T6" fmla="*/ 58483 w 58483"/>
              <a:gd name="T7" fmla="*/ 0 h 275069"/>
              <a:gd name="T8" fmla="*/ 58483 w 58483"/>
              <a:gd name="T9" fmla="*/ 275069 h 275069"/>
            </a:gdLst>
            <a:ahLst/>
            <a:cxnLst>
              <a:cxn ang="0">
                <a:pos x="T0" y="T1"/>
              </a:cxn>
              <a:cxn ang="0">
                <a:pos x="T2" y="T3"/>
              </a:cxn>
              <a:cxn ang="0">
                <a:pos x="T4" y="T5"/>
              </a:cxn>
              <a:cxn ang="0">
                <a:pos x="T6" y="T7"/>
              </a:cxn>
              <a:cxn ang="0">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3" name="object 21">
            <a:extLst>
              <a:ext uri="{FF2B5EF4-FFF2-40B4-BE49-F238E27FC236}">
                <a16:creationId xmlns:a16="http://schemas.microsoft.com/office/drawing/2014/main" id="{50190F82-EF60-4704-8AA4-2E682B1FA9F9}"/>
              </a:ext>
            </a:extLst>
          </p:cNvPr>
          <p:cNvSpPr>
            <a:spLocks/>
          </p:cNvSpPr>
          <p:nvPr/>
        </p:nvSpPr>
        <p:spPr bwMode="auto">
          <a:xfrm>
            <a:off x="8516267" y="6345484"/>
            <a:ext cx="113689" cy="161365"/>
          </a:xfrm>
          <a:custGeom>
            <a:avLst/>
            <a:gdLst>
              <a:gd name="T0" fmla="*/ 102087 w 197236"/>
              <a:gd name="T1" fmla="*/ 86169 h 278582"/>
              <a:gd name="T2" fmla="*/ 55657 w 197236"/>
              <a:gd name="T3" fmla="*/ 94000 h 278582"/>
              <a:gd name="T4" fmla="*/ 22559 w 197236"/>
              <a:gd name="T5" fmla="*/ 116758 h 278582"/>
              <a:gd name="T6" fmla="*/ 3889 w 197236"/>
              <a:gd name="T7" fmla="*/ 151731 h 278582"/>
              <a:gd name="T8" fmla="*/ 0 w 197236"/>
              <a:gd name="T9" fmla="*/ 180495 h 278582"/>
              <a:gd name="T10" fmla="*/ 1017 w 197236"/>
              <a:gd name="T11" fmla="*/ 196586 h 278582"/>
              <a:gd name="T12" fmla="*/ 15258 w 197236"/>
              <a:gd name="T13" fmla="*/ 238127 h 278582"/>
              <a:gd name="T14" fmla="*/ 43518 w 197236"/>
              <a:gd name="T15" fmla="*/ 266692 h 278582"/>
              <a:gd name="T16" fmla="*/ 82248 w 197236"/>
              <a:gd name="T17" fmla="*/ 278582 h 278582"/>
              <a:gd name="T18" fmla="*/ 96853 w 197236"/>
              <a:gd name="T19" fmla="*/ 277906 h 278582"/>
              <a:gd name="T20" fmla="*/ 109525 w 197236"/>
              <a:gd name="T21" fmla="*/ 275602 h 278582"/>
              <a:gd name="T22" fmla="*/ 120879 w 197236"/>
              <a:gd name="T23" fmla="*/ 271516 h 278582"/>
              <a:gd name="T24" fmla="*/ 131530 w 197236"/>
              <a:gd name="T25" fmla="*/ 265489 h 278582"/>
              <a:gd name="T26" fmla="*/ 197236 w 197236"/>
              <a:gd name="T27" fmla="*/ 265489 h 278582"/>
              <a:gd name="T28" fmla="*/ 197236 w 197236"/>
              <a:gd name="T29" fmla="*/ 238062 h 278582"/>
              <a:gd name="T30" fmla="*/ 115807 w 197236"/>
              <a:gd name="T31" fmla="*/ 238062 h 278582"/>
              <a:gd name="T32" fmla="*/ 98970 w 197236"/>
              <a:gd name="T33" fmla="*/ 237049 h 278582"/>
              <a:gd name="T34" fmla="*/ 66747 w 197236"/>
              <a:gd name="T35" fmla="*/ 215624 h 278582"/>
              <a:gd name="T36" fmla="*/ 59470 w 197236"/>
              <a:gd name="T37" fmla="*/ 188992 h 278582"/>
              <a:gd name="T38" fmla="*/ 60697 w 197236"/>
              <a:gd name="T39" fmla="*/ 170084 h 278582"/>
              <a:gd name="T40" fmla="*/ 79093 w 197236"/>
              <a:gd name="T41" fmla="*/ 133069 h 278582"/>
              <a:gd name="T42" fmla="*/ 102296 w 197236"/>
              <a:gd name="T43" fmla="*/ 124759 h 278582"/>
              <a:gd name="T44" fmla="*/ 197236 w 197236"/>
              <a:gd name="T45" fmla="*/ 124759 h 278582"/>
              <a:gd name="T46" fmla="*/ 197236 w 197236"/>
              <a:gd name="T47" fmla="*/ 97205 h 278582"/>
              <a:gd name="T48" fmla="*/ 138739 w 197236"/>
              <a:gd name="T49" fmla="*/ 97205 h 278582"/>
              <a:gd name="T50" fmla="*/ 126684 w 197236"/>
              <a:gd name="T51" fmla="*/ 92052 h 278582"/>
              <a:gd name="T52" fmla="*/ 114506 w 197236"/>
              <a:gd name="T53" fmla="*/ 88361 h 278582"/>
              <a:gd name="T54" fmla="*/ 102087 w 197236"/>
              <a:gd name="T55" fmla="*/ 86169 h 278582"/>
              <a:gd name="T56" fmla="*/ 197236 w 197236"/>
              <a:gd name="T57" fmla="*/ 265489 h 278582"/>
              <a:gd name="T58" fmla="*/ 131530 w 197236"/>
              <a:gd name="T59" fmla="*/ 265489 h 278582"/>
              <a:gd name="T60" fmla="*/ 138739 w 197236"/>
              <a:gd name="T61" fmla="*/ 275081 h 278582"/>
              <a:gd name="T62" fmla="*/ 197236 w 197236"/>
              <a:gd name="T63" fmla="*/ 275081 h 278582"/>
              <a:gd name="T64" fmla="*/ 197236 w 197236"/>
              <a:gd name="T65" fmla="*/ 265489 h 278582"/>
              <a:gd name="T66" fmla="*/ 197236 w 197236"/>
              <a:gd name="T67" fmla="*/ 124759 h 278582"/>
              <a:gd name="T68" fmla="*/ 102296 w 197236"/>
              <a:gd name="T69" fmla="*/ 124759 h 278582"/>
              <a:gd name="T70" fmla="*/ 116209 w 197236"/>
              <a:gd name="T71" fmla="*/ 126154 h 278582"/>
              <a:gd name="T72" fmla="*/ 128713 w 197236"/>
              <a:gd name="T73" fmla="*/ 130025 h 278582"/>
              <a:gd name="T74" fmla="*/ 138739 w 197236"/>
              <a:gd name="T75" fmla="*/ 224256 h 278582"/>
              <a:gd name="T76" fmla="*/ 127098 w 197236"/>
              <a:gd name="T77" fmla="*/ 233105 h 278582"/>
              <a:gd name="T78" fmla="*/ 115807 w 197236"/>
              <a:gd name="T79" fmla="*/ 238062 h 278582"/>
              <a:gd name="T80" fmla="*/ 197236 w 197236"/>
              <a:gd name="T81" fmla="*/ 238062 h 278582"/>
              <a:gd name="T82" fmla="*/ 197236 w 197236"/>
              <a:gd name="T83" fmla="*/ 124759 h 278582"/>
              <a:gd name="T84" fmla="*/ 197236 w 197236"/>
              <a:gd name="T85" fmla="*/ 0 h 278582"/>
              <a:gd name="T86" fmla="*/ 138739 w 197236"/>
              <a:gd name="T87" fmla="*/ 0 h 278582"/>
              <a:gd name="T88" fmla="*/ 138739 w 197236"/>
              <a:gd name="T89" fmla="*/ 97205 h 278582"/>
              <a:gd name="T90" fmla="*/ 197236 w 197236"/>
              <a:gd name="T91" fmla="*/ 97205 h 278582"/>
              <a:gd name="T92" fmla="*/ 197236 w 197236"/>
              <a:gd name="T93" fmla="*/ 0 h 278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4" name="object 22">
            <a:extLst>
              <a:ext uri="{FF2B5EF4-FFF2-40B4-BE49-F238E27FC236}">
                <a16:creationId xmlns:a16="http://schemas.microsoft.com/office/drawing/2014/main" id="{05554EF3-827B-41FA-981B-5F71F9500C11}"/>
              </a:ext>
            </a:extLst>
          </p:cNvPr>
          <p:cNvSpPr>
            <a:spLocks/>
          </p:cNvSpPr>
          <p:nvPr/>
        </p:nvSpPr>
        <p:spPr bwMode="auto">
          <a:xfrm>
            <a:off x="8653794" y="6394994"/>
            <a:ext cx="86183" cy="109104"/>
          </a:xfrm>
          <a:custGeom>
            <a:avLst/>
            <a:gdLst>
              <a:gd name="T0" fmla="*/ 58496 w 148435"/>
              <a:gd name="T1" fmla="*/ 3345 h 189286"/>
              <a:gd name="T2" fmla="*/ 0 w 148435"/>
              <a:gd name="T3" fmla="*/ 3345 h 189286"/>
              <a:gd name="T4" fmla="*/ 0 w 148435"/>
              <a:gd name="T5" fmla="*/ 189286 h 189286"/>
              <a:gd name="T6" fmla="*/ 58496 w 148435"/>
              <a:gd name="T7" fmla="*/ 189286 h 189286"/>
              <a:gd name="T8" fmla="*/ 60302 w 148435"/>
              <a:gd name="T9" fmla="*/ 104333 h 189286"/>
              <a:gd name="T10" fmla="*/ 66688 w 148435"/>
              <a:gd name="T11" fmla="*/ 89744 h 189286"/>
              <a:gd name="T12" fmla="*/ 102362 w 148435"/>
              <a:gd name="T13" fmla="*/ 56832 h 189286"/>
              <a:gd name="T14" fmla="*/ 105753 w 148435"/>
              <a:gd name="T15" fmla="*/ 56583 h 189286"/>
              <a:gd name="T16" fmla="*/ 58496 w 148435"/>
              <a:gd name="T17" fmla="*/ 56583 h 189286"/>
              <a:gd name="T18" fmla="*/ 58496 w 148435"/>
              <a:gd name="T19" fmla="*/ 3345 h 189286"/>
              <a:gd name="T20" fmla="*/ 142734 w 148435"/>
              <a:gd name="T21" fmla="*/ 55849 h 189286"/>
              <a:gd name="T22" fmla="*/ 115759 w 148435"/>
              <a:gd name="T23" fmla="*/ 55849 h 189286"/>
              <a:gd name="T24" fmla="*/ 127166 w 148435"/>
              <a:gd name="T25" fmla="*/ 60293 h 189286"/>
              <a:gd name="T26" fmla="*/ 141173 w 148435"/>
              <a:gd name="T27" fmla="*/ 68280 h 189286"/>
              <a:gd name="T28" fmla="*/ 142734 w 148435"/>
              <a:gd name="T29" fmla="*/ 55849 h 189286"/>
              <a:gd name="T30" fmla="*/ 113722 w 148435"/>
              <a:gd name="T31" fmla="*/ 0 h 189286"/>
              <a:gd name="T32" fmla="*/ 75999 w 148435"/>
              <a:gd name="T33" fmla="*/ 26495 h 189286"/>
              <a:gd name="T34" fmla="*/ 59296 w 148435"/>
              <a:gd name="T35" fmla="*/ 56583 h 189286"/>
              <a:gd name="T36" fmla="*/ 105753 w 148435"/>
              <a:gd name="T37" fmla="*/ 56583 h 189286"/>
              <a:gd name="T38" fmla="*/ 115759 w 148435"/>
              <a:gd name="T39" fmla="*/ 55849 h 189286"/>
              <a:gd name="T40" fmla="*/ 142734 w 148435"/>
              <a:gd name="T41" fmla="*/ 55849 h 189286"/>
              <a:gd name="T42" fmla="*/ 148435 w 148435"/>
              <a:gd name="T43" fmla="*/ 10457 h 189286"/>
              <a:gd name="T44" fmla="*/ 137066 w 148435"/>
              <a:gd name="T45" fmla="*/ 4225 h 189286"/>
              <a:gd name="T46" fmla="*/ 126026 w 148435"/>
              <a:gd name="T47" fmla="*/ 873 h 189286"/>
              <a:gd name="T48" fmla="*/ 113722 w 148435"/>
              <a:gd name="T49" fmla="*/ 0 h 189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5" name="object 23">
            <a:extLst>
              <a:ext uri="{FF2B5EF4-FFF2-40B4-BE49-F238E27FC236}">
                <a16:creationId xmlns:a16="http://schemas.microsoft.com/office/drawing/2014/main" id="{74F8479C-1DFC-4673-B0E8-B9A96232A099}"/>
              </a:ext>
            </a:extLst>
          </p:cNvPr>
          <p:cNvSpPr>
            <a:spLocks/>
          </p:cNvSpPr>
          <p:nvPr/>
        </p:nvSpPr>
        <p:spPr bwMode="auto">
          <a:xfrm>
            <a:off x="8747312" y="6394994"/>
            <a:ext cx="111855" cy="111855"/>
          </a:xfrm>
          <a:custGeom>
            <a:avLst/>
            <a:gdLst>
              <a:gd name="T0" fmla="*/ 105791 w 193899"/>
              <a:gd name="T1" fmla="*/ 0 h 192655"/>
              <a:gd name="T2" fmla="*/ 59480 w 193899"/>
              <a:gd name="T3" fmla="*/ 7870 h 192655"/>
              <a:gd name="T4" fmla="*/ 25255 w 193899"/>
              <a:gd name="T5" fmla="*/ 30136 h 192655"/>
              <a:gd name="T6" fmla="*/ 4931 w 193899"/>
              <a:gd name="T7" fmla="*/ 64116 h 192655"/>
              <a:gd name="T8" fmla="*/ 0 w 193899"/>
              <a:gd name="T9" fmla="*/ 91954 h 192655"/>
              <a:gd name="T10" fmla="*/ 901 w 193899"/>
              <a:gd name="T11" fmla="*/ 107653 h 192655"/>
              <a:gd name="T12" fmla="*/ 14163 w 193899"/>
              <a:gd name="T13" fmla="*/ 147572 h 192655"/>
              <a:gd name="T14" fmla="*/ 41702 w 193899"/>
              <a:gd name="T15" fmla="*/ 175703 h 192655"/>
              <a:gd name="T16" fmla="*/ 81516 w 193899"/>
              <a:gd name="T17" fmla="*/ 190728 h 192655"/>
              <a:gd name="T18" fmla="*/ 107485 w 193899"/>
              <a:gd name="T19" fmla="*/ 192655 h 192655"/>
              <a:gd name="T20" fmla="*/ 118689 w 193899"/>
              <a:gd name="T21" fmla="*/ 192350 h 192655"/>
              <a:gd name="T22" fmla="*/ 169214 w 193899"/>
              <a:gd name="T23" fmla="*/ 180915 h 192655"/>
              <a:gd name="T24" fmla="*/ 185591 w 193899"/>
              <a:gd name="T25" fmla="*/ 157805 h 192655"/>
              <a:gd name="T26" fmla="*/ 131330 w 193899"/>
              <a:gd name="T27" fmla="*/ 157805 h 192655"/>
              <a:gd name="T28" fmla="*/ 112833 w 193899"/>
              <a:gd name="T29" fmla="*/ 156784 h 192655"/>
              <a:gd name="T30" fmla="*/ 74396 w 193899"/>
              <a:gd name="T31" fmla="*/ 140117 h 192655"/>
              <a:gd name="T32" fmla="*/ 60397 w 193899"/>
              <a:gd name="T33" fmla="*/ 105806 h 192655"/>
              <a:gd name="T34" fmla="*/ 193899 w 193899"/>
              <a:gd name="T35" fmla="*/ 105806 h 192655"/>
              <a:gd name="T36" fmla="*/ 193588 w 193899"/>
              <a:gd name="T37" fmla="*/ 88898 h 192655"/>
              <a:gd name="T38" fmla="*/ 191559 w 193899"/>
              <a:gd name="T39" fmla="*/ 75149 h 192655"/>
              <a:gd name="T40" fmla="*/ 61603 w 193899"/>
              <a:gd name="T41" fmla="*/ 75149 h 192655"/>
              <a:gd name="T42" fmla="*/ 65003 w 193899"/>
              <a:gd name="T43" fmla="*/ 59641 h 192655"/>
              <a:gd name="T44" fmla="*/ 71797 w 193899"/>
              <a:gd name="T45" fmla="*/ 47600 h 192655"/>
              <a:gd name="T46" fmla="*/ 81695 w 193899"/>
              <a:gd name="T47" fmla="*/ 39292 h 192655"/>
              <a:gd name="T48" fmla="*/ 94403 w 193899"/>
              <a:gd name="T49" fmla="*/ 34981 h 192655"/>
              <a:gd name="T50" fmla="*/ 101926 w 193899"/>
              <a:gd name="T51" fmla="*/ 34407 h 192655"/>
              <a:gd name="T52" fmla="*/ 173308 w 193899"/>
              <a:gd name="T53" fmla="*/ 34407 h 192655"/>
              <a:gd name="T54" fmla="*/ 165226 w 193899"/>
              <a:gd name="T55" fmla="*/ 25366 h 192655"/>
              <a:gd name="T56" fmla="*/ 155231 w 193899"/>
              <a:gd name="T57" fmla="*/ 17102 h 192655"/>
              <a:gd name="T58" fmla="*/ 144141 w 193899"/>
              <a:gd name="T59" fmla="*/ 10399 h 192655"/>
              <a:gd name="T60" fmla="*/ 132106 w 193899"/>
              <a:gd name="T61" fmla="*/ 5291 h 192655"/>
              <a:gd name="T62" fmla="*/ 119273 w 193899"/>
              <a:gd name="T63" fmla="*/ 1813 h 192655"/>
              <a:gd name="T64" fmla="*/ 105791 w 193899"/>
              <a:gd name="T65" fmla="*/ 0 h 192655"/>
              <a:gd name="T66" fmla="*/ 190674 w 193899"/>
              <a:gd name="T67" fmla="*/ 131613 h 192655"/>
              <a:gd name="T68" fmla="*/ 153671 w 193899"/>
              <a:gd name="T69" fmla="*/ 152711 h 192655"/>
              <a:gd name="T70" fmla="*/ 131330 w 193899"/>
              <a:gd name="T71" fmla="*/ 157805 h 192655"/>
              <a:gd name="T72" fmla="*/ 185591 w 193899"/>
              <a:gd name="T73" fmla="*/ 157805 h 192655"/>
              <a:gd name="T74" fmla="*/ 190674 w 193899"/>
              <a:gd name="T75" fmla="*/ 131613 h 192655"/>
              <a:gd name="T76" fmla="*/ 173308 w 193899"/>
              <a:gd name="T77" fmla="*/ 34407 h 192655"/>
              <a:gd name="T78" fmla="*/ 101926 w 193899"/>
              <a:gd name="T79" fmla="*/ 34407 h 192655"/>
              <a:gd name="T80" fmla="*/ 115810 w 193899"/>
              <a:gd name="T81" fmla="*/ 36607 h 192655"/>
              <a:gd name="T82" fmla="*/ 127186 w 193899"/>
              <a:gd name="T83" fmla="*/ 42978 h 192655"/>
              <a:gd name="T84" fmla="*/ 135687 w 193899"/>
              <a:gd name="T85" fmla="*/ 53177 h 192655"/>
              <a:gd name="T86" fmla="*/ 140942 w 193899"/>
              <a:gd name="T87" fmla="*/ 66864 h 192655"/>
              <a:gd name="T88" fmla="*/ 61603 w 193899"/>
              <a:gd name="T89" fmla="*/ 75149 h 192655"/>
              <a:gd name="T90" fmla="*/ 191559 w 193899"/>
              <a:gd name="T91" fmla="*/ 75149 h 192655"/>
              <a:gd name="T92" fmla="*/ 191292 w 193899"/>
              <a:gd name="T93" fmla="*/ 73345 h 192655"/>
              <a:gd name="T94" fmla="*/ 187160 w 193899"/>
              <a:gd name="T95" fmla="*/ 59180 h 192655"/>
              <a:gd name="T96" fmla="*/ 181339 w 193899"/>
              <a:gd name="T97" fmla="*/ 46439 h 192655"/>
              <a:gd name="T98" fmla="*/ 173978 w 193899"/>
              <a:gd name="T99" fmla="*/ 35157 h 192655"/>
              <a:gd name="T100" fmla="*/ 173308 w 193899"/>
              <a:gd name="T101" fmla="*/ 34407 h 19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6" name="object 24">
            <a:extLst>
              <a:ext uri="{FF2B5EF4-FFF2-40B4-BE49-F238E27FC236}">
                <a16:creationId xmlns:a16="http://schemas.microsoft.com/office/drawing/2014/main" id="{0AEA66E4-18A4-4689-9F1C-0B9E48413643}"/>
              </a:ext>
            </a:extLst>
          </p:cNvPr>
          <p:cNvSpPr>
            <a:spLocks/>
          </p:cNvSpPr>
          <p:nvPr/>
        </p:nvSpPr>
        <p:spPr bwMode="auto">
          <a:xfrm>
            <a:off x="8876587" y="6394994"/>
            <a:ext cx="108188" cy="109104"/>
          </a:xfrm>
          <a:custGeom>
            <a:avLst/>
            <a:gdLst>
              <a:gd name="T0" fmla="*/ 58496 w 186753"/>
              <a:gd name="T1" fmla="*/ 3531 h 189472"/>
              <a:gd name="T2" fmla="*/ 0 w 186753"/>
              <a:gd name="T3" fmla="*/ 3531 h 189472"/>
              <a:gd name="T4" fmla="*/ 0 w 186753"/>
              <a:gd name="T5" fmla="*/ 189472 h 189472"/>
              <a:gd name="T6" fmla="*/ 58496 w 186753"/>
              <a:gd name="T7" fmla="*/ 189472 h 189472"/>
              <a:gd name="T8" fmla="*/ 64716 w 186753"/>
              <a:gd name="T9" fmla="*/ 60917 h 189472"/>
              <a:gd name="T10" fmla="*/ 73902 w 186753"/>
              <a:gd name="T11" fmla="*/ 50710 h 189472"/>
              <a:gd name="T12" fmla="*/ 83535 w 186753"/>
              <a:gd name="T13" fmla="*/ 44118 h 189472"/>
              <a:gd name="T14" fmla="*/ 94633 w 186753"/>
              <a:gd name="T15" fmla="*/ 40761 h 189472"/>
              <a:gd name="T16" fmla="*/ 108215 w 186753"/>
              <a:gd name="T17" fmla="*/ 40256 h 189472"/>
              <a:gd name="T18" fmla="*/ 181204 w 186753"/>
              <a:gd name="T19" fmla="*/ 40256 h 189472"/>
              <a:gd name="T20" fmla="*/ 180209 w 186753"/>
              <a:gd name="T21" fmla="*/ 37064 h 189472"/>
              <a:gd name="T22" fmla="*/ 176069 w 186753"/>
              <a:gd name="T23" fmla="*/ 30150 h 189472"/>
              <a:gd name="T24" fmla="*/ 58496 w 186753"/>
              <a:gd name="T25" fmla="*/ 30150 h 189472"/>
              <a:gd name="T26" fmla="*/ 58496 w 186753"/>
              <a:gd name="T27" fmla="*/ 3531 h 189472"/>
              <a:gd name="T28" fmla="*/ 181204 w 186753"/>
              <a:gd name="T29" fmla="*/ 40256 h 189472"/>
              <a:gd name="T30" fmla="*/ 108215 w 186753"/>
              <a:gd name="T31" fmla="*/ 40256 h 189472"/>
              <a:gd name="T32" fmla="*/ 118687 w 186753"/>
              <a:gd name="T33" fmla="*/ 46405 h 189472"/>
              <a:gd name="T34" fmla="*/ 125699 w 186753"/>
              <a:gd name="T35" fmla="*/ 58192 h 189472"/>
              <a:gd name="T36" fmla="*/ 128257 w 186753"/>
              <a:gd name="T37" fmla="*/ 76137 h 189472"/>
              <a:gd name="T38" fmla="*/ 128257 w 186753"/>
              <a:gd name="T39" fmla="*/ 189472 h 189472"/>
              <a:gd name="T40" fmla="*/ 186753 w 186753"/>
              <a:gd name="T41" fmla="*/ 189472 h 189472"/>
              <a:gd name="T42" fmla="*/ 185042 w 186753"/>
              <a:gd name="T43" fmla="*/ 52574 h 189472"/>
              <a:gd name="T44" fmla="*/ 181204 w 186753"/>
              <a:gd name="T45" fmla="*/ 40256 h 189472"/>
              <a:gd name="T46" fmla="*/ 114684 w 186753"/>
              <a:gd name="T47" fmla="*/ 0 h 189472"/>
              <a:gd name="T48" fmla="*/ 68938 w 186753"/>
              <a:gd name="T49" fmla="*/ 19409 h 189472"/>
              <a:gd name="T50" fmla="*/ 58496 w 186753"/>
              <a:gd name="T51" fmla="*/ 30150 h 189472"/>
              <a:gd name="T52" fmla="*/ 176069 w 186753"/>
              <a:gd name="T53" fmla="*/ 30150 h 189472"/>
              <a:gd name="T54" fmla="*/ 140028 w 186753"/>
              <a:gd name="T55" fmla="*/ 3388 h 189472"/>
              <a:gd name="T56" fmla="*/ 114684 w 186753"/>
              <a:gd name="T57" fmla="*/ 0 h 189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7" name="object 25">
            <a:extLst>
              <a:ext uri="{FF2B5EF4-FFF2-40B4-BE49-F238E27FC236}">
                <a16:creationId xmlns:a16="http://schemas.microsoft.com/office/drawing/2014/main" id="{67D21967-488D-498C-84B4-36169B7D7A09}"/>
              </a:ext>
            </a:extLst>
          </p:cNvPr>
          <p:cNvSpPr>
            <a:spLocks/>
          </p:cNvSpPr>
          <p:nvPr/>
        </p:nvSpPr>
        <p:spPr bwMode="auto">
          <a:xfrm>
            <a:off x="6621149" y="6108938"/>
            <a:ext cx="456589" cy="477676"/>
          </a:xfrm>
          <a:custGeom>
            <a:avLst/>
            <a:gdLst>
              <a:gd name="T0" fmla="*/ 66585 w 790525"/>
              <a:gd name="T1" fmla="*/ 162560 h 826770"/>
              <a:gd name="T2" fmla="*/ 78798 w 790525"/>
              <a:gd name="T3" fmla="*/ 207010 h 826770"/>
              <a:gd name="T4" fmla="*/ 31279 w 790525"/>
              <a:gd name="T5" fmla="*/ 292100 h 826770"/>
              <a:gd name="T6" fmla="*/ 426 w 790525"/>
              <a:gd name="T7" fmla="*/ 466090 h 826770"/>
              <a:gd name="T8" fmla="*/ 43637 w 790525"/>
              <a:gd name="T9" fmla="*/ 624840 h 826770"/>
              <a:gd name="T10" fmla="*/ 81010 w 790525"/>
              <a:gd name="T11" fmla="*/ 681990 h 826770"/>
              <a:gd name="T12" fmla="*/ 157224 w 790525"/>
              <a:gd name="T13" fmla="*/ 754380 h 826770"/>
              <a:gd name="T14" fmla="*/ 207199 w 790525"/>
              <a:gd name="T15" fmla="*/ 783590 h 826770"/>
              <a:gd name="T16" fmla="*/ 315749 w 790525"/>
              <a:gd name="T17" fmla="*/ 821690 h 826770"/>
              <a:gd name="T18" fmla="*/ 514267 w 790525"/>
              <a:gd name="T19" fmla="*/ 819150 h 826770"/>
              <a:gd name="T20" fmla="*/ 609328 w 790525"/>
              <a:gd name="T21" fmla="*/ 786130 h 826770"/>
              <a:gd name="T22" fmla="*/ 616272 w 790525"/>
              <a:gd name="T23" fmla="*/ 744220 h 826770"/>
              <a:gd name="T24" fmla="*/ 201626 w 790525"/>
              <a:gd name="T25" fmla="*/ 715010 h 826770"/>
              <a:gd name="T26" fmla="*/ 134155 w 790525"/>
              <a:gd name="T27" fmla="*/ 654050 h 826770"/>
              <a:gd name="T28" fmla="*/ 66491 w 790525"/>
              <a:gd name="T29" fmla="*/ 543560 h 826770"/>
              <a:gd name="T30" fmla="*/ 42317 w 790525"/>
              <a:gd name="T31" fmla="*/ 401320 h 826770"/>
              <a:gd name="T32" fmla="*/ 83745 w 790525"/>
              <a:gd name="T33" fmla="*/ 247650 h 826770"/>
              <a:gd name="T34" fmla="*/ 191896 w 790525"/>
              <a:gd name="T35" fmla="*/ 212090 h 826770"/>
              <a:gd name="T36" fmla="*/ 154483 w 790525"/>
              <a:gd name="T37" fmla="*/ 173990 h 826770"/>
              <a:gd name="T38" fmla="*/ 119420 w 790525"/>
              <a:gd name="T39" fmla="*/ 148590 h 826770"/>
              <a:gd name="T40" fmla="*/ 119256 w 790525"/>
              <a:gd name="T41" fmla="*/ 255270 h 826770"/>
              <a:gd name="T42" fmla="*/ 183966 w 790525"/>
              <a:gd name="T43" fmla="*/ 330200 h 826770"/>
              <a:gd name="T44" fmla="*/ 225190 w 790525"/>
              <a:gd name="T45" fmla="*/ 381000 h 826770"/>
              <a:gd name="T46" fmla="*/ 254311 w 790525"/>
              <a:gd name="T47" fmla="*/ 425450 h 826770"/>
              <a:gd name="T48" fmla="*/ 253814 w 790525"/>
              <a:gd name="T49" fmla="*/ 482600 h 826770"/>
              <a:gd name="T50" fmla="*/ 237140 w 790525"/>
              <a:gd name="T51" fmla="*/ 554990 h 826770"/>
              <a:gd name="T52" fmla="*/ 222794 w 790525"/>
              <a:gd name="T53" fmla="*/ 718820 h 826770"/>
              <a:gd name="T54" fmla="*/ 592655 w 790525"/>
              <a:gd name="T55" fmla="*/ 669290 h 826770"/>
              <a:gd name="T56" fmla="*/ 577540 w 790525"/>
              <a:gd name="T57" fmla="*/ 482600 h 826770"/>
              <a:gd name="T58" fmla="*/ 626380 w 790525"/>
              <a:gd name="T59" fmla="*/ 356870 h 826770"/>
              <a:gd name="T60" fmla="*/ 405812 w 790525"/>
              <a:gd name="T61" fmla="*/ 321310 h 826770"/>
              <a:gd name="T62" fmla="*/ 286561 w 790525"/>
              <a:gd name="T63" fmla="*/ 284480 h 826770"/>
              <a:gd name="T64" fmla="*/ 210527 w 790525"/>
              <a:gd name="T65" fmla="*/ 228600 h 826770"/>
              <a:gd name="T66" fmla="*/ 728545 w 790525"/>
              <a:gd name="T67" fmla="*/ 339090 h 826770"/>
              <a:gd name="T68" fmla="*/ 738699 w 790525"/>
              <a:gd name="T69" fmla="*/ 504190 h 826770"/>
              <a:gd name="T70" fmla="*/ 662084 w 790525"/>
              <a:gd name="T71" fmla="*/ 665480 h 826770"/>
              <a:gd name="T72" fmla="*/ 666275 w 790525"/>
              <a:gd name="T73" fmla="*/ 684530 h 826770"/>
              <a:gd name="T74" fmla="*/ 710323 w 790525"/>
              <a:gd name="T75" fmla="*/ 645160 h 826770"/>
              <a:gd name="T76" fmla="*/ 785728 w 790525"/>
              <a:gd name="T77" fmla="*/ 415290 h 826770"/>
              <a:gd name="T78" fmla="*/ 759233 w 790525"/>
              <a:gd name="T79" fmla="*/ 269240 h 826770"/>
              <a:gd name="T80" fmla="*/ 583941 w 790525"/>
              <a:gd name="T81" fmla="*/ 142240 h 826770"/>
              <a:gd name="T82" fmla="*/ 578252 w 790525"/>
              <a:gd name="T83" fmla="*/ 264160 h 826770"/>
              <a:gd name="T84" fmla="*/ 653076 w 790525"/>
              <a:gd name="T85" fmla="*/ 321310 h 826770"/>
              <a:gd name="T86" fmla="*/ 759233 w 790525"/>
              <a:gd name="T87" fmla="*/ 269240 h 826770"/>
              <a:gd name="T88" fmla="*/ 789985 w 790525"/>
              <a:gd name="T89" fmla="*/ 166370 h 826770"/>
              <a:gd name="T90" fmla="*/ 660777 w 790525"/>
              <a:gd name="T91" fmla="*/ 128270 h 826770"/>
              <a:gd name="T92" fmla="*/ 300642 w 790525"/>
              <a:gd name="T93" fmla="*/ 85090 h 826770"/>
              <a:gd name="T94" fmla="*/ 291916 w 790525"/>
              <a:gd name="T95" fmla="*/ 138430 h 826770"/>
              <a:gd name="T96" fmla="*/ 385181 w 790525"/>
              <a:gd name="T97" fmla="*/ 283210 h 826770"/>
              <a:gd name="T98" fmla="*/ 523231 w 790525"/>
              <a:gd name="T99" fmla="*/ 205740 h 826770"/>
              <a:gd name="T100" fmla="*/ 630062 w 790525"/>
              <a:gd name="T101" fmla="*/ 104140 h 826770"/>
              <a:gd name="T102" fmla="*/ 718209 w 790525"/>
              <a:gd name="T103" fmla="*/ 146050 h 826770"/>
              <a:gd name="T104" fmla="*/ 776367 w 790525"/>
              <a:gd name="T105" fmla="*/ 143510 h 826770"/>
              <a:gd name="T106" fmla="*/ 401475 w 790525"/>
              <a:gd name="T107" fmla="*/ 0 h 826770"/>
              <a:gd name="T108" fmla="*/ 238833 w 790525"/>
              <a:gd name="T109" fmla="*/ 73660 h 826770"/>
              <a:gd name="T110" fmla="*/ 152920 w 790525"/>
              <a:gd name="T111" fmla="*/ 129540 h 826770"/>
              <a:gd name="T112" fmla="*/ 176990 w 790525"/>
              <a:gd name="T113" fmla="*/ 142240 h 826770"/>
              <a:gd name="T114" fmla="*/ 231913 w 790525"/>
              <a:gd name="T115" fmla="*/ 109220 h 826770"/>
              <a:gd name="T116" fmla="*/ 575018 w 790525"/>
              <a:gd name="T117" fmla="*/ 72390 h 826770"/>
              <a:gd name="T118" fmla="*/ 503374 w 790525"/>
              <a:gd name="T119" fmla="*/ 46990 h 826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4538" name="object 26">
            <a:extLst>
              <a:ext uri="{FF2B5EF4-FFF2-40B4-BE49-F238E27FC236}">
                <a16:creationId xmlns:a16="http://schemas.microsoft.com/office/drawing/2014/main" id="{C0C0C0CE-4B1C-43F8-A280-1176226CAF20}"/>
              </a:ext>
            </a:extLst>
          </p:cNvPr>
          <p:cNvSpPr>
            <a:spLocks/>
          </p:cNvSpPr>
          <p:nvPr/>
        </p:nvSpPr>
        <p:spPr bwMode="auto">
          <a:xfrm>
            <a:off x="2938794" y="794905"/>
            <a:ext cx="5361709" cy="780235"/>
          </a:xfrm>
          <a:custGeom>
            <a:avLst/>
            <a:gdLst>
              <a:gd name="T0" fmla="*/ 9283611 w 9283611"/>
              <a:gd name="T1" fmla="*/ 0 h 1349997"/>
              <a:gd name="T2" fmla="*/ 0 w 9283611"/>
              <a:gd name="T3" fmla="*/ 0 h 1349997"/>
              <a:gd name="T4" fmla="*/ 0 w 9283611"/>
              <a:gd name="T5" fmla="*/ 1349997 h 1349997"/>
              <a:gd name="T6" fmla="*/ 8802179 w 9283611"/>
              <a:gd name="T7" fmla="*/ 1349336 h 1349997"/>
              <a:gd name="T8" fmla="*/ 8878042 w 9283611"/>
              <a:gd name="T9" fmla="*/ 1347768 h 1349997"/>
              <a:gd name="T10" fmla="*/ 8945486 w 9283611"/>
              <a:gd name="T11" fmla="*/ 1344714 h 1349997"/>
              <a:gd name="T12" fmla="*/ 9005004 w 9283611"/>
              <a:gd name="T13" fmla="*/ 1339678 h 1349997"/>
              <a:gd name="T14" fmla="*/ 9057093 w 9283611"/>
              <a:gd name="T15" fmla="*/ 1332166 h 1349997"/>
              <a:gd name="T16" fmla="*/ 9102248 w 9283611"/>
              <a:gd name="T17" fmla="*/ 1321682 h 1349997"/>
              <a:gd name="T18" fmla="*/ 9140964 w 9283611"/>
              <a:gd name="T19" fmla="*/ 1307731 h 1349997"/>
              <a:gd name="T20" fmla="*/ 9201061 w 9283611"/>
              <a:gd name="T21" fmla="*/ 1267447 h 1349997"/>
              <a:gd name="T22" fmla="*/ 9241345 w 9283611"/>
              <a:gd name="T23" fmla="*/ 1207350 h 1349997"/>
              <a:gd name="T24" fmla="*/ 9255296 w 9283611"/>
              <a:gd name="T25" fmla="*/ 1168634 h 1349997"/>
              <a:gd name="T26" fmla="*/ 9265780 w 9283611"/>
              <a:gd name="T27" fmla="*/ 1123480 h 1349997"/>
              <a:gd name="T28" fmla="*/ 9273292 w 9283611"/>
              <a:gd name="T29" fmla="*/ 1071391 h 1349997"/>
              <a:gd name="T30" fmla="*/ 9278327 w 9283611"/>
              <a:gd name="T31" fmla="*/ 1011872 h 1349997"/>
              <a:gd name="T32" fmla="*/ 9281382 w 9283611"/>
              <a:gd name="T33" fmla="*/ 944429 h 1349997"/>
              <a:gd name="T34" fmla="*/ 9282950 w 9283611"/>
              <a:gd name="T35" fmla="*/ 868565 h 1349997"/>
              <a:gd name="T36" fmla="*/ 9283528 w 9283611"/>
              <a:gd name="T37" fmla="*/ 783786 h 1349997"/>
              <a:gd name="T38" fmla="*/ 9283611 w 9283611"/>
              <a:gd name="T39" fmla="*/ 0 h 1349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283611" h="1349997">
                <a:moveTo>
                  <a:pt x="9283611" y="0"/>
                </a:moveTo>
                <a:lnTo>
                  <a:pt x="0" y="0"/>
                </a:lnTo>
                <a:lnTo>
                  <a:pt x="0" y="1349997"/>
                </a:lnTo>
                <a:lnTo>
                  <a:pt x="8802179" y="1349336"/>
                </a:lnTo>
                <a:lnTo>
                  <a:pt x="8878042" y="1347768"/>
                </a:lnTo>
                <a:lnTo>
                  <a:pt x="8945486" y="1344714"/>
                </a:lnTo>
                <a:lnTo>
                  <a:pt x="9005004" y="1339678"/>
                </a:lnTo>
                <a:lnTo>
                  <a:pt x="9057093" y="1332166"/>
                </a:lnTo>
                <a:lnTo>
                  <a:pt x="9102248" y="1321682"/>
                </a:lnTo>
                <a:lnTo>
                  <a:pt x="9140964" y="1307731"/>
                </a:lnTo>
                <a:lnTo>
                  <a:pt x="9201061" y="1267447"/>
                </a:lnTo>
                <a:lnTo>
                  <a:pt x="9241345" y="1207350"/>
                </a:lnTo>
                <a:lnTo>
                  <a:pt x="9255296" y="1168634"/>
                </a:lnTo>
                <a:lnTo>
                  <a:pt x="9265780" y="1123480"/>
                </a:lnTo>
                <a:lnTo>
                  <a:pt x="9273292" y="1071391"/>
                </a:lnTo>
                <a:lnTo>
                  <a:pt x="9278327" y="1011872"/>
                </a:lnTo>
                <a:lnTo>
                  <a:pt x="9281382" y="944429"/>
                </a:lnTo>
                <a:lnTo>
                  <a:pt x="9282950" y="868565"/>
                </a:lnTo>
                <a:lnTo>
                  <a:pt x="9283528" y="783786"/>
                </a:lnTo>
                <a:lnTo>
                  <a:pt x="9283611"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7" name="object 27">
            <a:extLst>
              <a:ext uri="{FF2B5EF4-FFF2-40B4-BE49-F238E27FC236}">
                <a16:creationId xmlns:a16="http://schemas.microsoft.com/office/drawing/2014/main" id="{68BAAD1C-3D77-40A5-9698-25350253B19B}"/>
              </a:ext>
            </a:extLst>
          </p:cNvPr>
          <p:cNvSpPr txBox="1">
            <a:spLocks noGrp="1"/>
          </p:cNvSpPr>
          <p:nvPr>
            <p:ph type="title"/>
          </p:nvPr>
        </p:nvSpPr>
        <p:spPr>
          <a:xfrm>
            <a:off x="2938794" y="833412"/>
            <a:ext cx="5734254" cy="575779"/>
          </a:xfrm>
        </p:spPr>
        <p:txBody>
          <a:bodyPr vert="horz" lIns="0" tIns="56362" rIns="0" bIns="0" rtlCol="0" anchor="ctr">
            <a:noAutofit/>
          </a:bodyPr>
          <a:lstStyle/>
          <a:p>
            <a:pPr marL="624878">
              <a:defRPr/>
            </a:pPr>
            <a:r>
              <a:rPr lang="en-US" sz="2000" dirty="0" err="1">
                <a:solidFill>
                  <a:srgbClr val="FFFFFF"/>
                </a:solidFill>
                <a:latin typeface="Zawgyi-One" pitchFamily="34" charset="0"/>
                <a:cs typeface="Zawgyi-One" pitchFamily="34" charset="0"/>
              </a:rPr>
              <a:t>ကေလးအမ်ားစုက</a:t>
            </a:r>
            <a:r>
              <a:rPr lang="en-US" sz="2000" dirty="0">
                <a:solidFill>
                  <a:srgbClr val="FFFFFF"/>
                </a:solidFill>
                <a:latin typeface="Zawgyi-One" pitchFamily="34" charset="0"/>
                <a:cs typeface="Zawgyi-One" pitchFamily="34" charset="0"/>
              </a:rPr>
              <a:t> </a:t>
            </a:r>
            <a:r>
              <a:rPr lang="en-US" sz="2000" dirty="0" err="1">
                <a:solidFill>
                  <a:srgbClr val="FFFFFF"/>
                </a:solidFill>
                <a:latin typeface="Zawgyi-One" pitchFamily="34" charset="0"/>
                <a:cs typeface="Zawgyi-One" pitchFamily="34" charset="0"/>
              </a:rPr>
              <a:t>အဆင္ေျပလာတယ္ဆိုတာ</a:t>
            </a:r>
            <a:r>
              <a:rPr lang="en-US" sz="2000" dirty="0">
                <a:solidFill>
                  <a:srgbClr val="FFFFFF"/>
                </a:solidFill>
                <a:latin typeface="Zawgyi-One" pitchFamily="34" charset="0"/>
                <a:cs typeface="Zawgyi-One" pitchFamily="34" charset="0"/>
              </a:rPr>
              <a:t> </a:t>
            </a:r>
            <a:r>
              <a:rPr lang="en-US" sz="2000" dirty="0" err="1">
                <a:solidFill>
                  <a:srgbClr val="FFFFFF"/>
                </a:solidFill>
                <a:latin typeface="Zawgyi-One" pitchFamily="34" charset="0"/>
                <a:cs typeface="Zawgyi-One" pitchFamily="34" charset="0"/>
              </a:rPr>
              <a:t>သူတို႔ကို</a:t>
            </a:r>
            <a:r>
              <a:rPr lang="en-US" sz="2000" dirty="0">
                <a:solidFill>
                  <a:srgbClr val="FFFFFF"/>
                </a:solidFill>
                <a:latin typeface="Zawgyi-One" pitchFamily="34" charset="0"/>
                <a:cs typeface="Zawgyi-One" pitchFamily="34" charset="0"/>
              </a:rPr>
              <a:t>--</a:t>
            </a:r>
            <a:endParaRPr sz="2000" dirty="0">
              <a:latin typeface="Gill Sans Light"/>
              <a:cs typeface="Gill Sans Light"/>
            </a:endParaRPr>
          </a:p>
        </p:txBody>
      </p:sp>
      <p:sp>
        <p:nvSpPr>
          <p:cNvPr id="35" name="object 35">
            <a:extLst>
              <a:ext uri="{FF2B5EF4-FFF2-40B4-BE49-F238E27FC236}">
                <a16:creationId xmlns:a16="http://schemas.microsoft.com/office/drawing/2014/main" id="{9AC9A2A1-D13B-4B3A-92AF-E4DEEC90750C}"/>
              </a:ext>
            </a:extLst>
          </p:cNvPr>
          <p:cNvSpPr>
            <a:spLocks noGrp="1"/>
          </p:cNvSpPr>
          <p:nvPr>
            <p:ph type="ftr" sz="quarter" idx="11"/>
          </p:nvPr>
        </p:nvSpPr>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64541" name="object 28">
            <a:extLst>
              <a:ext uri="{FF2B5EF4-FFF2-40B4-BE49-F238E27FC236}">
                <a16:creationId xmlns:a16="http://schemas.microsoft.com/office/drawing/2014/main" id="{19392DDA-BB9A-4280-B827-1A229D7A01D9}"/>
              </a:ext>
            </a:extLst>
          </p:cNvPr>
          <p:cNvSpPr>
            <a:spLocks/>
          </p:cNvSpPr>
          <p:nvPr/>
        </p:nvSpPr>
        <p:spPr bwMode="auto">
          <a:xfrm>
            <a:off x="2953463" y="2073903"/>
            <a:ext cx="5923124" cy="3687572"/>
          </a:xfrm>
          <a:custGeom>
            <a:avLst/>
            <a:gdLst>
              <a:gd name="T0" fmla="*/ 0 w 9257868"/>
              <a:gd name="T1" fmla="*/ 4068000 h 4068000"/>
              <a:gd name="T2" fmla="*/ 9257868 w 9257868"/>
              <a:gd name="T3" fmla="*/ 4068000 h 4068000"/>
              <a:gd name="T4" fmla="*/ 9257868 w 9257868"/>
              <a:gd name="T5" fmla="*/ 0 h 4068000"/>
              <a:gd name="T6" fmla="*/ 0 w 9257868"/>
              <a:gd name="T7" fmla="*/ 0 h 4068000"/>
              <a:gd name="T8" fmla="*/ 0 w 9257868"/>
              <a:gd name="T9" fmla="*/ 4068000 h 4068000"/>
            </a:gdLst>
            <a:ahLst/>
            <a:cxnLst>
              <a:cxn ang="0">
                <a:pos x="T0" y="T1"/>
              </a:cxn>
              <a:cxn ang="0">
                <a:pos x="T2" y="T3"/>
              </a:cxn>
              <a:cxn ang="0">
                <a:pos x="T4" y="T5"/>
              </a:cxn>
              <a:cxn ang="0">
                <a:pos x="T6" y="T7"/>
              </a:cxn>
              <a:cxn ang="0">
                <a:pos x="T8" y="T9"/>
              </a:cxn>
            </a:cxnLst>
            <a:rect l="0" t="0" r="r" b="b"/>
            <a:pathLst>
              <a:path w="9257868" h="4068000">
                <a:moveTo>
                  <a:pt x="0" y="4068000"/>
                </a:moveTo>
                <a:lnTo>
                  <a:pt x="9257868" y="4068000"/>
                </a:lnTo>
                <a:lnTo>
                  <a:pt x="9257868" y="0"/>
                </a:lnTo>
                <a:lnTo>
                  <a:pt x="0" y="0"/>
                </a:lnTo>
                <a:lnTo>
                  <a:pt x="0" y="40680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3" name="object 33">
            <a:extLst>
              <a:ext uri="{FF2B5EF4-FFF2-40B4-BE49-F238E27FC236}">
                <a16:creationId xmlns:a16="http://schemas.microsoft.com/office/drawing/2014/main" id="{5BDCD199-EA60-49CD-8A8B-B077D61938D7}"/>
              </a:ext>
            </a:extLst>
          </p:cNvPr>
          <p:cNvSpPr txBox="1"/>
          <p:nvPr/>
        </p:nvSpPr>
        <p:spPr>
          <a:xfrm>
            <a:off x="3070954" y="2209799"/>
            <a:ext cx="6073045" cy="2042527"/>
          </a:xfrm>
          <a:prstGeom prst="rect">
            <a:avLst/>
          </a:prstGeom>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marL="291608" marR="0" lvl="0" indent="-285750" algn="l" defTabSz="843533"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တို႔မိဘေတ</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႔)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စုေစာင</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ရွာက္သူ</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တ</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င့္ျ</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န္လည္ေပါင္းစည္းတဲ့အခ</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p>
          <a:p>
            <a:pPr marL="291608" marR="0" lvl="0" indent="-285750" algn="l" defTabSz="843533"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တို႔အေျခခံလိုအပ္ခ်က္ေတ</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ည</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စံုေသာအခ</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20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1608" marR="0" lvl="0" indent="-285750" algn="l" defTabSz="843533"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ရာယ္မွလြတ္ေျမာက</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လံုျခံဳတယ္လို႔ခံစာရေသာအခ</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6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1608" marR="0" lvl="0" indent="-285750" algn="l" defTabSz="843533"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လးမ်ားအတြက</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စိတ္ပိုင္းဆိုင္ရာေထာက္ပံ့မ</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ရရွိေသာအခ</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20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p:txBody>
      </p:sp>
      <p:sp>
        <p:nvSpPr>
          <p:cNvPr id="34" name="object 34">
            <a:extLst>
              <a:ext uri="{FF2B5EF4-FFF2-40B4-BE49-F238E27FC236}">
                <a16:creationId xmlns:a16="http://schemas.microsoft.com/office/drawing/2014/main" id="{7D4A421B-9AF6-46B4-BCCF-4809B41CB1ED}"/>
              </a:ext>
            </a:extLst>
          </p:cNvPr>
          <p:cNvSpPr txBox="1"/>
          <p:nvPr/>
        </p:nvSpPr>
        <p:spPr>
          <a:xfrm>
            <a:off x="9056779" y="5065773"/>
            <a:ext cx="69313" cy="695702"/>
          </a:xfrm>
          <a:prstGeom prst="rect">
            <a:avLst/>
          </a:prstGeom>
        </p:spPr>
        <p:txBody>
          <a:bodyPr vert="vert270" lIns="0" tIns="0" rIns="0" bIns="0"/>
          <a:lstStyle/>
          <a:p>
            <a:pPr marL="7334">
              <a:defRPr/>
            </a:pPr>
            <a:r>
              <a:rPr sz="404" dirty="0">
                <a:solidFill>
                  <a:srgbClr val="FFFFFF"/>
                </a:solidFill>
                <a:latin typeface="Gill Sans"/>
                <a:cs typeface="Gill Sans"/>
              </a:rPr>
              <a:t>Chris de Bode/S</a:t>
            </a:r>
            <a:r>
              <a:rPr sz="404" spc="-14" dirty="0">
                <a:solidFill>
                  <a:srgbClr val="FFFFFF"/>
                </a:solidFill>
                <a:latin typeface="Gill Sans"/>
                <a:cs typeface="Gill Sans"/>
              </a:rPr>
              <a:t>a</a:t>
            </a:r>
            <a:r>
              <a:rPr sz="404" spc="-9" dirty="0">
                <a:solidFill>
                  <a:srgbClr val="FFFFFF"/>
                </a:solidFill>
                <a:latin typeface="Gill Sans"/>
                <a:cs typeface="Gill Sans"/>
              </a:rPr>
              <a:t>v</a:t>
            </a:r>
            <a:r>
              <a:rPr sz="404" dirty="0">
                <a:solidFill>
                  <a:srgbClr val="FFFFFF"/>
                </a:solidFill>
                <a:latin typeface="Gill Sans"/>
                <a:cs typeface="Gill Sans"/>
              </a:rPr>
              <a:t>e the Child</a:t>
            </a:r>
            <a:r>
              <a:rPr sz="404" spc="-9" dirty="0">
                <a:solidFill>
                  <a:srgbClr val="FFFFFF"/>
                </a:solidFill>
                <a:latin typeface="Gill Sans"/>
                <a:cs typeface="Gill Sans"/>
              </a:rPr>
              <a:t>r</a:t>
            </a:r>
            <a:r>
              <a:rPr sz="404" dirty="0">
                <a:solidFill>
                  <a:srgbClr val="FFFFFF"/>
                </a:solidFill>
                <a:latin typeface="Gill Sans"/>
                <a:cs typeface="Gill Sans"/>
              </a:rPr>
              <a:t>en</a:t>
            </a:r>
            <a:endParaRPr sz="404">
              <a:latin typeface="Gill Sans"/>
              <a:cs typeface="Gill Sans"/>
            </a:endParaRPr>
          </a:p>
        </p:txBody>
      </p:sp>
      <p:grpSp>
        <p:nvGrpSpPr>
          <p:cNvPr id="39" name="Group 38">
            <a:extLst>
              <a:ext uri="{FF2B5EF4-FFF2-40B4-BE49-F238E27FC236}">
                <a16:creationId xmlns:a16="http://schemas.microsoft.com/office/drawing/2014/main" id="{A949DC85-8127-436F-9210-374957D12FAC}"/>
              </a:ext>
            </a:extLst>
          </p:cNvPr>
          <p:cNvGrpSpPr/>
          <p:nvPr/>
        </p:nvGrpSpPr>
        <p:grpSpPr>
          <a:xfrm>
            <a:off x="304800" y="2209800"/>
            <a:ext cx="2667000" cy="2050212"/>
            <a:chOff x="838200" y="2514600"/>
            <a:chExt cx="2667000" cy="2050212"/>
          </a:xfrm>
        </p:grpSpPr>
        <p:sp>
          <p:nvSpPr>
            <p:cNvPr id="40" name="object 24">
              <a:extLst>
                <a:ext uri="{FF2B5EF4-FFF2-40B4-BE49-F238E27FC236}">
                  <a16:creationId xmlns:a16="http://schemas.microsoft.com/office/drawing/2014/main" id="{1F82A00D-0F8A-49FF-90A8-5C12F82D1752}"/>
                </a:ext>
              </a:extLst>
            </p:cNvPr>
            <p:cNvSpPr>
              <a:spLocks/>
            </p:cNvSpPr>
            <p:nvPr/>
          </p:nvSpPr>
          <p:spPr bwMode="auto">
            <a:xfrm>
              <a:off x="838200" y="2514600"/>
              <a:ext cx="2463800" cy="2050212"/>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900"/>
            </a:p>
          </p:txBody>
        </p:sp>
        <p:sp>
          <p:nvSpPr>
            <p:cNvPr id="41" name="TextBox 40">
              <a:extLst>
                <a:ext uri="{FF2B5EF4-FFF2-40B4-BE49-F238E27FC236}">
                  <a16:creationId xmlns:a16="http://schemas.microsoft.com/office/drawing/2014/main" id="{AECAF54A-77B0-4F11-9491-F85FC8BD8CFB}"/>
                </a:ext>
              </a:extLst>
            </p:cNvPr>
            <p:cNvSpPr txBox="1"/>
            <p:nvPr/>
          </p:nvSpPr>
          <p:spPr>
            <a:xfrm>
              <a:off x="1143000" y="3013500"/>
              <a:ext cx="2362200" cy="553998"/>
            </a:xfrm>
            <a:prstGeom prst="rect">
              <a:avLst/>
            </a:prstGeom>
            <a:noFill/>
          </p:spPr>
          <p:txBody>
            <a:bodyPr wrap="square" lIns="0" tIns="0" rIns="0" bIns="0" rtlCol="0">
              <a:spAutoFit/>
            </a:bodyPr>
            <a:lstStyle/>
            <a:p>
              <a:r>
                <a:rPr lang="en-US" sz="3600" dirty="0" err="1">
                  <a:solidFill>
                    <a:schemeClr val="bg1"/>
                  </a:solidFill>
                  <a:latin typeface="Gill Sans Infant Std"/>
                  <a:cs typeface="Gill Sans Infant Std"/>
                </a:rPr>
                <a:t>ဘာကြောင</a:t>
              </a:r>
              <a:r>
                <a:rPr lang="en-US" sz="3600" dirty="0">
                  <a:solidFill>
                    <a:schemeClr val="bg1"/>
                  </a:solidFill>
                  <a:latin typeface="Gill Sans Infant Std"/>
                  <a:cs typeface="Gill Sans Infant Std"/>
                </a:rPr>
                <a:t>့်</a:t>
              </a:r>
            </a:p>
          </p:txBody>
        </p:sp>
      </p:grpSp>
      <p:sp>
        <p:nvSpPr>
          <p:cNvPr id="36" name="object 6">
            <a:extLst>
              <a:ext uri="{FF2B5EF4-FFF2-40B4-BE49-F238E27FC236}">
                <a16:creationId xmlns:a16="http://schemas.microsoft.com/office/drawing/2014/main" id="{D6566A70-D48E-4F08-B630-6FFD73785086}"/>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7" name="object 7">
            <a:extLst>
              <a:ext uri="{FF2B5EF4-FFF2-40B4-BE49-F238E27FC236}">
                <a16:creationId xmlns:a16="http://schemas.microsoft.com/office/drawing/2014/main" id="{ACA14A7C-3DF6-4F42-940B-E90BEE8E1A6F}"/>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5</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36233702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object 3">
            <a:extLst>
              <a:ext uri="{FF2B5EF4-FFF2-40B4-BE49-F238E27FC236}">
                <a16:creationId xmlns:a16="http://schemas.microsoft.com/office/drawing/2014/main" id="{CA6264C6-4523-48AD-83A8-19D74F2BA33A}"/>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04" name="object 4">
            <a:extLst>
              <a:ext uri="{FF2B5EF4-FFF2-40B4-BE49-F238E27FC236}">
                <a16:creationId xmlns:a16="http://schemas.microsoft.com/office/drawing/2014/main" id="{EB37E37A-A73E-4BB0-92B7-314FC9968EBF}"/>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05" name="object 6">
            <a:extLst>
              <a:ext uri="{FF2B5EF4-FFF2-40B4-BE49-F238E27FC236}">
                <a16:creationId xmlns:a16="http://schemas.microsoft.com/office/drawing/2014/main" id="{A809CAD5-61C9-42F9-AEFB-DBBFFF48A24F}"/>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06" name="object 7">
            <a:extLst>
              <a:ext uri="{FF2B5EF4-FFF2-40B4-BE49-F238E27FC236}">
                <a16:creationId xmlns:a16="http://schemas.microsoft.com/office/drawing/2014/main" id="{D3C1B63D-94F3-4F84-AB6B-207CAF8004C2}"/>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6</a:t>
            </a:r>
            <a:endParaRPr lang="en-US" altLang="en-US" sz="2021" dirty="0">
              <a:latin typeface="Gill Sans" pitchFamily="34" charset="0"/>
              <a:cs typeface="Gill Sans" pitchFamily="34" charset="0"/>
            </a:endParaRPr>
          </a:p>
        </p:txBody>
      </p:sp>
      <p:sp>
        <p:nvSpPr>
          <p:cNvPr id="25607" name="object 8">
            <a:extLst>
              <a:ext uri="{FF2B5EF4-FFF2-40B4-BE49-F238E27FC236}">
                <a16:creationId xmlns:a16="http://schemas.microsoft.com/office/drawing/2014/main" id="{980AC368-D636-43C7-9CC4-3FA48A946125}"/>
              </a:ext>
            </a:extLst>
          </p:cNvPr>
          <p:cNvSpPr>
            <a:spLocks/>
          </p:cNvSpPr>
          <p:nvPr/>
        </p:nvSpPr>
        <p:spPr bwMode="auto">
          <a:xfrm>
            <a:off x="7137332" y="6343651"/>
            <a:ext cx="116440" cy="163198"/>
          </a:xfrm>
          <a:custGeom>
            <a:avLst/>
            <a:gdLst>
              <a:gd name="T0" fmla="*/ 5640 w 201527"/>
              <a:gd name="T1" fmla="*/ 196283 h 282176"/>
              <a:gd name="T2" fmla="*/ 8677 w 201527"/>
              <a:gd name="T3" fmla="*/ 257130 h 282176"/>
              <a:gd name="T4" fmla="*/ 49711 w 201527"/>
              <a:gd name="T5" fmla="*/ 274727 h 282176"/>
              <a:gd name="T6" fmla="*/ 90485 w 201527"/>
              <a:gd name="T7" fmla="*/ 281658 h 282176"/>
              <a:gd name="T8" fmla="*/ 107731 w 201527"/>
              <a:gd name="T9" fmla="*/ 282176 h 282176"/>
              <a:gd name="T10" fmla="*/ 123607 w 201527"/>
              <a:gd name="T11" fmla="*/ 281179 h 282176"/>
              <a:gd name="T12" fmla="*/ 165022 w 201527"/>
              <a:gd name="T13" fmla="*/ 269253 h 282176"/>
              <a:gd name="T14" fmla="*/ 194586 w 201527"/>
              <a:gd name="T15" fmla="*/ 243732 h 282176"/>
              <a:gd name="T16" fmla="*/ 201527 w 201527"/>
              <a:gd name="T17" fmla="*/ 231399 h 282176"/>
              <a:gd name="T18" fmla="*/ 89385 w 201527"/>
              <a:gd name="T19" fmla="*/ 231399 h 282176"/>
              <a:gd name="T20" fmla="*/ 78461 w 201527"/>
              <a:gd name="T21" fmla="*/ 230048 h 282176"/>
              <a:gd name="T22" fmla="*/ 33026 w 201527"/>
              <a:gd name="T23" fmla="*/ 213043 h 282176"/>
              <a:gd name="T24" fmla="*/ 19938 w 201527"/>
              <a:gd name="T25" fmla="*/ 205428 h 282176"/>
              <a:gd name="T26" fmla="*/ 5640 w 201527"/>
              <a:gd name="T27" fmla="*/ 196283 h 282176"/>
              <a:gd name="T28" fmla="*/ 97394 w 201527"/>
              <a:gd name="T29" fmla="*/ 0 h 282176"/>
              <a:gd name="T30" fmla="*/ 50135 w 201527"/>
              <a:gd name="T31" fmla="*/ 9503 h 282176"/>
              <a:gd name="T32" fmla="*/ 17155 w 201527"/>
              <a:gd name="T33" fmla="*/ 32415 h 282176"/>
              <a:gd name="T34" fmla="*/ 0 w 201527"/>
              <a:gd name="T35" fmla="*/ 80392 h 282176"/>
              <a:gd name="T36" fmla="*/ 1613 w 201527"/>
              <a:gd name="T37" fmla="*/ 96400 h 282176"/>
              <a:gd name="T38" fmla="*/ 20167 w 201527"/>
              <a:gd name="T39" fmla="*/ 132500 h 282176"/>
              <a:gd name="T40" fmla="*/ 52208 w 201527"/>
              <a:gd name="T41" fmla="*/ 155308 h 282176"/>
              <a:gd name="T42" fmla="*/ 100167 w 201527"/>
              <a:gd name="T43" fmla="*/ 175259 h 282176"/>
              <a:gd name="T44" fmla="*/ 110843 w 201527"/>
              <a:gd name="T45" fmla="*/ 179838 h 282176"/>
              <a:gd name="T46" fmla="*/ 139478 w 201527"/>
              <a:gd name="T47" fmla="*/ 211224 h 282176"/>
              <a:gd name="T48" fmla="*/ 135082 w 201527"/>
              <a:gd name="T49" fmla="*/ 219958 h 282176"/>
              <a:gd name="T50" fmla="*/ 125635 w 201527"/>
              <a:gd name="T51" fmla="*/ 226358 h 282176"/>
              <a:gd name="T52" fmla="*/ 110587 w 201527"/>
              <a:gd name="T53" fmla="*/ 230235 h 282176"/>
              <a:gd name="T54" fmla="*/ 89385 w 201527"/>
              <a:gd name="T55" fmla="*/ 231399 h 282176"/>
              <a:gd name="T56" fmla="*/ 201527 w 201527"/>
              <a:gd name="T57" fmla="*/ 231399 h 282176"/>
              <a:gd name="T58" fmla="*/ 206103 w 201527"/>
              <a:gd name="T59" fmla="*/ 219047 h 282176"/>
              <a:gd name="T60" fmla="*/ 209043 w 201527"/>
              <a:gd name="T61" fmla="*/ 204376 h 282176"/>
              <a:gd name="T62" fmla="*/ 209942 w 201527"/>
              <a:gd name="T63" fmla="*/ 188141 h 282176"/>
              <a:gd name="T64" fmla="*/ 206744 w 201527"/>
              <a:gd name="T65" fmla="*/ 173333 h 282176"/>
              <a:gd name="T66" fmla="*/ 184021 w 201527"/>
              <a:gd name="T67" fmla="*/ 139885 h 282176"/>
              <a:gd name="T68" fmla="*/ 149308 w 201527"/>
              <a:gd name="T69" fmla="*/ 118293 h 282176"/>
              <a:gd name="T70" fmla="*/ 112516 w 201527"/>
              <a:gd name="T71" fmla="*/ 102634 h 282176"/>
              <a:gd name="T72" fmla="*/ 101503 w 201527"/>
              <a:gd name="T73" fmla="*/ 97708 h 282176"/>
              <a:gd name="T74" fmla="*/ 72331 w 201527"/>
              <a:gd name="T75" fmla="*/ 65412 h 282176"/>
              <a:gd name="T76" fmla="*/ 80154 w 201527"/>
              <a:gd name="T77" fmla="*/ 57314 h 282176"/>
              <a:gd name="T78" fmla="*/ 93652 w 201527"/>
              <a:gd name="T79" fmla="*/ 52113 h 282176"/>
              <a:gd name="T80" fmla="*/ 112174 w 201527"/>
              <a:gd name="T81" fmla="*/ 50278 h 282176"/>
              <a:gd name="T82" fmla="*/ 197432 w 201527"/>
              <a:gd name="T83" fmla="*/ 50278 h 282176"/>
              <a:gd name="T84" fmla="*/ 196707 w 201527"/>
              <a:gd name="T85" fmla="*/ 20659 h 282176"/>
              <a:gd name="T86" fmla="*/ 160233 w 201527"/>
              <a:gd name="T87" fmla="*/ 7703 h 282176"/>
              <a:gd name="T88" fmla="*/ 111068 w 201527"/>
              <a:gd name="T89" fmla="*/ 250 h 282176"/>
              <a:gd name="T90" fmla="*/ 97394 w 201527"/>
              <a:gd name="T91" fmla="*/ 0 h 282176"/>
              <a:gd name="T92" fmla="*/ 197432 w 201527"/>
              <a:gd name="T93" fmla="*/ 50278 h 282176"/>
              <a:gd name="T94" fmla="*/ 112174 w 201527"/>
              <a:gd name="T95" fmla="*/ 50278 h 282176"/>
              <a:gd name="T96" fmla="*/ 122111 w 201527"/>
              <a:gd name="T97" fmla="*/ 50802 h 282176"/>
              <a:gd name="T98" fmla="*/ 132391 w 201527"/>
              <a:gd name="T99" fmla="*/ 52212 h 282176"/>
              <a:gd name="T100" fmla="*/ 182137 w 201527"/>
              <a:gd name="T101" fmla="*/ 68036 h 282176"/>
              <a:gd name="T102" fmla="*/ 198033 w 201527"/>
              <a:gd name="T103" fmla="*/ 74871 h 282176"/>
              <a:gd name="T104" fmla="*/ 197432 w 201527"/>
              <a:gd name="T105" fmla="*/ 50278 h 28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08" name="object 9">
            <a:extLst>
              <a:ext uri="{FF2B5EF4-FFF2-40B4-BE49-F238E27FC236}">
                <a16:creationId xmlns:a16="http://schemas.microsoft.com/office/drawing/2014/main" id="{3E701A84-C843-4D16-A9E8-C8ACAA8F3362}"/>
              </a:ext>
            </a:extLst>
          </p:cNvPr>
          <p:cNvSpPr>
            <a:spLocks/>
          </p:cNvSpPr>
          <p:nvPr/>
        </p:nvSpPr>
        <p:spPr bwMode="auto">
          <a:xfrm>
            <a:off x="7271192" y="6394994"/>
            <a:ext cx="115522" cy="111855"/>
          </a:xfrm>
          <a:custGeom>
            <a:avLst/>
            <a:gdLst>
              <a:gd name="T0" fmla="*/ 66476 w 200263"/>
              <a:gd name="T1" fmla="*/ 39675 h 192883"/>
              <a:gd name="T2" fmla="*/ 100495 w 200263"/>
              <a:gd name="T3" fmla="*/ 46500 h 192883"/>
              <a:gd name="T4" fmla="*/ 110000 w 200263"/>
              <a:gd name="T5" fmla="*/ 65236 h 192883"/>
              <a:gd name="T6" fmla="*/ 55446 w 200263"/>
              <a:gd name="T7" fmla="*/ 85753 h 192883"/>
              <a:gd name="T8" fmla="*/ 0 w 200263"/>
              <a:gd name="T9" fmla="*/ 137558 h 192883"/>
              <a:gd name="T10" fmla="*/ 24597 w 200263"/>
              <a:gd name="T11" fmla="*/ 185847 h 192883"/>
              <a:gd name="T12" fmla="*/ 63017 w 200263"/>
              <a:gd name="T13" fmla="*/ 192206 h 192883"/>
              <a:gd name="T14" fmla="*/ 86370 w 200263"/>
              <a:gd name="T15" fmla="*/ 186242 h 192883"/>
              <a:gd name="T16" fmla="*/ 111205 w 200263"/>
              <a:gd name="T17" fmla="*/ 172930 h 192883"/>
              <a:gd name="T18" fmla="*/ 197471 w 200263"/>
              <a:gd name="T19" fmla="*/ 156999 h 192883"/>
              <a:gd name="T20" fmla="*/ 69768 w 200263"/>
              <a:gd name="T21" fmla="*/ 154725 h 192883"/>
              <a:gd name="T22" fmla="*/ 61380 w 200263"/>
              <a:gd name="T23" fmla="*/ 134110 h 192883"/>
              <a:gd name="T24" fmla="*/ 73272 w 200263"/>
              <a:gd name="T25" fmla="*/ 116262 h 192883"/>
              <a:gd name="T26" fmla="*/ 99093 w 200263"/>
              <a:gd name="T27" fmla="*/ 103309 h 192883"/>
              <a:gd name="T28" fmla="*/ 168398 w 200263"/>
              <a:gd name="T29" fmla="*/ 56143 h 192883"/>
              <a:gd name="T30" fmla="*/ 166143 w 200263"/>
              <a:gd name="T31" fmla="*/ 39675 h 192883"/>
              <a:gd name="T32" fmla="*/ 111205 w 200263"/>
              <a:gd name="T33" fmla="*/ 172930 h 192883"/>
              <a:gd name="T34" fmla="*/ 128176 w 200263"/>
              <a:gd name="T35" fmla="*/ 190465 h 192883"/>
              <a:gd name="T36" fmla="*/ 155289 w 200263"/>
              <a:gd name="T37" fmla="*/ 191925 h 192883"/>
              <a:gd name="T38" fmla="*/ 180758 w 200263"/>
              <a:gd name="T39" fmla="*/ 185216 h 192883"/>
              <a:gd name="T40" fmla="*/ 194234 w 200263"/>
              <a:gd name="T41" fmla="*/ 172930 h 192883"/>
              <a:gd name="T42" fmla="*/ 99093 w 200263"/>
              <a:gd name="T43" fmla="*/ 103309 h 192883"/>
              <a:gd name="T44" fmla="*/ 98785 w 200263"/>
              <a:gd name="T45" fmla="*/ 152179 h 192883"/>
              <a:gd name="T46" fmla="*/ 197471 w 200263"/>
              <a:gd name="T47" fmla="*/ 156999 h 192883"/>
              <a:gd name="T48" fmla="*/ 172031 w 200263"/>
              <a:gd name="T49" fmla="*/ 153755 h 192883"/>
              <a:gd name="T50" fmla="*/ 168398 w 200263"/>
              <a:gd name="T51" fmla="*/ 103309 h 192883"/>
              <a:gd name="T52" fmla="*/ 186547 w 200263"/>
              <a:gd name="T53" fmla="*/ 152942 h 192883"/>
              <a:gd name="T54" fmla="*/ 198131 w 200263"/>
              <a:gd name="T55" fmla="*/ 153755 h 192883"/>
              <a:gd name="T56" fmla="*/ 100921 w 200263"/>
              <a:gd name="T57" fmla="*/ 0 h 192883"/>
              <a:gd name="T58" fmla="*/ 13527 w 200263"/>
              <a:gd name="T59" fmla="*/ 19618 h 192883"/>
              <a:gd name="T60" fmla="*/ 19103 w 200263"/>
              <a:gd name="T61" fmla="*/ 60877 h 192883"/>
              <a:gd name="T62" fmla="*/ 41987 w 200263"/>
              <a:gd name="T63" fmla="*/ 47029 h 192883"/>
              <a:gd name="T64" fmla="*/ 66476 w 200263"/>
              <a:gd name="T65" fmla="*/ 39675 h 192883"/>
              <a:gd name="T66" fmla="*/ 162125 w 200263"/>
              <a:gd name="T67" fmla="*/ 29081 h 192883"/>
              <a:gd name="T68" fmla="*/ 144530 w 200263"/>
              <a:gd name="T69" fmla="*/ 11338 h 192883"/>
              <a:gd name="T70" fmla="*/ 117446 w 200263"/>
              <a:gd name="T71" fmla="*/ 1909 h 19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09" name="object 10">
            <a:extLst>
              <a:ext uri="{FF2B5EF4-FFF2-40B4-BE49-F238E27FC236}">
                <a16:creationId xmlns:a16="http://schemas.microsoft.com/office/drawing/2014/main" id="{A6AEB2A1-7C88-440D-B0BC-C1E50DA0CD6A}"/>
              </a:ext>
            </a:extLst>
          </p:cNvPr>
          <p:cNvSpPr>
            <a:spLocks/>
          </p:cNvSpPr>
          <p:nvPr/>
        </p:nvSpPr>
        <p:spPr bwMode="auto">
          <a:xfrm>
            <a:off x="7382130" y="6396827"/>
            <a:ext cx="118273" cy="110021"/>
          </a:xfrm>
          <a:custGeom>
            <a:avLst/>
            <a:gdLst>
              <a:gd name="T0" fmla="*/ 62522 w 204089"/>
              <a:gd name="T1" fmla="*/ 0 h 189572"/>
              <a:gd name="T2" fmla="*/ 0 w 204089"/>
              <a:gd name="T3" fmla="*/ 0 h 189572"/>
              <a:gd name="T4" fmla="*/ 85915 w 204089"/>
              <a:gd name="T5" fmla="*/ 189572 h 189572"/>
              <a:gd name="T6" fmla="*/ 118579 w 204089"/>
              <a:gd name="T7" fmla="*/ 189572 h 189572"/>
              <a:gd name="T8" fmla="*/ 157877 w 204089"/>
              <a:gd name="T9" fmla="*/ 102450 h 189572"/>
              <a:gd name="T10" fmla="*/ 102044 w 204089"/>
              <a:gd name="T11" fmla="*/ 102450 h 189572"/>
              <a:gd name="T12" fmla="*/ 62522 w 204089"/>
              <a:gd name="T13" fmla="*/ 0 h 189572"/>
              <a:gd name="T14" fmla="*/ 204089 w 204089"/>
              <a:gd name="T15" fmla="*/ 0 h 189572"/>
              <a:gd name="T16" fmla="*/ 141986 w 204089"/>
              <a:gd name="T17" fmla="*/ 0 h 189572"/>
              <a:gd name="T18" fmla="*/ 102044 w 204089"/>
              <a:gd name="T19" fmla="*/ 102450 h 189572"/>
              <a:gd name="T20" fmla="*/ 157877 w 204089"/>
              <a:gd name="T21" fmla="*/ 102450 h 189572"/>
              <a:gd name="T22" fmla="*/ 204089 w 204089"/>
              <a:gd name="T23" fmla="*/ 0 h 189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0" name="object 11">
            <a:extLst>
              <a:ext uri="{FF2B5EF4-FFF2-40B4-BE49-F238E27FC236}">
                <a16:creationId xmlns:a16="http://schemas.microsoft.com/office/drawing/2014/main" id="{263A0231-107A-4408-AAF1-F65163C99384}"/>
              </a:ext>
            </a:extLst>
          </p:cNvPr>
          <p:cNvSpPr>
            <a:spLocks/>
          </p:cNvSpPr>
          <p:nvPr/>
        </p:nvSpPr>
        <p:spPr bwMode="auto">
          <a:xfrm>
            <a:off x="7504988" y="6394994"/>
            <a:ext cx="111855" cy="111855"/>
          </a:xfrm>
          <a:custGeom>
            <a:avLst/>
            <a:gdLst>
              <a:gd name="T0" fmla="*/ 105811 w 193899"/>
              <a:gd name="T1" fmla="*/ 0 h 192654"/>
              <a:gd name="T2" fmla="*/ 59491 w 193899"/>
              <a:gd name="T3" fmla="*/ 7868 h 192654"/>
              <a:gd name="T4" fmla="*/ 25263 w 193899"/>
              <a:gd name="T5" fmla="*/ 30129 h 192654"/>
              <a:gd name="T6" fmla="*/ 4935 w 193899"/>
              <a:gd name="T7" fmla="*/ 64103 h 192654"/>
              <a:gd name="T8" fmla="*/ 0 w 193899"/>
              <a:gd name="T9" fmla="*/ 91936 h 192654"/>
              <a:gd name="T10" fmla="*/ 901 w 193899"/>
              <a:gd name="T11" fmla="*/ 107638 h 192654"/>
              <a:gd name="T12" fmla="*/ 14163 w 193899"/>
              <a:gd name="T13" fmla="*/ 147563 h 192654"/>
              <a:gd name="T14" fmla="*/ 41700 w 193899"/>
              <a:gd name="T15" fmla="*/ 175697 h 192654"/>
              <a:gd name="T16" fmla="*/ 81507 w 193899"/>
              <a:gd name="T17" fmla="*/ 190725 h 192654"/>
              <a:gd name="T18" fmla="*/ 107477 w 193899"/>
              <a:gd name="T19" fmla="*/ 192654 h 192654"/>
              <a:gd name="T20" fmla="*/ 118685 w 193899"/>
              <a:gd name="T21" fmla="*/ 192350 h 192654"/>
              <a:gd name="T22" fmla="*/ 169205 w 193899"/>
              <a:gd name="T23" fmla="*/ 180923 h 192654"/>
              <a:gd name="T24" fmla="*/ 185590 w 193899"/>
              <a:gd name="T25" fmla="*/ 157804 h 192654"/>
              <a:gd name="T26" fmla="*/ 131343 w 193899"/>
              <a:gd name="T27" fmla="*/ 157804 h 192654"/>
              <a:gd name="T28" fmla="*/ 112847 w 193899"/>
              <a:gd name="T29" fmla="*/ 156783 h 192654"/>
              <a:gd name="T30" fmla="*/ 74410 w 193899"/>
              <a:gd name="T31" fmla="*/ 140121 h 192654"/>
              <a:gd name="T32" fmla="*/ 60396 w 193899"/>
              <a:gd name="T33" fmla="*/ 105806 h 192654"/>
              <a:gd name="T34" fmla="*/ 193899 w 193899"/>
              <a:gd name="T35" fmla="*/ 105806 h 192654"/>
              <a:gd name="T36" fmla="*/ 193591 w 193899"/>
              <a:gd name="T37" fmla="*/ 88898 h 192654"/>
              <a:gd name="T38" fmla="*/ 191563 w 193899"/>
              <a:gd name="T39" fmla="*/ 75148 h 192654"/>
              <a:gd name="T40" fmla="*/ 61603 w 193899"/>
              <a:gd name="T41" fmla="*/ 75148 h 192654"/>
              <a:gd name="T42" fmla="*/ 65005 w 193899"/>
              <a:gd name="T43" fmla="*/ 59643 h 192654"/>
              <a:gd name="T44" fmla="*/ 71796 w 193899"/>
              <a:gd name="T45" fmla="*/ 47603 h 192654"/>
              <a:gd name="T46" fmla="*/ 81690 w 193899"/>
              <a:gd name="T47" fmla="*/ 39294 h 192654"/>
              <a:gd name="T48" fmla="*/ 94400 w 193899"/>
              <a:gd name="T49" fmla="*/ 34982 h 192654"/>
              <a:gd name="T50" fmla="*/ 101938 w 193899"/>
              <a:gd name="T51" fmla="*/ 34406 h 192654"/>
              <a:gd name="T52" fmla="*/ 173313 w 193899"/>
              <a:gd name="T53" fmla="*/ 34406 h 192654"/>
              <a:gd name="T54" fmla="*/ 165235 w 193899"/>
              <a:gd name="T55" fmla="*/ 25369 h 192654"/>
              <a:gd name="T56" fmla="*/ 155241 w 193899"/>
              <a:gd name="T57" fmla="*/ 17104 h 192654"/>
              <a:gd name="T58" fmla="*/ 144153 w 193899"/>
              <a:gd name="T59" fmla="*/ 10401 h 192654"/>
              <a:gd name="T60" fmla="*/ 132120 w 193899"/>
              <a:gd name="T61" fmla="*/ 5293 h 192654"/>
              <a:gd name="T62" fmla="*/ 119289 w 193899"/>
              <a:gd name="T63" fmla="*/ 1814 h 192654"/>
              <a:gd name="T64" fmla="*/ 105811 w 193899"/>
              <a:gd name="T65" fmla="*/ 0 h 192654"/>
              <a:gd name="T66" fmla="*/ 190686 w 193899"/>
              <a:gd name="T67" fmla="*/ 131612 h 192654"/>
              <a:gd name="T68" fmla="*/ 153687 w 193899"/>
              <a:gd name="T69" fmla="*/ 152708 h 192654"/>
              <a:gd name="T70" fmla="*/ 131343 w 193899"/>
              <a:gd name="T71" fmla="*/ 157804 h 192654"/>
              <a:gd name="T72" fmla="*/ 185590 w 193899"/>
              <a:gd name="T73" fmla="*/ 157804 h 192654"/>
              <a:gd name="T74" fmla="*/ 190686 w 193899"/>
              <a:gd name="T75" fmla="*/ 131612 h 192654"/>
              <a:gd name="T76" fmla="*/ 173313 w 193899"/>
              <a:gd name="T77" fmla="*/ 34406 h 192654"/>
              <a:gd name="T78" fmla="*/ 101938 w 193899"/>
              <a:gd name="T79" fmla="*/ 34406 h 192654"/>
              <a:gd name="T80" fmla="*/ 115822 w 193899"/>
              <a:gd name="T81" fmla="*/ 36606 h 192654"/>
              <a:gd name="T82" fmla="*/ 127198 w 193899"/>
              <a:gd name="T83" fmla="*/ 42977 h 192654"/>
              <a:gd name="T84" fmla="*/ 135699 w 193899"/>
              <a:gd name="T85" fmla="*/ 53177 h 192654"/>
              <a:gd name="T86" fmla="*/ 140954 w 193899"/>
              <a:gd name="T87" fmla="*/ 66864 h 192654"/>
              <a:gd name="T88" fmla="*/ 61603 w 193899"/>
              <a:gd name="T89" fmla="*/ 75148 h 192654"/>
              <a:gd name="T90" fmla="*/ 191563 w 193899"/>
              <a:gd name="T91" fmla="*/ 75148 h 192654"/>
              <a:gd name="T92" fmla="*/ 191297 w 193899"/>
              <a:gd name="T93" fmla="*/ 73346 h 192654"/>
              <a:gd name="T94" fmla="*/ 187165 w 193899"/>
              <a:gd name="T95" fmla="*/ 59182 h 192654"/>
              <a:gd name="T96" fmla="*/ 181346 w 193899"/>
              <a:gd name="T97" fmla="*/ 46442 h 192654"/>
              <a:gd name="T98" fmla="*/ 173986 w 193899"/>
              <a:gd name="T99" fmla="*/ 35159 h 192654"/>
              <a:gd name="T100" fmla="*/ 173313 w 193899"/>
              <a:gd name="T101" fmla="*/ 34406 h 19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1" name="object 12">
            <a:extLst>
              <a:ext uri="{FF2B5EF4-FFF2-40B4-BE49-F238E27FC236}">
                <a16:creationId xmlns:a16="http://schemas.microsoft.com/office/drawing/2014/main" id="{B86F4300-B2AE-493A-90CD-7D34FF5D9E03}"/>
              </a:ext>
            </a:extLst>
          </p:cNvPr>
          <p:cNvSpPr>
            <a:spLocks/>
          </p:cNvSpPr>
          <p:nvPr/>
        </p:nvSpPr>
        <p:spPr bwMode="auto">
          <a:xfrm>
            <a:off x="7682855" y="6362904"/>
            <a:ext cx="88017" cy="143945"/>
          </a:xfrm>
          <a:custGeom>
            <a:avLst/>
            <a:gdLst>
              <a:gd name="T0" fmla="*/ 85115 w 152869"/>
              <a:gd name="T1" fmla="*/ 98424 h 248003"/>
              <a:gd name="T2" fmla="*/ 26619 w 152869"/>
              <a:gd name="T3" fmla="*/ 98424 h 248003"/>
              <a:gd name="T4" fmla="*/ 26658 w 152869"/>
              <a:gd name="T5" fmla="*/ 181335 h 248003"/>
              <a:gd name="T6" fmla="*/ 40304 w 152869"/>
              <a:gd name="T7" fmla="*/ 224276 h 248003"/>
              <a:gd name="T8" fmla="*/ 73598 w 152869"/>
              <a:gd name="T9" fmla="*/ 244599 h 248003"/>
              <a:gd name="T10" fmla="*/ 103201 w 152869"/>
              <a:gd name="T11" fmla="*/ 248003 h 248003"/>
              <a:gd name="T12" fmla="*/ 115180 w 152869"/>
              <a:gd name="T13" fmla="*/ 247068 h 248003"/>
              <a:gd name="T14" fmla="*/ 127060 w 152869"/>
              <a:gd name="T15" fmla="*/ 244913 h 248003"/>
              <a:gd name="T16" fmla="*/ 139428 w 152869"/>
              <a:gd name="T17" fmla="*/ 241391 h 248003"/>
              <a:gd name="T18" fmla="*/ 152869 w 152869"/>
              <a:gd name="T19" fmla="*/ 236359 h 248003"/>
              <a:gd name="T20" fmla="*/ 147457 w 152869"/>
              <a:gd name="T21" fmla="*/ 204687 h 248003"/>
              <a:gd name="T22" fmla="*/ 109600 w 152869"/>
              <a:gd name="T23" fmla="*/ 204687 h 248003"/>
              <a:gd name="T24" fmla="*/ 96323 w 152869"/>
              <a:gd name="T25" fmla="*/ 199980 h 248003"/>
              <a:gd name="T26" fmla="*/ 87998 w 152869"/>
              <a:gd name="T27" fmla="*/ 189799 h 248003"/>
              <a:gd name="T28" fmla="*/ 85115 w 152869"/>
              <a:gd name="T29" fmla="*/ 175056 h 248003"/>
              <a:gd name="T30" fmla="*/ 85115 w 152869"/>
              <a:gd name="T31" fmla="*/ 98424 h 248003"/>
              <a:gd name="T32" fmla="*/ 146184 w 152869"/>
              <a:gd name="T33" fmla="*/ 197242 h 248003"/>
              <a:gd name="T34" fmla="*/ 134229 w 152869"/>
              <a:gd name="T35" fmla="*/ 201703 h 248003"/>
              <a:gd name="T36" fmla="*/ 122464 w 152869"/>
              <a:gd name="T37" fmla="*/ 204083 h 248003"/>
              <a:gd name="T38" fmla="*/ 109600 w 152869"/>
              <a:gd name="T39" fmla="*/ 204687 h 248003"/>
              <a:gd name="T40" fmla="*/ 147457 w 152869"/>
              <a:gd name="T41" fmla="*/ 204687 h 248003"/>
              <a:gd name="T42" fmla="*/ 146184 w 152869"/>
              <a:gd name="T43" fmla="*/ 197242 h 248003"/>
              <a:gd name="T44" fmla="*/ 85115 w 152869"/>
              <a:gd name="T45" fmla="*/ 0 h 248003"/>
              <a:gd name="T46" fmla="*/ 77838 w 152869"/>
              <a:gd name="T47" fmla="*/ 0 h 248003"/>
              <a:gd name="T48" fmla="*/ 0 w 152869"/>
              <a:gd name="T49" fmla="*/ 87134 h 248003"/>
              <a:gd name="T50" fmla="*/ 0 w 152869"/>
              <a:gd name="T51" fmla="*/ 98424 h 248003"/>
              <a:gd name="T52" fmla="*/ 152869 w 152869"/>
              <a:gd name="T53" fmla="*/ 98424 h 248003"/>
              <a:gd name="T54" fmla="*/ 152869 w 152869"/>
              <a:gd name="T55" fmla="*/ 58496 h 248003"/>
              <a:gd name="T56" fmla="*/ 85115 w 152869"/>
              <a:gd name="T57" fmla="*/ 58496 h 248003"/>
              <a:gd name="T58" fmla="*/ 85115 w 152869"/>
              <a:gd name="T59" fmla="*/ 0 h 248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2" name="object 13">
            <a:extLst>
              <a:ext uri="{FF2B5EF4-FFF2-40B4-BE49-F238E27FC236}">
                <a16:creationId xmlns:a16="http://schemas.microsoft.com/office/drawing/2014/main" id="{7F3E6FDF-BEA5-4179-ACD0-44B7AAC5C244}"/>
              </a:ext>
            </a:extLst>
          </p:cNvPr>
          <p:cNvSpPr>
            <a:spLocks/>
          </p:cNvSpPr>
          <p:nvPr/>
        </p:nvSpPr>
        <p:spPr bwMode="auto">
          <a:xfrm>
            <a:off x="7784625"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5 w 186347"/>
              <a:gd name="T19" fmla="*/ 124886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9 h 275069"/>
              <a:gd name="T44" fmla="*/ 182341 w 186347"/>
              <a:gd name="T45" fmla="*/ 130617 h 275069"/>
              <a:gd name="T46" fmla="*/ 115026 w 186347"/>
              <a:gd name="T47" fmla="*/ 85571 h 275069"/>
              <a:gd name="T48" fmla="*/ 69226 w 186347"/>
              <a:gd name="T49" fmla="*/ 105591 h 275069"/>
              <a:gd name="T50" fmla="*/ 59296 w 186347"/>
              <a:gd name="T51" fmla="*/ 116560 h 275069"/>
              <a:gd name="T52" fmla="*/ 176188 w 186347"/>
              <a:gd name="T53" fmla="*/ 116560 h 275069"/>
              <a:gd name="T54" fmla="*/ 142032 w 186347"/>
              <a:gd name="T55" fmla="*/ 89611 h 275069"/>
              <a:gd name="T56" fmla="*/ 115026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3" name="object 14">
            <a:extLst>
              <a:ext uri="{FF2B5EF4-FFF2-40B4-BE49-F238E27FC236}">
                <a16:creationId xmlns:a16="http://schemas.microsoft.com/office/drawing/2014/main" id="{5C5BACF4-084B-4DC5-A131-44C39EB1FBF1}"/>
              </a:ext>
            </a:extLst>
          </p:cNvPr>
          <p:cNvSpPr>
            <a:spLocks/>
          </p:cNvSpPr>
          <p:nvPr/>
        </p:nvSpPr>
        <p:spPr bwMode="auto">
          <a:xfrm>
            <a:off x="7909316" y="6394994"/>
            <a:ext cx="111855" cy="111855"/>
          </a:xfrm>
          <a:custGeom>
            <a:avLst/>
            <a:gdLst>
              <a:gd name="T0" fmla="*/ 105790 w 193899"/>
              <a:gd name="T1" fmla="*/ 0 h 192656"/>
              <a:gd name="T2" fmla="*/ 59479 w 193899"/>
              <a:gd name="T3" fmla="*/ 7871 h 192656"/>
              <a:gd name="T4" fmla="*/ 25255 w 193899"/>
              <a:gd name="T5" fmla="*/ 30136 h 192656"/>
              <a:gd name="T6" fmla="*/ 4931 w 193899"/>
              <a:gd name="T7" fmla="*/ 64117 h 192656"/>
              <a:gd name="T8" fmla="*/ 0 w 193899"/>
              <a:gd name="T9" fmla="*/ 91955 h 192656"/>
              <a:gd name="T10" fmla="*/ 902 w 193899"/>
              <a:gd name="T11" fmla="*/ 107655 h 192656"/>
              <a:gd name="T12" fmla="*/ 14164 w 193899"/>
              <a:gd name="T13" fmla="*/ 147576 h 192656"/>
              <a:gd name="T14" fmla="*/ 41704 w 193899"/>
              <a:gd name="T15" fmla="*/ 175707 h 192656"/>
              <a:gd name="T16" fmla="*/ 81518 w 193899"/>
              <a:gd name="T17" fmla="*/ 190730 h 192656"/>
              <a:gd name="T18" fmla="*/ 107487 w 193899"/>
              <a:gd name="T19" fmla="*/ 192656 h 192656"/>
              <a:gd name="T20" fmla="*/ 118692 w 193899"/>
              <a:gd name="T21" fmla="*/ 192351 h 192656"/>
              <a:gd name="T22" fmla="*/ 169220 w 193899"/>
              <a:gd name="T23" fmla="*/ 180914 h 192656"/>
              <a:gd name="T24" fmla="*/ 185594 w 193899"/>
              <a:gd name="T25" fmla="*/ 157805 h 192656"/>
              <a:gd name="T26" fmla="*/ 131330 w 193899"/>
              <a:gd name="T27" fmla="*/ 157805 h 192656"/>
              <a:gd name="T28" fmla="*/ 112833 w 193899"/>
              <a:gd name="T29" fmla="*/ 156784 h 192656"/>
              <a:gd name="T30" fmla="*/ 74402 w 193899"/>
              <a:gd name="T31" fmla="*/ 140117 h 192656"/>
              <a:gd name="T32" fmla="*/ 60397 w 193899"/>
              <a:gd name="T33" fmla="*/ 105806 h 192656"/>
              <a:gd name="T34" fmla="*/ 193899 w 193899"/>
              <a:gd name="T35" fmla="*/ 105806 h 192656"/>
              <a:gd name="T36" fmla="*/ 193588 w 193899"/>
              <a:gd name="T37" fmla="*/ 88898 h 192656"/>
              <a:gd name="T38" fmla="*/ 191558 w 193899"/>
              <a:gd name="T39" fmla="*/ 75149 h 192656"/>
              <a:gd name="T40" fmla="*/ 61604 w 193899"/>
              <a:gd name="T41" fmla="*/ 75149 h 192656"/>
              <a:gd name="T42" fmla="*/ 65003 w 193899"/>
              <a:gd name="T43" fmla="*/ 59641 h 192656"/>
              <a:gd name="T44" fmla="*/ 71797 w 193899"/>
              <a:gd name="T45" fmla="*/ 47600 h 192656"/>
              <a:gd name="T46" fmla="*/ 81695 w 193899"/>
              <a:gd name="T47" fmla="*/ 39292 h 192656"/>
              <a:gd name="T48" fmla="*/ 94403 w 193899"/>
              <a:gd name="T49" fmla="*/ 34981 h 192656"/>
              <a:gd name="T50" fmla="*/ 101926 w 193899"/>
              <a:gd name="T51" fmla="*/ 34407 h 192656"/>
              <a:gd name="T52" fmla="*/ 173304 w 193899"/>
              <a:gd name="T53" fmla="*/ 34407 h 192656"/>
              <a:gd name="T54" fmla="*/ 165221 w 193899"/>
              <a:gd name="T55" fmla="*/ 25366 h 192656"/>
              <a:gd name="T56" fmla="*/ 155225 w 193899"/>
              <a:gd name="T57" fmla="*/ 17102 h 192656"/>
              <a:gd name="T58" fmla="*/ 144136 w 193899"/>
              <a:gd name="T59" fmla="*/ 10399 h 192656"/>
              <a:gd name="T60" fmla="*/ 132101 w 193899"/>
              <a:gd name="T61" fmla="*/ 5291 h 192656"/>
              <a:gd name="T62" fmla="*/ 119270 w 193899"/>
              <a:gd name="T63" fmla="*/ 1813 h 192656"/>
              <a:gd name="T64" fmla="*/ 105790 w 193899"/>
              <a:gd name="T65" fmla="*/ 0 h 192656"/>
              <a:gd name="T66" fmla="*/ 190674 w 193899"/>
              <a:gd name="T67" fmla="*/ 131613 h 192656"/>
              <a:gd name="T68" fmla="*/ 153672 w 193899"/>
              <a:gd name="T69" fmla="*/ 152711 h 192656"/>
              <a:gd name="T70" fmla="*/ 131330 w 193899"/>
              <a:gd name="T71" fmla="*/ 157805 h 192656"/>
              <a:gd name="T72" fmla="*/ 185594 w 193899"/>
              <a:gd name="T73" fmla="*/ 157805 h 192656"/>
              <a:gd name="T74" fmla="*/ 190674 w 193899"/>
              <a:gd name="T75" fmla="*/ 131613 h 192656"/>
              <a:gd name="T76" fmla="*/ 173304 w 193899"/>
              <a:gd name="T77" fmla="*/ 34407 h 192656"/>
              <a:gd name="T78" fmla="*/ 101926 w 193899"/>
              <a:gd name="T79" fmla="*/ 34407 h 192656"/>
              <a:gd name="T80" fmla="*/ 115810 w 193899"/>
              <a:gd name="T81" fmla="*/ 36607 h 192656"/>
              <a:gd name="T82" fmla="*/ 127186 w 193899"/>
              <a:gd name="T83" fmla="*/ 42978 h 192656"/>
              <a:gd name="T84" fmla="*/ 135687 w 193899"/>
              <a:gd name="T85" fmla="*/ 53177 h 192656"/>
              <a:gd name="T86" fmla="*/ 140942 w 193899"/>
              <a:gd name="T87" fmla="*/ 66864 h 192656"/>
              <a:gd name="T88" fmla="*/ 61604 w 193899"/>
              <a:gd name="T89" fmla="*/ 75149 h 192656"/>
              <a:gd name="T90" fmla="*/ 191558 w 193899"/>
              <a:gd name="T91" fmla="*/ 75149 h 192656"/>
              <a:gd name="T92" fmla="*/ 191292 w 193899"/>
              <a:gd name="T93" fmla="*/ 73345 h 192656"/>
              <a:gd name="T94" fmla="*/ 187158 w 193899"/>
              <a:gd name="T95" fmla="*/ 59180 h 192656"/>
              <a:gd name="T96" fmla="*/ 181336 w 193899"/>
              <a:gd name="T97" fmla="*/ 46439 h 192656"/>
              <a:gd name="T98" fmla="*/ 173974 w 193899"/>
              <a:gd name="T99" fmla="*/ 35157 h 192656"/>
              <a:gd name="T100" fmla="*/ 173304 w 193899"/>
              <a:gd name="T101" fmla="*/ 34407 h 192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4" name="object 15">
            <a:extLst>
              <a:ext uri="{FF2B5EF4-FFF2-40B4-BE49-F238E27FC236}">
                <a16:creationId xmlns:a16="http://schemas.microsoft.com/office/drawing/2014/main" id="{45053509-AEC0-4F9B-B6A3-A9E52620D0C4}"/>
              </a:ext>
            </a:extLst>
          </p:cNvPr>
          <p:cNvSpPr>
            <a:spLocks/>
          </p:cNvSpPr>
          <p:nvPr/>
        </p:nvSpPr>
        <p:spPr bwMode="auto">
          <a:xfrm>
            <a:off x="8095435" y="6343651"/>
            <a:ext cx="154947" cy="163198"/>
          </a:xfrm>
          <a:custGeom>
            <a:avLst/>
            <a:gdLst>
              <a:gd name="T0" fmla="*/ 157586 w 268134"/>
              <a:gd name="T1" fmla="*/ 0 h 282037"/>
              <a:gd name="T2" fmla="*/ 108500 w 268134"/>
              <a:gd name="T3" fmla="*/ 7392 h 282037"/>
              <a:gd name="T4" fmla="*/ 67972 w 268134"/>
              <a:gd name="T5" fmla="*/ 24922 h 282037"/>
              <a:gd name="T6" fmla="*/ 36461 w 268134"/>
              <a:gd name="T7" fmla="*/ 50795 h 282037"/>
              <a:gd name="T8" fmla="*/ 14425 w 268134"/>
              <a:gd name="T9" fmla="*/ 83213 h 282037"/>
              <a:gd name="T10" fmla="*/ 2323 w 268134"/>
              <a:gd name="T11" fmla="*/ 120379 h 282037"/>
              <a:gd name="T12" fmla="*/ 0 w 268134"/>
              <a:gd name="T13" fmla="*/ 146908 h 282037"/>
              <a:gd name="T14" fmla="*/ 967 w 268134"/>
              <a:gd name="T15" fmla="*/ 159073 h 282037"/>
              <a:gd name="T16" fmla="*/ 15672 w 268134"/>
              <a:gd name="T17" fmla="*/ 205551 h 282037"/>
              <a:gd name="T18" fmla="*/ 48318 w 268134"/>
              <a:gd name="T19" fmla="*/ 244833 h 282037"/>
              <a:gd name="T20" fmla="*/ 85059 w 268134"/>
              <a:gd name="T21" fmla="*/ 266598 h 282037"/>
              <a:gd name="T22" fmla="*/ 132685 w 268134"/>
              <a:gd name="T23" fmla="*/ 279451 h 282037"/>
              <a:gd name="T24" fmla="*/ 170649 w 268134"/>
              <a:gd name="T25" fmla="*/ 282037 h 282037"/>
              <a:gd name="T26" fmla="*/ 183561 w 268134"/>
              <a:gd name="T27" fmla="*/ 281239 h 282037"/>
              <a:gd name="T28" fmla="*/ 231275 w 268134"/>
              <a:gd name="T29" fmla="*/ 270991 h 282037"/>
              <a:gd name="T30" fmla="*/ 268134 w 268134"/>
              <a:gd name="T31" fmla="*/ 254790 h 282037"/>
              <a:gd name="T32" fmla="*/ 266854 w 268134"/>
              <a:gd name="T33" fmla="*/ 224321 h 282037"/>
              <a:gd name="T34" fmla="*/ 155535 w 268134"/>
              <a:gd name="T35" fmla="*/ 224321 h 282037"/>
              <a:gd name="T36" fmla="*/ 140920 w 268134"/>
              <a:gd name="T37" fmla="*/ 221966 h 282037"/>
              <a:gd name="T38" fmla="*/ 103916 w 268134"/>
              <a:gd name="T39" fmla="*/ 204812 h 282037"/>
              <a:gd name="T40" fmla="*/ 79648 w 268134"/>
              <a:gd name="T41" fmla="*/ 173465 h 282037"/>
              <a:gd name="T42" fmla="*/ 71293 w 268134"/>
              <a:gd name="T43" fmla="*/ 129127 h 282037"/>
              <a:gd name="T44" fmla="*/ 74103 w 268134"/>
              <a:gd name="T45" fmla="*/ 116750 h 282037"/>
              <a:gd name="T46" fmla="*/ 104382 w 268134"/>
              <a:gd name="T47" fmla="*/ 77207 h 282037"/>
              <a:gd name="T48" fmla="*/ 145301 w 268134"/>
              <a:gd name="T49" fmla="*/ 60740 h 282037"/>
              <a:gd name="T50" fmla="*/ 180301 w 268134"/>
              <a:gd name="T51" fmla="*/ 57506 h 282037"/>
              <a:gd name="T52" fmla="*/ 262176 w 268134"/>
              <a:gd name="T53" fmla="*/ 57506 h 282037"/>
              <a:gd name="T54" fmla="*/ 258553 w 268134"/>
              <a:gd name="T55" fmla="*/ 20509 h 282037"/>
              <a:gd name="T56" fmla="*/ 214243 w 268134"/>
              <a:gd name="T57" fmla="*/ 5052 h 282037"/>
              <a:gd name="T58" fmla="*/ 173053 w 268134"/>
              <a:gd name="T59" fmla="*/ 284 h 282037"/>
              <a:gd name="T60" fmla="*/ 157586 w 268134"/>
              <a:gd name="T61" fmla="*/ 0 h 282037"/>
              <a:gd name="T62" fmla="*/ 265659 w 268134"/>
              <a:gd name="T63" fmla="*/ 195880 h 282037"/>
              <a:gd name="T64" fmla="*/ 230811 w 268134"/>
              <a:gd name="T65" fmla="*/ 211498 h 282037"/>
              <a:gd name="T66" fmla="*/ 184338 w 268134"/>
              <a:gd name="T67" fmla="*/ 223081 h 282037"/>
              <a:gd name="T68" fmla="*/ 155535 w 268134"/>
              <a:gd name="T69" fmla="*/ 224321 h 282037"/>
              <a:gd name="T70" fmla="*/ 266854 w 268134"/>
              <a:gd name="T71" fmla="*/ 224321 h 282037"/>
              <a:gd name="T72" fmla="*/ 265659 w 268134"/>
              <a:gd name="T73" fmla="*/ 195880 h 282037"/>
              <a:gd name="T74" fmla="*/ 262176 w 268134"/>
              <a:gd name="T75" fmla="*/ 57506 h 282037"/>
              <a:gd name="T76" fmla="*/ 180301 w 268134"/>
              <a:gd name="T77" fmla="*/ 57506 h 282037"/>
              <a:gd name="T78" fmla="*/ 192971 w 268134"/>
              <a:gd name="T79" fmla="*/ 58883 h 282037"/>
              <a:gd name="T80" fmla="*/ 205388 w 268134"/>
              <a:gd name="T81" fmla="*/ 61248 h 282037"/>
              <a:gd name="T82" fmla="*/ 241472 w 268134"/>
              <a:gd name="T83" fmla="*/ 73559 h 282037"/>
              <a:gd name="T84" fmla="*/ 264908 w 268134"/>
              <a:gd name="T85" fmla="*/ 85398 h 282037"/>
              <a:gd name="T86" fmla="*/ 262176 w 268134"/>
              <a:gd name="T87" fmla="*/ 57506 h 28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5" name="object 16">
            <a:extLst>
              <a:ext uri="{FF2B5EF4-FFF2-40B4-BE49-F238E27FC236}">
                <a16:creationId xmlns:a16="http://schemas.microsoft.com/office/drawing/2014/main" id="{0AA99909-0C48-4741-AAF7-5707834AEE11}"/>
              </a:ext>
            </a:extLst>
          </p:cNvPr>
          <p:cNvSpPr>
            <a:spLocks/>
          </p:cNvSpPr>
          <p:nvPr/>
        </p:nvSpPr>
        <p:spPr bwMode="auto">
          <a:xfrm>
            <a:off x="8274220"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4 w 186347"/>
              <a:gd name="T19" fmla="*/ 124885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7 h 275069"/>
              <a:gd name="T44" fmla="*/ 182341 w 186347"/>
              <a:gd name="T45" fmla="*/ 130617 h 275069"/>
              <a:gd name="T46" fmla="*/ 115025 w 186347"/>
              <a:gd name="T47" fmla="*/ 85571 h 275069"/>
              <a:gd name="T48" fmla="*/ 69225 w 186347"/>
              <a:gd name="T49" fmla="*/ 105591 h 275069"/>
              <a:gd name="T50" fmla="*/ 59296 w 186347"/>
              <a:gd name="T51" fmla="*/ 116560 h 275069"/>
              <a:gd name="T52" fmla="*/ 176188 w 186347"/>
              <a:gd name="T53" fmla="*/ 116560 h 275069"/>
              <a:gd name="T54" fmla="*/ 142031 w 186347"/>
              <a:gd name="T55" fmla="*/ 89611 h 275069"/>
              <a:gd name="T56" fmla="*/ 115025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6" name="object 17">
            <a:extLst>
              <a:ext uri="{FF2B5EF4-FFF2-40B4-BE49-F238E27FC236}">
                <a16:creationId xmlns:a16="http://schemas.microsoft.com/office/drawing/2014/main" id="{E3B9510D-6902-4B28-A026-5EF02143F282}"/>
              </a:ext>
            </a:extLst>
          </p:cNvPr>
          <p:cNvSpPr>
            <a:spLocks/>
          </p:cNvSpPr>
          <p:nvPr/>
        </p:nvSpPr>
        <p:spPr bwMode="auto">
          <a:xfrm>
            <a:off x="8405329" y="6396827"/>
            <a:ext cx="33923" cy="107271"/>
          </a:xfrm>
          <a:custGeom>
            <a:avLst/>
            <a:gdLst>
              <a:gd name="T0" fmla="*/ 58483 w 58483"/>
              <a:gd name="T1" fmla="*/ 185940 h 185940"/>
              <a:gd name="T2" fmla="*/ 0 w 58483"/>
              <a:gd name="T3" fmla="*/ 185940 h 185940"/>
              <a:gd name="T4" fmla="*/ 0 w 58483"/>
              <a:gd name="T5" fmla="*/ 0 h 185940"/>
              <a:gd name="T6" fmla="*/ 58483 w 58483"/>
              <a:gd name="T7" fmla="*/ 0 h 185940"/>
              <a:gd name="T8" fmla="*/ 58483 w 58483"/>
              <a:gd name="T9" fmla="*/ 185940 h 185940"/>
            </a:gdLst>
            <a:ahLst/>
            <a:cxnLst>
              <a:cxn ang="0">
                <a:pos x="T0" y="T1"/>
              </a:cxn>
              <a:cxn ang="0">
                <a:pos x="T2" y="T3"/>
              </a:cxn>
              <a:cxn ang="0">
                <a:pos x="T4" y="T5"/>
              </a:cxn>
              <a:cxn ang="0">
                <a:pos x="T6" y="T7"/>
              </a:cxn>
              <a:cxn ang="0">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7" name="object 18">
            <a:extLst>
              <a:ext uri="{FF2B5EF4-FFF2-40B4-BE49-F238E27FC236}">
                <a16:creationId xmlns:a16="http://schemas.microsoft.com/office/drawing/2014/main" id="{E6723585-85EC-4981-9703-C3D3014DBBBE}"/>
              </a:ext>
            </a:extLst>
          </p:cNvPr>
          <p:cNvSpPr>
            <a:spLocks/>
          </p:cNvSpPr>
          <p:nvPr/>
        </p:nvSpPr>
        <p:spPr bwMode="auto">
          <a:xfrm>
            <a:off x="8403496" y="6344567"/>
            <a:ext cx="37590" cy="35757"/>
          </a:xfrm>
          <a:custGeom>
            <a:avLst/>
            <a:gdLst>
              <a:gd name="T0" fmla="*/ 22527 w 64473"/>
              <a:gd name="T1" fmla="*/ 0 h 61899"/>
              <a:gd name="T2" fmla="*/ 10874 w 64473"/>
              <a:gd name="T3" fmla="*/ 6792 h 61899"/>
              <a:gd name="T4" fmla="*/ 2919 w 64473"/>
              <a:gd name="T5" fmla="*/ 18047 h 61899"/>
              <a:gd name="T6" fmla="*/ 0 w 64473"/>
              <a:gd name="T7" fmla="*/ 32655 h 61899"/>
              <a:gd name="T8" fmla="*/ 3222 w 64473"/>
              <a:gd name="T9" fmla="*/ 44495 h 61899"/>
              <a:gd name="T10" fmla="*/ 11233 w 64473"/>
              <a:gd name="T11" fmla="*/ 54014 h 61899"/>
              <a:gd name="T12" fmla="*/ 23799 w 64473"/>
              <a:gd name="T13" fmla="*/ 60164 h 61899"/>
              <a:gd name="T14" fmla="*/ 40683 w 64473"/>
              <a:gd name="T15" fmla="*/ 61899 h 61899"/>
              <a:gd name="T16" fmla="*/ 52926 w 64473"/>
              <a:gd name="T17" fmla="*/ 55454 h 61899"/>
              <a:gd name="T18" fmla="*/ 61342 w 64473"/>
              <a:gd name="T19" fmla="*/ 44588 h 61899"/>
              <a:gd name="T20" fmla="*/ 64473 w 64473"/>
              <a:gd name="T21" fmla="*/ 30764 h 61899"/>
              <a:gd name="T22" fmla="*/ 64333 w 64473"/>
              <a:gd name="T23" fmla="*/ 27777 h 61899"/>
              <a:gd name="T24" fmla="*/ 60786 w 64473"/>
              <a:gd name="T25" fmla="*/ 16334 h 61899"/>
              <a:gd name="T26" fmla="*/ 52552 w 64473"/>
              <a:gd name="T27" fmla="*/ 7219 h 61899"/>
              <a:gd name="T28" fmla="*/ 39757 w 64473"/>
              <a:gd name="T29" fmla="*/ 1439 h 61899"/>
              <a:gd name="T30" fmla="*/ 22527 w 64473"/>
              <a:gd name="T31" fmla="*/ 0 h 6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8" name="object 19">
            <a:extLst>
              <a:ext uri="{FF2B5EF4-FFF2-40B4-BE49-F238E27FC236}">
                <a16:creationId xmlns:a16="http://schemas.microsoft.com/office/drawing/2014/main" id="{851B3878-6449-43A6-AE17-1CBAFCAE0300}"/>
              </a:ext>
            </a:extLst>
          </p:cNvPr>
          <p:cNvSpPr>
            <a:spLocks/>
          </p:cNvSpPr>
          <p:nvPr/>
        </p:nvSpPr>
        <p:spPr bwMode="auto">
          <a:xfrm>
            <a:off x="8464007" y="6345484"/>
            <a:ext cx="33923" cy="158614"/>
          </a:xfrm>
          <a:custGeom>
            <a:avLst/>
            <a:gdLst>
              <a:gd name="T0" fmla="*/ 58483 w 58483"/>
              <a:gd name="T1" fmla="*/ 275069 h 275069"/>
              <a:gd name="T2" fmla="*/ 0 w 58483"/>
              <a:gd name="T3" fmla="*/ 275069 h 275069"/>
              <a:gd name="T4" fmla="*/ 0 w 58483"/>
              <a:gd name="T5" fmla="*/ 0 h 275069"/>
              <a:gd name="T6" fmla="*/ 58483 w 58483"/>
              <a:gd name="T7" fmla="*/ 0 h 275069"/>
              <a:gd name="T8" fmla="*/ 58483 w 58483"/>
              <a:gd name="T9" fmla="*/ 275069 h 275069"/>
            </a:gdLst>
            <a:ahLst/>
            <a:cxnLst>
              <a:cxn ang="0">
                <a:pos x="T0" y="T1"/>
              </a:cxn>
              <a:cxn ang="0">
                <a:pos x="T2" y="T3"/>
              </a:cxn>
              <a:cxn ang="0">
                <a:pos x="T4" y="T5"/>
              </a:cxn>
              <a:cxn ang="0">
                <a:pos x="T6" y="T7"/>
              </a:cxn>
              <a:cxn ang="0">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19" name="object 20">
            <a:extLst>
              <a:ext uri="{FF2B5EF4-FFF2-40B4-BE49-F238E27FC236}">
                <a16:creationId xmlns:a16="http://schemas.microsoft.com/office/drawing/2014/main" id="{B268F7D1-1C2F-4FB7-A6F8-FD15CA393F61}"/>
              </a:ext>
            </a:extLst>
          </p:cNvPr>
          <p:cNvSpPr>
            <a:spLocks/>
          </p:cNvSpPr>
          <p:nvPr/>
        </p:nvSpPr>
        <p:spPr bwMode="auto">
          <a:xfrm>
            <a:off x="8516267" y="6345484"/>
            <a:ext cx="113689" cy="161365"/>
          </a:xfrm>
          <a:custGeom>
            <a:avLst/>
            <a:gdLst>
              <a:gd name="T0" fmla="*/ 102087 w 197236"/>
              <a:gd name="T1" fmla="*/ 86169 h 278582"/>
              <a:gd name="T2" fmla="*/ 55657 w 197236"/>
              <a:gd name="T3" fmla="*/ 94000 h 278582"/>
              <a:gd name="T4" fmla="*/ 22559 w 197236"/>
              <a:gd name="T5" fmla="*/ 116758 h 278582"/>
              <a:gd name="T6" fmla="*/ 3889 w 197236"/>
              <a:gd name="T7" fmla="*/ 151731 h 278582"/>
              <a:gd name="T8" fmla="*/ 0 w 197236"/>
              <a:gd name="T9" fmla="*/ 180495 h 278582"/>
              <a:gd name="T10" fmla="*/ 1017 w 197236"/>
              <a:gd name="T11" fmla="*/ 196586 h 278582"/>
              <a:gd name="T12" fmla="*/ 15258 w 197236"/>
              <a:gd name="T13" fmla="*/ 238127 h 278582"/>
              <a:gd name="T14" fmla="*/ 43518 w 197236"/>
              <a:gd name="T15" fmla="*/ 266692 h 278582"/>
              <a:gd name="T16" fmla="*/ 82248 w 197236"/>
              <a:gd name="T17" fmla="*/ 278582 h 278582"/>
              <a:gd name="T18" fmla="*/ 96853 w 197236"/>
              <a:gd name="T19" fmla="*/ 277906 h 278582"/>
              <a:gd name="T20" fmla="*/ 109525 w 197236"/>
              <a:gd name="T21" fmla="*/ 275602 h 278582"/>
              <a:gd name="T22" fmla="*/ 120879 w 197236"/>
              <a:gd name="T23" fmla="*/ 271516 h 278582"/>
              <a:gd name="T24" fmla="*/ 131530 w 197236"/>
              <a:gd name="T25" fmla="*/ 265489 h 278582"/>
              <a:gd name="T26" fmla="*/ 197236 w 197236"/>
              <a:gd name="T27" fmla="*/ 265489 h 278582"/>
              <a:gd name="T28" fmla="*/ 197236 w 197236"/>
              <a:gd name="T29" fmla="*/ 238062 h 278582"/>
              <a:gd name="T30" fmla="*/ 115807 w 197236"/>
              <a:gd name="T31" fmla="*/ 238062 h 278582"/>
              <a:gd name="T32" fmla="*/ 98970 w 197236"/>
              <a:gd name="T33" fmla="*/ 237049 h 278582"/>
              <a:gd name="T34" fmla="*/ 66747 w 197236"/>
              <a:gd name="T35" fmla="*/ 215624 h 278582"/>
              <a:gd name="T36" fmla="*/ 59470 w 197236"/>
              <a:gd name="T37" fmla="*/ 188992 h 278582"/>
              <a:gd name="T38" fmla="*/ 60697 w 197236"/>
              <a:gd name="T39" fmla="*/ 170084 h 278582"/>
              <a:gd name="T40" fmla="*/ 79093 w 197236"/>
              <a:gd name="T41" fmla="*/ 133069 h 278582"/>
              <a:gd name="T42" fmla="*/ 102296 w 197236"/>
              <a:gd name="T43" fmla="*/ 124759 h 278582"/>
              <a:gd name="T44" fmla="*/ 197236 w 197236"/>
              <a:gd name="T45" fmla="*/ 124759 h 278582"/>
              <a:gd name="T46" fmla="*/ 197236 w 197236"/>
              <a:gd name="T47" fmla="*/ 97205 h 278582"/>
              <a:gd name="T48" fmla="*/ 138739 w 197236"/>
              <a:gd name="T49" fmla="*/ 97205 h 278582"/>
              <a:gd name="T50" fmla="*/ 126684 w 197236"/>
              <a:gd name="T51" fmla="*/ 92052 h 278582"/>
              <a:gd name="T52" fmla="*/ 114506 w 197236"/>
              <a:gd name="T53" fmla="*/ 88361 h 278582"/>
              <a:gd name="T54" fmla="*/ 102087 w 197236"/>
              <a:gd name="T55" fmla="*/ 86169 h 278582"/>
              <a:gd name="T56" fmla="*/ 197236 w 197236"/>
              <a:gd name="T57" fmla="*/ 265489 h 278582"/>
              <a:gd name="T58" fmla="*/ 131530 w 197236"/>
              <a:gd name="T59" fmla="*/ 265489 h 278582"/>
              <a:gd name="T60" fmla="*/ 138739 w 197236"/>
              <a:gd name="T61" fmla="*/ 275081 h 278582"/>
              <a:gd name="T62" fmla="*/ 197236 w 197236"/>
              <a:gd name="T63" fmla="*/ 275081 h 278582"/>
              <a:gd name="T64" fmla="*/ 197236 w 197236"/>
              <a:gd name="T65" fmla="*/ 265489 h 278582"/>
              <a:gd name="T66" fmla="*/ 197236 w 197236"/>
              <a:gd name="T67" fmla="*/ 124759 h 278582"/>
              <a:gd name="T68" fmla="*/ 102296 w 197236"/>
              <a:gd name="T69" fmla="*/ 124759 h 278582"/>
              <a:gd name="T70" fmla="*/ 116209 w 197236"/>
              <a:gd name="T71" fmla="*/ 126154 h 278582"/>
              <a:gd name="T72" fmla="*/ 128713 w 197236"/>
              <a:gd name="T73" fmla="*/ 130025 h 278582"/>
              <a:gd name="T74" fmla="*/ 138739 w 197236"/>
              <a:gd name="T75" fmla="*/ 224256 h 278582"/>
              <a:gd name="T76" fmla="*/ 127098 w 197236"/>
              <a:gd name="T77" fmla="*/ 233105 h 278582"/>
              <a:gd name="T78" fmla="*/ 115807 w 197236"/>
              <a:gd name="T79" fmla="*/ 238062 h 278582"/>
              <a:gd name="T80" fmla="*/ 197236 w 197236"/>
              <a:gd name="T81" fmla="*/ 238062 h 278582"/>
              <a:gd name="T82" fmla="*/ 197236 w 197236"/>
              <a:gd name="T83" fmla="*/ 124759 h 278582"/>
              <a:gd name="T84" fmla="*/ 197236 w 197236"/>
              <a:gd name="T85" fmla="*/ 0 h 278582"/>
              <a:gd name="T86" fmla="*/ 138739 w 197236"/>
              <a:gd name="T87" fmla="*/ 0 h 278582"/>
              <a:gd name="T88" fmla="*/ 138739 w 197236"/>
              <a:gd name="T89" fmla="*/ 97205 h 278582"/>
              <a:gd name="T90" fmla="*/ 197236 w 197236"/>
              <a:gd name="T91" fmla="*/ 97205 h 278582"/>
              <a:gd name="T92" fmla="*/ 197236 w 197236"/>
              <a:gd name="T93" fmla="*/ 0 h 278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20" name="object 21">
            <a:extLst>
              <a:ext uri="{FF2B5EF4-FFF2-40B4-BE49-F238E27FC236}">
                <a16:creationId xmlns:a16="http://schemas.microsoft.com/office/drawing/2014/main" id="{8C8CB61C-E344-4504-B780-D48DDFEE0C83}"/>
              </a:ext>
            </a:extLst>
          </p:cNvPr>
          <p:cNvSpPr>
            <a:spLocks/>
          </p:cNvSpPr>
          <p:nvPr/>
        </p:nvSpPr>
        <p:spPr bwMode="auto">
          <a:xfrm>
            <a:off x="8653794" y="6394994"/>
            <a:ext cx="86183" cy="109104"/>
          </a:xfrm>
          <a:custGeom>
            <a:avLst/>
            <a:gdLst>
              <a:gd name="T0" fmla="*/ 58496 w 148435"/>
              <a:gd name="T1" fmla="*/ 3345 h 189286"/>
              <a:gd name="T2" fmla="*/ 0 w 148435"/>
              <a:gd name="T3" fmla="*/ 3345 h 189286"/>
              <a:gd name="T4" fmla="*/ 0 w 148435"/>
              <a:gd name="T5" fmla="*/ 189286 h 189286"/>
              <a:gd name="T6" fmla="*/ 58496 w 148435"/>
              <a:gd name="T7" fmla="*/ 189286 h 189286"/>
              <a:gd name="T8" fmla="*/ 60302 w 148435"/>
              <a:gd name="T9" fmla="*/ 104333 h 189286"/>
              <a:gd name="T10" fmla="*/ 66688 w 148435"/>
              <a:gd name="T11" fmla="*/ 89744 h 189286"/>
              <a:gd name="T12" fmla="*/ 102362 w 148435"/>
              <a:gd name="T13" fmla="*/ 56832 h 189286"/>
              <a:gd name="T14" fmla="*/ 105753 w 148435"/>
              <a:gd name="T15" fmla="*/ 56583 h 189286"/>
              <a:gd name="T16" fmla="*/ 58496 w 148435"/>
              <a:gd name="T17" fmla="*/ 56583 h 189286"/>
              <a:gd name="T18" fmla="*/ 58496 w 148435"/>
              <a:gd name="T19" fmla="*/ 3345 h 189286"/>
              <a:gd name="T20" fmla="*/ 142734 w 148435"/>
              <a:gd name="T21" fmla="*/ 55849 h 189286"/>
              <a:gd name="T22" fmla="*/ 115759 w 148435"/>
              <a:gd name="T23" fmla="*/ 55849 h 189286"/>
              <a:gd name="T24" fmla="*/ 127166 w 148435"/>
              <a:gd name="T25" fmla="*/ 60293 h 189286"/>
              <a:gd name="T26" fmla="*/ 141173 w 148435"/>
              <a:gd name="T27" fmla="*/ 68280 h 189286"/>
              <a:gd name="T28" fmla="*/ 142734 w 148435"/>
              <a:gd name="T29" fmla="*/ 55849 h 189286"/>
              <a:gd name="T30" fmla="*/ 113722 w 148435"/>
              <a:gd name="T31" fmla="*/ 0 h 189286"/>
              <a:gd name="T32" fmla="*/ 75999 w 148435"/>
              <a:gd name="T33" fmla="*/ 26495 h 189286"/>
              <a:gd name="T34" fmla="*/ 59296 w 148435"/>
              <a:gd name="T35" fmla="*/ 56583 h 189286"/>
              <a:gd name="T36" fmla="*/ 105753 w 148435"/>
              <a:gd name="T37" fmla="*/ 56583 h 189286"/>
              <a:gd name="T38" fmla="*/ 115759 w 148435"/>
              <a:gd name="T39" fmla="*/ 55849 h 189286"/>
              <a:gd name="T40" fmla="*/ 142734 w 148435"/>
              <a:gd name="T41" fmla="*/ 55849 h 189286"/>
              <a:gd name="T42" fmla="*/ 148435 w 148435"/>
              <a:gd name="T43" fmla="*/ 10457 h 189286"/>
              <a:gd name="T44" fmla="*/ 137066 w 148435"/>
              <a:gd name="T45" fmla="*/ 4225 h 189286"/>
              <a:gd name="T46" fmla="*/ 126026 w 148435"/>
              <a:gd name="T47" fmla="*/ 873 h 189286"/>
              <a:gd name="T48" fmla="*/ 113722 w 148435"/>
              <a:gd name="T49" fmla="*/ 0 h 189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21" name="object 22">
            <a:extLst>
              <a:ext uri="{FF2B5EF4-FFF2-40B4-BE49-F238E27FC236}">
                <a16:creationId xmlns:a16="http://schemas.microsoft.com/office/drawing/2014/main" id="{BF922E40-DAC6-40FD-B30F-DAC47C09B16A}"/>
              </a:ext>
            </a:extLst>
          </p:cNvPr>
          <p:cNvSpPr>
            <a:spLocks/>
          </p:cNvSpPr>
          <p:nvPr/>
        </p:nvSpPr>
        <p:spPr bwMode="auto">
          <a:xfrm>
            <a:off x="8747312" y="6394994"/>
            <a:ext cx="111855" cy="111855"/>
          </a:xfrm>
          <a:custGeom>
            <a:avLst/>
            <a:gdLst>
              <a:gd name="T0" fmla="*/ 105791 w 193899"/>
              <a:gd name="T1" fmla="*/ 0 h 192655"/>
              <a:gd name="T2" fmla="*/ 59480 w 193899"/>
              <a:gd name="T3" fmla="*/ 7870 h 192655"/>
              <a:gd name="T4" fmla="*/ 25255 w 193899"/>
              <a:gd name="T5" fmla="*/ 30136 h 192655"/>
              <a:gd name="T6" fmla="*/ 4931 w 193899"/>
              <a:gd name="T7" fmla="*/ 64116 h 192655"/>
              <a:gd name="T8" fmla="*/ 0 w 193899"/>
              <a:gd name="T9" fmla="*/ 91954 h 192655"/>
              <a:gd name="T10" fmla="*/ 901 w 193899"/>
              <a:gd name="T11" fmla="*/ 107653 h 192655"/>
              <a:gd name="T12" fmla="*/ 14163 w 193899"/>
              <a:gd name="T13" fmla="*/ 147572 h 192655"/>
              <a:gd name="T14" fmla="*/ 41702 w 193899"/>
              <a:gd name="T15" fmla="*/ 175703 h 192655"/>
              <a:gd name="T16" fmla="*/ 81516 w 193899"/>
              <a:gd name="T17" fmla="*/ 190728 h 192655"/>
              <a:gd name="T18" fmla="*/ 107485 w 193899"/>
              <a:gd name="T19" fmla="*/ 192655 h 192655"/>
              <a:gd name="T20" fmla="*/ 118689 w 193899"/>
              <a:gd name="T21" fmla="*/ 192350 h 192655"/>
              <a:gd name="T22" fmla="*/ 169214 w 193899"/>
              <a:gd name="T23" fmla="*/ 180915 h 192655"/>
              <a:gd name="T24" fmla="*/ 185591 w 193899"/>
              <a:gd name="T25" fmla="*/ 157805 h 192655"/>
              <a:gd name="T26" fmla="*/ 131330 w 193899"/>
              <a:gd name="T27" fmla="*/ 157805 h 192655"/>
              <a:gd name="T28" fmla="*/ 112833 w 193899"/>
              <a:gd name="T29" fmla="*/ 156784 h 192655"/>
              <a:gd name="T30" fmla="*/ 74396 w 193899"/>
              <a:gd name="T31" fmla="*/ 140117 h 192655"/>
              <a:gd name="T32" fmla="*/ 60397 w 193899"/>
              <a:gd name="T33" fmla="*/ 105806 h 192655"/>
              <a:gd name="T34" fmla="*/ 193899 w 193899"/>
              <a:gd name="T35" fmla="*/ 105806 h 192655"/>
              <a:gd name="T36" fmla="*/ 193588 w 193899"/>
              <a:gd name="T37" fmla="*/ 88898 h 192655"/>
              <a:gd name="T38" fmla="*/ 191559 w 193899"/>
              <a:gd name="T39" fmla="*/ 75149 h 192655"/>
              <a:gd name="T40" fmla="*/ 61603 w 193899"/>
              <a:gd name="T41" fmla="*/ 75149 h 192655"/>
              <a:gd name="T42" fmla="*/ 65003 w 193899"/>
              <a:gd name="T43" fmla="*/ 59641 h 192655"/>
              <a:gd name="T44" fmla="*/ 71797 w 193899"/>
              <a:gd name="T45" fmla="*/ 47600 h 192655"/>
              <a:gd name="T46" fmla="*/ 81695 w 193899"/>
              <a:gd name="T47" fmla="*/ 39292 h 192655"/>
              <a:gd name="T48" fmla="*/ 94403 w 193899"/>
              <a:gd name="T49" fmla="*/ 34981 h 192655"/>
              <a:gd name="T50" fmla="*/ 101926 w 193899"/>
              <a:gd name="T51" fmla="*/ 34407 h 192655"/>
              <a:gd name="T52" fmla="*/ 173308 w 193899"/>
              <a:gd name="T53" fmla="*/ 34407 h 192655"/>
              <a:gd name="T54" fmla="*/ 165226 w 193899"/>
              <a:gd name="T55" fmla="*/ 25366 h 192655"/>
              <a:gd name="T56" fmla="*/ 155231 w 193899"/>
              <a:gd name="T57" fmla="*/ 17102 h 192655"/>
              <a:gd name="T58" fmla="*/ 144141 w 193899"/>
              <a:gd name="T59" fmla="*/ 10399 h 192655"/>
              <a:gd name="T60" fmla="*/ 132106 w 193899"/>
              <a:gd name="T61" fmla="*/ 5291 h 192655"/>
              <a:gd name="T62" fmla="*/ 119273 w 193899"/>
              <a:gd name="T63" fmla="*/ 1813 h 192655"/>
              <a:gd name="T64" fmla="*/ 105791 w 193899"/>
              <a:gd name="T65" fmla="*/ 0 h 192655"/>
              <a:gd name="T66" fmla="*/ 190674 w 193899"/>
              <a:gd name="T67" fmla="*/ 131613 h 192655"/>
              <a:gd name="T68" fmla="*/ 153671 w 193899"/>
              <a:gd name="T69" fmla="*/ 152711 h 192655"/>
              <a:gd name="T70" fmla="*/ 131330 w 193899"/>
              <a:gd name="T71" fmla="*/ 157805 h 192655"/>
              <a:gd name="T72" fmla="*/ 185591 w 193899"/>
              <a:gd name="T73" fmla="*/ 157805 h 192655"/>
              <a:gd name="T74" fmla="*/ 190674 w 193899"/>
              <a:gd name="T75" fmla="*/ 131613 h 192655"/>
              <a:gd name="T76" fmla="*/ 173308 w 193899"/>
              <a:gd name="T77" fmla="*/ 34407 h 192655"/>
              <a:gd name="T78" fmla="*/ 101926 w 193899"/>
              <a:gd name="T79" fmla="*/ 34407 h 192655"/>
              <a:gd name="T80" fmla="*/ 115810 w 193899"/>
              <a:gd name="T81" fmla="*/ 36607 h 192655"/>
              <a:gd name="T82" fmla="*/ 127186 w 193899"/>
              <a:gd name="T83" fmla="*/ 42978 h 192655"/>
              <a:gd name="T84" fmla="*/ 135687 w 193899"/>
              <a:gd name="T85" fmla="*/ 53177 h 192655"/>
              <a:gd name="T86" fmla="*/ 140942 w 193899"/>
              <a:gd name="T87" fmla="*/ 66864 h 192655"/>
              <a:gd name="T88" fmla="*/ 61603 w 193899"/>
              <a:gd name="T89" fmla="*/ 75149 h 192655"/>
              <a:gd name="T90" fmla="*/ 191559 w 193899"/>
              <a:gd name="T91" fmla="*/ 75149 h 192655"/>
              <a:gd name="T92" fmla="*/ 191292 w 193899"/>
              <a:gd name="T93" fmla="*/ 73345 h 192655"/>
              <a:gd name="T94" fmla="*/ 187160 w 193899"/>
              <a:gd name="T95" fmla="*/ 59180 h 192655"/>
              <a:gd name="T96" fmla="*/ 181339 w 193899"/>
              <a:gd name="T97" fmla="*/ 46439 h 192655"/>
              <a:gd name="T98" fmla="*/ 173978 w 193899"/>
              <a:gd name="T99" fmla="*/ 35157 h 192655"/>
              <a:gd name="T100" fmla="*/ 173308 w 193899"/>
              <a:gd name="T101" fmla="*/ 34407 h 19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22" name="object 23">
            <a:extLst>
              <a:ext uri="{FF2B5EF4-FFF2-40B4-BE49-F238E27FC236}">
                <a16:creationId xmlns:a16="http://schemas.microsoft.com/office/drawing/2014/main" id="{3A01D8E8-3582-4D61-9D90-CEC7FAB80DE1}"/>
              </a:ext>
            </a:extLst>
          </p:cNvPr>
          <p:cNvSpPr>
            <a:spLocks/>
          </p:cNvSpPr>
          <p:nvPr/>
        </p:nvSpPr>
        <p:spPr bwMode="auto">
          <a:xfrm>
            <a:off x="8876587" y="6394994"/>
            <a:ext cx="108188" cy="109104"/>
          </a:xfrm>
          <a:custGeom>
            <a:avLst/>
            <a:gdLst>
              <a:gd name="T0" fmla="*/ 58496 w 186753"/>
              <a:gd name="T1" fmla="*/ 3531 h 189472"/>
              <a:gd name="T2" fmla="*/ 0 w 186753"/>
              <a:gd name="T3" fmla="*/ 3531 h 189472"/>
              <a:gd name="T4" fmla="*/ 0 w 186753"/>
              <a:gd name="T5" fmla="*/ 189472 h 189472"/>
              <a:gd name="T6" fmla="*/ 58496 w 186753"/>
              <a:gd name="T7" fmla="*/ 189472 h 189472"/>
              <a:gd name="T8" fmla="*/ 64716 w 186753"/>
              <a:gd name="T9" fmla="*/ 60917 h 189472"/>
              <a:gd name="T10" fmla="*/ 73902 w 186753"/>
              <a:gd name="T11" fmla="*/ 50710 h 189472"/>
              <a:gd name="T12" fmla="*/ 83535 w 186753"/>
              <a:gd name="T13" fmla="*/ 44118 h 189472"/>
              <a:gd name="T14" fmla="*/ 94633 w 186753"/>
              <a:gd name="T15" fmla="*/ 40761 h 189472"/>
              <a:gd name="T16" fmla="*/ 108215 w 186753"/>
              <a:gd name="T17" fmla="*/ 40256 h 189472"/>
              <a:gd name="T18" fmla="*/ 181204 w 186753"/>
              <a:gd name="T19" fmla="*/ 40256 h 189472"/>
              <a:gd name="T20" fmla="*/ 180209 w 186753"/>
              <a:gd name="T21" fmla="*/ 37064 h 189472"/>
              <a:gd name="T22" fmla="*/ 176069 w 186753"/>
              <a:gd name="T23" fmla="*/ 30150 h 189472"/>
              <a:gd name="T24" fmla="*/ 58496 w 186753"/>
              <a:gd name="T25" fmla="*/ 30150 h 189472"/>
              <a:gd name="T26" fmla="*/ 58496 w 186753"/>
              <a:gd name="T27" fmla="*/ 3531 h 189472"/>
              <a:gd name="T28" fmla="*/ 181204 w 186753"/>
              <a:gd name="T29" fmla="*/ 40256 h 189472"/>
              <a:gd name="T30" fmla="*/ 108215 w 186753"/>
              <a:gd name="T31" fmla="*/ 40256 h 189472"/>
              <a:gd name="T32" fmla="*/ 118687 w 186753"/>
              <a:gd name="T33" fmla="*/ 46405 h 189472"/>
              <a:gd name="T34" fmla="*/ 125699 w 186753"/>
              <a:gd name="T35" fmla="*/ 58192 h 189472"/>
              <a:gd name="T36" fmla="*/ 128257 w 186753"/>
              <a:gd name="T37" fmla="*/ 76137 h 189472"/>
              <a:gd name="T38" fmla="*/ 128257 w 186753"/>
              <a:gd name="T39" fmla="*/ 189472 h 189472"/>
              <a:gd name="T40" fmla="*/ 186753 w 186753"/>
              <a:gd name="T41" fmla="*/ 189472 h 189472"/>
              <a:gd name="T42" fmla="*/ 185042 w 186753"/>
              <a:gd name="T43" fmla="*/ 52574 h 189472"/>
              <a:gd name="T44" fmla="*/ 181204 w 186753"/>
              <a:gd name="T45" fmla="*/ 40256 h 189472"/>
              <a:gd name="T46" fmla="*/ 114684 w 186753"/>
              <a:gd name="T47" fmla="*/ 0 h 189472"/>
              <a:gd name="T48" fmla="*/ 68938 w 186753"/>
              <a:gd name="T49" fmla="*/ 19409 h 189472"/>
              <a:gd name="T50" fmla="*/ 58496 w 186753"/>
              <a:gd name="T51" fmla="*/ 30150 h 189472"/>
              <a:gd name="T52" fmla="*/ 176069 w 186753"/>
              <a:gd name="T53" fmla="*/ 30150 h 189472"/>
              <a:gd name="T54" fmla="*/ 140028 w 186753"/>
              <a:gd name="T55" fmla="*/ 3388 h 189472"/>
              <a:gd name="T56" fmla="*/ 114684 w 186753"/>
              <a:gd name="T57" fmla="*/ 0 h 189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23" name="object 24">
            <a:extLst>
              <a:ext uri="{FF2B5EF4-FFF2-40B4-BE49-F238E27FC236}">
                <a16:creationId xmlns:a16="http://schemas.microsoft.com/office/drawing/2014/main" id="{86C48290-AE00-49FC-B27E-33CF5594086B}"/>
              </a:ext>
            </a:extLst>
          </p:cNvPr>
          <p:cNvSpPr>
            <a:spLocks/>
          </p:cNvSpPr>
          <p:nvPr/>
        </p:nvSpPr>
        <p:spPr bwMode="auto">
          <a:xfrm>
            <a:off x="6621149" y="6108938"/>
            <a:ext cx="456589" cy="477676"/>
          </a:xfrm>
          <a:custGeom>
            <a:avLst/>
            <a:gdLst>
              <a:gd name="T0" fmla="*/ 66585 w 790525"/>
              <a:gd name="T1" fmla="*/ 162560 h 826770"/>
              <a:gd name="T2" fmla="*/ 78798 w 790525"/>
              <a:gd name="T3" fmla="*/ 207010 h 826770"/>
              <a:gd name="T4" fmla="*/ 31279 w 790525"/>
              <a:gd name="T5" fmla="*/ 292100 h 826770"/>
              <a:gd name="T6" fmla="*/ 426 w 790525"/>
              <a:gd name="T7" fmla="*/ 466090 h 826770"/>
              <a:gd name="T8" fmla="*/ 43637 w 790525"/>
              <a:gd name="T9" fmla="*/ 624840 h 826770"/>
              <a:gd name="T10" fmla="*/ 81010 w 790525"/>
              <a:gd name="T11" fmla="*/ 681990 h 826770"/>
              <a:gd name="T12" fmla="*/ 157224 w 790525"/>
              <a:gd name="T13" fmla="*/ 754380 h 826770"/>
              <a:gd name="T14" fmla="*/ 207199 w 790525"/>
              <a:gd name="T15" fmla="*/ 783590 h 826770"/>
              <a:gd name="T16" fmla="*/ 315749 w 790525"/>
              <a:gd name="T17" fmla="*/ 821690 h 826770"/>
              <a:gd name="T18" fmla="*/ 514267 w 790525"/>
              <a:gd name="T19" fmla="*/ 819150 h 826770"/>
              <a:gd name="T20" fmla="*/ 609328 w 790525"/>
              <a:gd name="T21" fmla="*/ 786130 h 826770"/>
              <a:gd name="T22" fmla="*/ 616272 w 790525"/>
              <a:gd name="T23" fmla="*/ 744220 h 826770"/>
              <a:gd name="T24" fmla="*/ 201626 w 790525"/>
              <a:gd name="T25" fmla="*/ 715010 h 826770"/>
              <a:gd name="T26" fmla="*/ 134155 w 790525"/>
              <a:gd name="T27" fmla="*/ 654050 h 826770"/>
              <a:gd name="T28" fmla="*/ 66491 w 790525"/>
              <a:gd name="T29" fmla="*/ 543560 h 826770"/>
              <a:gd name="T30" fmla="*/ 42317 w 790525"/>
              <a:gd name="T31" fmla="*/ 401320 h 826770"/>
              <a:gd name="T32" fmla="*/ 83745 w 790525"/>
              <a:gd name="T33" fmla="*/ 247650 h 826770"/>
              <a:gd name="T34" fmla="*/ 191896 w 790525"/>
              <a:gd name="T35" fmla="*/ 212090 h 826770"/>
              <a:gd name="T36" fmla="*/ 154483 w 790525"/>
              <a:gd name="T37" fmla="*/ 173990 h 826770"/>
              <a:gd name="T38" fmla="*/ 119420 w 790525"/>
              <a:gd name="T39" fmla="*/ 148590 h 826770"/>
              <a:gd name="T40" fmla="*/ 119256 w 790525"/>
              <a:gd name="T41" fmla="*/ 255270 h 826770"/>
              <a:gd name="T42" fmla="*/ 183966 w 790525"/>
              <a:gd name="T43" fmla="*/ 330200 h 826770"/>
              <a:gd name="T44" fmla="*/ 225190 w 790525"/>
              <a:gd name="T45" fmla="*/ 381000 h 826770"/>
              <a:gd name="T46" fmla="*/ 254311 w 790525"/>
              <a:gd name="T47" fmla="*/ 425450 h 826770"/>
              <a:gd name="T48" fmla="*/ 253814 w 790525"/>
              <a:gd name="T49" fmla="*/ 482600 h 826770"/>
              <a:gd name="T50" fmla="*/ 237140 w 790525"/>
              <a:gd name="T51" fmla="*/ 554990 h 826770"/>
              <a:gd name="T52" fmla="*/ 222794 w 790525"/>
              <a:gd name="T53" fmla="*/ 718820 h 826770"/>
              <a:gd name="T54" fmla="*/ 592655 w 790525"/>
              <a:gd name="T55" fmla="*/ 669290 h 826770"/>
              <a:gd name="T56" fmla="*/ 577540 w 790525"/>
              <a:gd name="T57" fmla="*/ 482600 h 826770"/>
              <a:gd name="T58" fmla="*/ 626380 w 790525"/>
              <a:gd name="T59" fmla="*/ 356870 h 826770"/>
              <a:gd name="T60" fmla="*/ 405812 w 790525"/>
              <a:gd name="T61" fmla="*/ 321310 h 826770"/>
              <a:gd name="T62" fmla="*/ 286561 w 790525"/>
              <a:gd name="T63" fmla="*/ 284480 h 826770"/>
              <a:gd name="T64" fmla="*/ 210527 w 790525"/>
              <a:gd name="T65" fmla="*/ 228600 h 826770"/>
              <a:gd name="T66" fmla="*/ 728545 w 790525"/>
              <a:gd name="T67" fmla="*/ 339090 h 826770"/>
              <a:gd name="T68" fmla="*/ 738699 w 790525"/>
              <a:gd name="T69" fmla="*/ 504190 h 826770"/>
              <a:gd name="T70" fmla="*/ 662084 w 790525"/>
              <a:gd name="T71" fmla="*/ 665480 h 826770"/>
              <a:gd name="T72" fmla="*/ 666275 w 790525"/>
              <a:gd name="T73" fmla="*/ 684530 h 826770"/>
              <a:gd name="T74" fmla="*/ 710323 w 790525"/>
              <a:gd name="T75" fmla="*/ 645160 h 826770"/>
              <a:gd name="T76" fmla="*/ 785728 w 790525"/>
              <a:gd name="T77" fmla="*/ 415290 h 826770"/>
              <a:gd name="T78" fmla="*/ 759233 w 790525"/>
              <a:gd name="T79" fmla="*/ 269240 h 826770"/>
              <a:gd name="T80" fmla="*/ 583941 w 790525"/>
              <a:gd name="T81" fmla="*/ 142240 h 826770"/>
              <a:gd name="T82" fmla="*/ 578252 w 790525"/>
              <a:gd name="T83" fmla="*/ 264160 h 826770"/>
              <a:gd name="T84" fmla="*/ 653076 w 790525"/>
              <a:gd name="T85" fmla="*/ 321310 h 826770"/>
              <a:gd name="T86" fmla="*/ 759233 w 790525"/>
              <a:gd name="T87" fmla="*/ 269240 h 826770"/>
              <a:gd name="T88" fmla="*/ 789985 w 790525"/>
              <a:gd name="T89" fmla="*/ 166370 h 826770"/>
              <a:gd name="T90" fmla="*/ 660777 w 790525"/>
              <a:gd name="T91" fmla="*/ 128270 h 826770"/>
              <a:gd name="T92" fmla="*/ 300642 w 790525"/>
              <a:gd name="T93" fmla="*/ 85090 h 826770"/>
              <a:gd name="T94" fmla="*/ 291916 w 790525"/>
              <a:gd name="T95" fmla="*/ 138430 h 826770"/>
              <a:gd name="T96" fmla="*/ 385181 w 790525"/>
              <a:gd name="T97" fmla="*/ 283210 h 826770"/>
              <a:gd name="T98" fmla="*/ 523231 w 790525"/>
              <a:gd name="T99" fmla="*/ 205740 h 826770"/>
              <a:gd name="T100" fmla="*/ 630062 w 790525"/>
              <a:gd name="T101" fmla="*/ 104140 h 826770"/>
              <a:gd name="T102" fmla="*/ 718209 w 790525"/>
              <a:gd name="T103" fmla="*/ 146050 h 826770"/>
              <a:gd name="T104" fmla="*/ 776367 w 790525"/>
              <a:gd name="T105" fmla="*/ 143510 h 826770"/>
              <a:gd name="T106" fmla="*/ 401475 w 790525"/>
              <a:gd name="T107" fmla="*/ 0 h 826770"/>
              <a:gd name="T108" fmla="*/ 238833 w 790525"/>
              <a:gd name="T109" fmla="*/ 73660 h 826770"/>
              <a:gd name="T110" fmla="*/ 152920 w 790525"/>
              <a:gd name="T111" fmla="*/ 129540 h 826770"/>
              <a:gd name="T112" fmla="*/ 176990 w 790525"/>
              <a:gd name="T113" fmla="*/ 142240 h 826770"/>
              <a:gd name="T114" fmla="*/ 231913 w 790525"/>
              <a:gd name="T115" fmla="*/ 109220 h 826770"/>
              <a:gd name="T116" fmla="*/ 575018 w 790525"/>
              <a:gd name="T117" fmla="*/ 72390 h 826770"/>
              <a:gd name="T118" fmla="*/ 503374 w 790525"/>
              <a:gd name="T119" fmla="*/ 46990 h 826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625" name="object 26">
            <a:extLst>
              <a:ext uri="{FF2B5EF4-FFF2-40B4-BE49-F238E27FC236}">
                <a16:creationId xmlns:a16="http://schemas.microsoft.com/office/drawing/2014/main" id="{3D00F37F-F866-46D7-B58D-D6EBB838559B}"/>
              </a:ext>
            </a:extLst>
          </p:cNvPr>
          <p:cNvSpPr>
            <a:spLocks/>
          </p:cNvSpPr>
          <p:nvPr/>
        </p:nvSpPr>
        <p:spPr bwMode="auto">
          <a:xfrm>
            <a:off x="2768599" y="1459158"/>
            <a:ext cx="6192371" cy="3939683"/>
          </a:xfrm>
          <a:custGeom>
            <a:avLst/>
            <a:gdLst>
              <a:gd name="T0" fmla="*/ 0 w 10721695"/>
              <a:gd name="T1" fmla="*/ 6821106 h 6821106"/>
              <a:gd name="T2" fmla="*/ 10721695 w 10721695"/>
              <a:gd name="T3" fmla="*/ 6821106 h 6821106"/>
              <a:gd name="T4" fmla="*/ 10721695 w 10721695"/>
              <a:gd name="T5" fmla="*/ 0 h 6821106"/>
              <a:gd name="T6" fmla="*/ 0 w 10721695"/>
              <a:gd name="T7" fmla="*/ 0 h 6821106"/>
              <a:gd name="T8" fmla="*/ 0 w 10721695"/>
              <a:gd name="T9" fmla="*/ 6821106 h 6821106"/>
            </a:gdLst>
            <a:ahLst/>
            <a:cxnLst>
              <a:cxn ang="0">
                <a:pos x="T0" y="T1"/>
              </a:cxn>
              <a:cxn ang="0">
                <a:pos x="T2" y="T3"/>
              </a:cxn>
              <a:cxn ang="0">
                <a:pos x="T4" y="T5"/>
              </a:cxn>
              <a:cxn ang="0">
                <a:pos x="T6" y="T7"/>
              </a:cxn>
              <a:cxn ang="0">
                <a:pos x="T8" y="T9"/>
              </a:cxn>
            </a:cxnLst>
            <a:rect l="0" t="0" r="r" b="b"/>
            <a:pathLst>
              <a:path w="10721695" h="6821106">
                <a:moveTo>
                  <a:pt x="0" y="6821106"/>
                </a:moveTo>
                <a:lnTo>
                  <a:pt x="10721695" y="6821106"/>
                </a:lnTo>
                <a:lnTo>
                  <a:pt x="10721695" y="0"/>
                </a:lnTo>
                <a:lnTo>
                  <a:pt x="0" y="0"/>
                </a:lnTo>
                <a:lnTo>
                  <a:pt x="0" y="6821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2" name="object 32">
            <a:extLst>
              <a:ext uri="{FF2B5EF4-FFF2-40B4-BE49-F238E27FC236}">
                <a16:creationId xmlns:a16="http://schemas.microsoft.com/office/drawing/2014/main" id="{590A38C4-BE05-46C7-A411-D3B548C9878C}"/>
              </a:ext>
            </a:extLst>
          </p:cNvPr>
          <p:cNvSpPr txBox="1"/>
          <p:nvPr/>
        </p:nvSpPr>
        <p:spPr>
          <a:xfrm>
            <a:off x="9056779" y="5536948"/>
            <a:ext cx="69313" cy="223710"/>
          </a:xfrm>
          <a:prstGeom prst="rect">
            <a:avLst/>
          </a:prstGeom>
        </p:spPr>
        <p:txBody>
          <a:bodyPr vert="vert270" lIns="0" tIns="0" rIns="0" bIns="0"/>
          <a:lstStyle/>
          <a:p>
            <a:pPr marL="7334">
              <a:defRPr/>
            </a:pPr>
            <a:r>
              <a:rPr sz="404" dirty="0">
                <a:solidFill>
                  <a:srgbClr val="FFFFFF"/>
                </a:solidFill>
                <a:latin typeface="Gill Sans"/>
                <a:cs typeface="Gill Sans"/>
              </a:rPr>
              <a:t>Anna Kari</a:t>
            </a:r>
            <a:endParaRPr sz="404">
              <a:latin typeface="Gill Sans"/>
              <a:cs typeface="Gill Sans"/>
            </a:endParaRPr>
          </a:p>
        </p:txBody>
      </p:sp>
      <p:sp>
        <p:nvSpPr>
          <p:cNvPr id="33" name="object 33">
            <a:extLst>
              <a:ext uri="{FF2B5EF4-FFF2-40B4-BE49-F238E27FC236}">
                <a16:creationId xmlns:a16="http://schemas.microsoft.com/office/drawing/2014/main" id="{D6E673C2-02FF-4EE4-A51F-BD0ED0A1E3CC}"/>
              </a:ext>
            </a:extLst>
          </p:cNvPr>
          <p:cNvSpPr>
            <a:spLocks noGrp="1"/>
          </p:cNvSpPr>
          <p:nvPr>
            <p:ph type="ftr" sz="quarter" idx="11"/>
          </p:nvPr>
        </p:nvSpPr>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grpSp>
        <p:nvGrpSpPr>
          <p:cNvPr id="34" name="Group 33">
            <a:extLst>
              <a:ext uri="{FF2B5EF4-FFF2-40B4-BE49-F238E27FC236}">
                <a16:creationId xmlns:a16="http://schemas.microsoft.com/office/drawing/2014/main" id="{FF3C74F6-2CC6-4016-B7A8-7B6994746502}"/>
              </a:ext>
            </a:extLst>
          </p:cNvPr>
          <p:cNvGrpSpPr/>
          <p:nvPr/>
        </p:nvGrpSpPr>
        <p:grpSpPr>
          <a:xfrm>
            <a:off x="206324" y="1992231"/>
            <a:ext cx="2463799" cy="2050212"/>
            <a:chOff x="841323" y="2297031"/>
            <a:chExt cx="2463800" cy="2050212"/>
          </a:xfrm>
        </p:grpSpPr>
        <p:sp>
          <p:nvSpPr>
            <p:cNvPr id="35" name="object 24">
              <a:extLst>
                <a:ext uri="{FF2B5EF4-FFF2-40B4-BE49-F238E27FC236}">
                  <a16:creationId xmlns:a16="http://schemas.microsoft.com/office/drawing/2014/main" id="{21A17130-214B-412A-AFAE-11082E863CA4}"/>
                </a:ext>
              </a:extLst>
            </p:cNvPr>
            <p:cNvSpPr>
              <a:spLocks/>
            </p:cNvSpPr>
            <p:nvPr/>
          </p:nvSpPr>
          <p:spPr bwMode="auto">
            <a:xfrm>
              <a:off x="841323" y="2297031"/>
              <a:ext cx="2463800" cy="2050212"/>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6" name="TextBox 35">
              <a:extLst>
                <a:ext uri="{FF2B5EF4-FFF2-40B4-BE49-F238E27FC236}">
                  <a16:creationId xmlns:a16="http://schemas.microsoft.com/office/drawing/2014/main" id="{288A961C-ABEE-464D-8619-827379E83AEA}"/>
                </a:ext>
              </a:extLst>
            </p:cNvPr>
            <p:cNvSpPr txBox="1"/>
            <p:nvPr/>
          </p:nvSpPr>
          <p:spPr>
            <a:xfrm>
              <a:off x="990600" y="3007309"/>
              <a:ext cx="2169422" cy="553998"/>
            </a:xfrm>
            <a:prstGeom prst="rect">
              <a:avLst/>
            </a:prstGeom>
            <a:noFill/>
          </p:spPr>
          <p:txBody>
            <a:bodyPr wrap="square" lIns="0" tIns="0" rIns="0" bIns="0" rtlCol="0">
              <a:spAutoFit/>
            </a:bodyPr>
            <a:lstStyle/>
            <a:p>
              <a:r>
                <a:rPr lang="en-US" sz="3600" dirty="0" err="1">
                  <a:solidFill>
                    <a:schemeClr val="bg1"/>
                  </a:solidFill>
                  <a:latin typeface="Gill Sans Infant Std"/>
                  <a:cs typeface="Gill Sans Infant Std"/>
                </a:rPr>
                <a:t>ဘယ်အချိန</a:t>
              </a:r>
              <a:r>
                <a:rPr lang="en-US" sz="3600" dirty="0">
                  <a:solidFill>
                    <a:schemeClr val="bg1"/>
                  </a:solidFill>
                  <a:latin typeface="Gill Sans Infant Std"/>
                  <a:cs typeface="Gill Sans Infant Std"/>
                </a:rPr>
                <a:t>်</a:t>
              </a:r>
            </a:p>
          </p:txBody>
        </p:sp>
      </p:grpSp>
      <p:sp>
        <p:nvSpPr>
          <p:cNvPr id="31" name="object 30">
            <a:extLst>
              <a:ext uri="{FF2B5EF4-FFF2-40B4-BE49-F238E27FC236}">
                <a16:creationId xmlns:a16="http://schemas.microsoft.com/office/drawing/2014/main" id="{90EA5660-E3B4-45B0-BFFF-38C14CCEB3D4}"/>
              </a:ext>
            </a:extLst>
          </p:cNvPr>
          <p:cNvSpPr txBox="1">
            <a:spLocks noChangeArrowheads="1"/>
          </p:cNvSpPr>
          <p:nvPr/>
        </p:nvSpPr>
        <p:spPr bwMode="auto">
          <a:xfrm>
            <a:off x="2971800" y="1459158"/>
            <a:ext cx="6029478" cy="4301500"/>
          </a:xfrm>
          <a:prstGeom prst="rect">
            <a:avLst/>
          </a:prstGeom>
          <a:noFill/>
          <a:ln>
            <a:noFill/>
          </a:ln>
        </p:spPr>
        <p:txBody>
          <a:bodyPr lIns="0" tIns="0" rIns="0" bIns="0"/>
          <a:lstStyle>
            <a:lvl1pPr marL="6350">
              <a:defRPr sz="4000">
                <a:solidFill>
                  <a:srgbClr val="075109"/>
                </a:solidFill>
                <a:latin typeface="SimHei" panose="02010609060101010101" pitchFamily="49" charset="-122"/>
                <a:ea typeface="SimHei" panose="02010609060101010101" pitchFamily="49" charset="-122"/>
              </a:defRPr>
            </a:lvl1pPr>
            <a:lvl2pPr marL="742950" indent="-285750">
              <a:defRPr sz="4000">
                <a:solidFill>
                  <a:srgbClr val="075109"/>
                </a:solidFill>
                <a:latin typeface="SimHei" panose="02010609060101010101" pitchFamily="49" charset="-122"/>
                <a:ea typeface="SimHei" panose="02010609060101010101" pitchFamily="49" charset="-122"/>
              </a:defRPr>
            </a:lvl2pPr>
            <a:lvl3pPr marL="1143000" indent="-228600">
              <a:defRPr sz="4000">
                <a:solidFill>
                  <a:srgbClr val="075109"/>
                </a:solidFill>
                <a:latin typeface="SimHei" panose="02010609060101010101" pitchFamily="49" charset="-122"/>
                <a:ea typeface="SimHei" panose="02010609060101010101" pitchFamily="49" charset="-122"/>
              </a:defRPr>
            </a:lvl3pPr>
            <a:lvl4pPr marL="1600200" indent="-228600">
              <a:defRPr sz="4000">
                <a:solidFill>
                  <a:srgbClr val="075109"/>
                </a:solidFill>
                <a:latin typeface="SimHei" panose="02010609060101010101" pitchFamily="49" charset="-122"/>
                <a:ea typeface="SimHei" panose="02010609060101010101" pitchFamily="49" charset="-122"/>
              </a:defRPr>
            </a:lvl4pPr>
            <a:lvl5pPr marL="2057400" indent="-228600">
              <a:defRPr sz="4000">
                <a:solidFill>
                  <a:srgbClr val="075109"/>
                </a:solidFill>
                <a:latin typeface="SimHei" panose="02010609060101010101" pitchFamily="49" charset="-122"/>
                <a:ea typeface="SimHei" panose="02010609060101010101" pitchFamily="49" charset="-122"/>
              </a:defRPr>
            </a:lvl5pPr>
            <a:lvl6pPr marL="25146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6pPr>
            <a:lvl7pPr marL="29718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7pPr>
            <a:lvl8pPr marL="34290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8pPr>
            <a:lvl9pPr marL="38862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9pPr>
          </a:lstStyle>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ရးေပၚအေျခအေန</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တစ္ခုအတြ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င့္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ပ္ဆိုက္ကာလ</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ပီးခ်င္း</a:t>
            </a:r>
            <a:endPar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endParaRPr lang="en-US" altLang="en-US" sz="300" dirty="0">
              <a:solidFill>
                <a:srgbClr val="231F20"/>
              </a:solidFill>
              <a:latin typeface="Zawgyi-One" panose="020B0604030504040204" pitchFamily="34" charset="0"/>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endParaRPr kumimoji="0" lang="en-US" altLang="en-US" sz="4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ရးေပၚအေျခအေနျဖစ္လြယ္ေသာေနရာေတြမွာ</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ဘးအ</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ရာယ္အတြက</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င္ဆ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ခင္းတြ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စြမ္းရည</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မ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တင္ေရး</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စိတ္အပိုင္းတစ္ခုျဖစ</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ခင္း</a:t>
            </a:r>
            <a:endPar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endParaRPr kumimoji="0" lang="en-US" altLang="en-US" sz="8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ပ္ဆိုက္ကာ</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တာအတြ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႔)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ဖစ</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နာက္ပိုင္းတြ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လးအနည္းစု</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ထိခိုက္ေစေသာ</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ခအေန</a:t>
            </a:r>
            <a:endPar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endParaRPr kumimoji="0" lang="en-US" altLang="en-US" sz="4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လိင္ပိုင္းဆိုင္ရာ၊ရုပ္ပိုင္းဆိုင္ရာ</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လစ္လ</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ရွဳ</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ခံရျခ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စေသာ</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သာနာမ်ား</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ၾ</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တ</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႔</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ရေသာ</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လးမ်ား</a:t>
            </a:r>
            <a:endPar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348758" marR="0" lvl="0" indent="-342900" algn="l" defTabSz="843533" rtl="0" eaLnBrk="0" fontAlgn="base" latinLnBrk="0" hangingPunct="0">
              <a:lnSpc>
                <a:spcPct val="150000"/>
              </a:lnSpc>
              <a:spcBef>
                <a:spcPct val="0"/>
              </a:spcBef>
              <a:spcAft>
                <a:spcPct val="0"/>
              </a:spcAft>
              <a:buClrTx/>
              <a:buSzTx/>
              <a:buFont typeface="Wingdings" panose="05000000000000000000" pitchFamily="2" charset="2"/>
              <a:buChar char="§"/>
              <a:tabLst/>
              <a:defRPr/>
            </a:pP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တြက</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ခ်က္ခ်င္းၾကား၀င္ေဆာင္ရြက္ရန္</a:t>
            </a:r>
            <a:endParaRPr kumimoji="0" lang="en-US" altLang="en-US" sz="16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object 2">
            <a:extLst>
              <a:ext uri="{FF2B5EF4-FFF2-40B4-BE49-F238E27FC236}">
                <a16:creationId xmlns:a16="http://schemas.microsoft.com/office/drawing/2014/main" id="{7AAA0270-0F1F-4993-A9EE-D27966CA52C4}"/>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4275" name="object 3">
            <a:extLst>
              <a:ext uri="{FF2B5EF4-FFF2-40B4-BE49-F238E27FC236}">
                <a16:creationId xmlns:a16="http://schemas.microsoft.com/office/drawing/2014/main" id="{C31E9AED-DE23-4D22-A64E-DBA99C0BFA3D}"/>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4276" name="object 5">
            <a:extLst>
              <a:ext uri="{FF2B5EF4-FFF2-40B4-BE49-F238E27FC236}">
                <a16:creationId xmlns:a16="http://schemas.microsoft.com/office/drawing/2014/main" id="{174BFB8E-0570-4177-8197-415BF4123695}"/>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4277" name="object 6">
            <a:extLst>
              <a:ext uri="{FF2B5EF4-FFF2-40B4-BE49-F238E27FC236}">
                <a16:creationId xmlns:a16="http://schemas.microsoft.com/office/drawing/2014/main" id="{DED4F5F4-F032-477C-99FB-7280AC804E93}"/>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7</a:t>
            </a:r>
            <a:endParaRPr lang="en-US" altLang="en-US" sz="2021" dirty="0">
              <a:latin typeface="Gill Sans" pitchFamily="34" charset="0"/>
              <a:cs typeface="Gill Sans" pitchFamily="34" charset="0"/>
            </a:endParaRPr>
          </a:p>
        </p:txBody>
      </p:sp>
      <p:sp>
        <p:nvSpPr>
          <p:cNvPr id="54279" name="object 25">
            <a:extLst>
              <a:ext uri="{FF2B5EF4-FFF2-40B4-BE49-F238E27FC236}">
                <a16:creationId xmlns:a16="http://schemas.microsoft.com/office/drawing/2014/main" id="{47CC99EC-86CB-4674-B59D-5D83B4B3DA06}"/>
              </a:ext>
            </a:extLst>
          </p:cNvPr>
          <p:cNvSpPr>
            <a:spLocks/>
          </p:cNvSpPr>
          <p:nvPr/>
        </p:nvSpPr>
        <p:spPr bwMode="auto">
          <a:xfrm>
            <a:off x="560804" y="794905"/>
            <a:ext cx="5718361" cy="780235"/>
          </a:xfrm>
          <a:custGeom>
            <a:avLst/>
            <a:gdLst>
              <a:gd name="T0" fmla="*/ 9900005 w 9900005"/>
              <a:gd name="T1" fmla="*/ 0 h 1349997"/>
              <a:gd name="T2" fmla="*/ 0 w 9900005"/>
              <a:gd name="T3" fmla="*/ 0 h 1349997"/>
              <a:gd name="T4" fmla="*/ 0 w 9900005"/>
              <a:gd name="T5" fmla="*/ 1349997 h 1349997"/>
              <a:gd name="T6" fmla="*/ 9418574 w 9900005"/>
              <a:gd name="T7" fmla="*/ 1349336 h 1349997"/>
              <a:gd name="T8" fmla="*/ 9494437 w 9900005"/>
              <a:gd name="T9" fmla="*/ 1347768 h 1349997"/>
              <a:gd name="T10" fmla="*/ 9561880 w 9900005"/>
              <a:gd name="T11" fmla="*/ 1344714 h 1349997"/>
              <a:gd name="T12" fmla="*/ 9621399 w 9900005"/>
              <a:gd name="T13" fmla="*/ 1339678 h 1349997"/>
              <a:gd name="T14" fmla="*/ 9673488 w 9900005"/>
              <a:gd name="T15" fmla="*/ 1332166 h 1349997"/>
              <a:gd name="T16" fmla="*/ 9718643 w 9900005"/>
              <a:gd name="T17" fmla="*/ 1321682 h 1349997"/>
              <a:gd name="T18" fmla="*/ 9757359 w 9900005"/>
              <a:gd name="T19" fmla="*/ 1307731 h 1349997"/>
              <a:gd name="T20" fmla="*/ 9817455 w 9900005"/>
              <a:gd name="T21" fmla="*/ 1267447 h 1349997"/>
              <a:gd name="T22" fmla="*/ 9857740 w 9900005"/>
              <a:gd name="T23" fmla="*/ 1207350 h 1349997"/>
              <a:gd name="T24" fmla="*/ 9871690 w 9900005"/>
              <a:gd name="T25" fmla="*/ 1168634 h 1349997"/>
              <a:gd name="T26" fmla="*/ 9882174 w 9900005"/>
              <a:gd name="T27" fmla="*/ 1123480 h 1349997"/>
              <a:gd name="T28" fmla="*/ 9889686 w 9900005"/>
              <a:gd name="T29" fmla="*/ 1071391 h 1349997"/>
              <a:gd name="T30" fmla="*/ 9894722 w 9900005"/>
              <a:gd name="T31" fmla="*/ 1011872 h 1349997"/>
              <a:gd name="T32" fmla="*/ 9897776 w 9900005"/>
              <a:gd name="T33" fmla="*/ 944429 h 1349997"/>
              <a:gd name="T34" fmla="*/ 9899345 w 9900005"/>
              <a:gd name="T35" fmla="*/ 868565 h 1349997"/>
              <a:gd name="T36" fmla="*/ 9899923 w 9900005"/>
              <a:gd name="T37" fmla="*/ 783786 h 1349997"/>
              <a:gd name="T38" fmla="*/ 9900005 w 9900005"/>
              <a:gd name="T39" fmla="*/ 0 h 1349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00005" h="1349997">
                <a:moveTo>
                  <a:pt x="9900005" y="0"/>
                </a:moveTo>
                <a:lnTo>
                  <a:pt x="0" y="0"/>
                </a:lnTo>
                <a:lnTo>
                  <a:pt x="0" y="1349997"/>
                </a:lnTo>
                <a:lnTo>
                  <a:pt x="9418574" y="1349336"/>
                </a:lnTo>
                <a:lnTo>
                  <a:pt x="9494437" y="1347768"/>
                </a:lnTo>
                <a:lnTo>
                  <a:pt x="9561880" y="1344714"/>
                </a:lnTo>
                <a:lnTo>
                  <a:pt x="9621399" y="1339678"/>
                </a:lnTo>
                <a:lnTo>
                  <a:pt x="9673488" y="1332166"/>
                </a:lnTo>
                <a:lnTo>
                  <a:pt x="9718643" y="1321682"/>
                </a:lnTo>
                <a:lnTo>
                  <a:pt x="9757359" y="1307731"/>
                </a:lnTo>
                <a:lnTo>
                  <a:pt x="9817455" y="1267447"/>
                </a:lnTo>
                <a:lnTo>
                  <a:pt x="9857740" y="1207350"/>
                </a:lnTo>
                <a:lnTo>
                  <a:pt x="9871690" y="1168634"/>
                </a:lnTo>
                <a:lnTo>
                  <a:pt x="9882174" y="1123480"/>
                </a:lnTo>
                <a:lnTo>
                  <a:pt x="9889686" y="1071391"/>
                </a:lnTo>
                <a:lnTo>
                  <a:pt x="9894722" y="1011872"/>
                </a:lnTo>
                <a:lnTo>
                  <a:pt x="9897776" y="944429"/>
                </a:lnTo>
                <a:lnTo>
                  <a:pt x="9899345" y="868565"/>
                </a:lnTo>
                <a:lnTo>
                  <a:pt x="9899923" y="783786"/>
                </a:lnTo>
                <a:lnTo>
                  <a:pt x="990000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6" name="object 26">
            <a:extLst>
              <a:ext uri="{FF2B5EF4-FFF2-40B4-BE49-F238E27FC236}">
                <a16:creationId xmlns:a16="http://schemas.microsoft.com/office/drawing/2014/main" id="{B74564A5-659E-42C9-B424-AD9D796CA39E}"/>
              </a:ext>
            </a:extLst>
          </p:cNvPr>
          <p:cNvSpPr txBox="1"/>
          <p:nvPr/>
        </p:nvSpPr>
        <p:spPr>
          <a:xfrm>
            <a:off x="778096" y="853583"/>
            <a:ext cx="5237018" cy="665629"/>
          </a:xfrm>
          <a:prstGeom prst="rect">
            <a:avLst/>
          </a:prstGeom>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a:lnSpc>
                <a:spcPts val="2599"/>
              </a:lnSpc>
            </a:pPr>
            <a:r>
              <a:rPr lang="en-US" altLang="en-US" sz="2426" dirty="0">
                <a:solidFill>
                  <a:srgbClr val="FFFFFF"/>
                </a:solidFill>
                <a:latin typeface="Gill Sans Light"/>
                <a:ea typeface="Gill Sans Light"/>
                <a:cs typeface="Gill Sans Light"/>
              </a:rPr>
              <a:t>Children who... </a:t>
            </a:r>
            <a:endParaRPr lang="en-US" altLang="en-US" sz="2426" dirty="0">
              <a:latin typeface="Gill Sans Light"/>
              <a:ea typeface="Gill Sans Light"/>
              <a:cs typeface="Gill Sans Light"/>
            </a:endParaRPr>
          </a:p>
        </p:txBody>
      </p:sp>
      <p:sp>
        <p:nvSpPr>
          <p:cNvPr id="54281" name="object 27">
            <a:extLst>
              <a:ext uri="{FF2B5EF4-FFF2-40B4-BE49-F238E27FC236}">
                <a16:creationId xmlns:a16="http://schemas.microsoft.com/office/drawing/2014/main" id="{153E1F19-ED57-4269-8640-0D7F78A97643}"/>
              </a:ext>
            </a:extLst>
          </p:cNvPr>
          <p:cNvSpPr>
            <a:spLocks/>
          </p:cNvSpPr>
          <p:nvPr/>
        </p:nvSpPr>
        <p:spPr bwMode="auto">
          <a:xfrm>
            <a:off x="560804" y="1789682"/>
            <a:ext cx="8495975" cy="3611452"/>
          </a:xfrm>
          <a:custGeom>
            <a:avLst/>
            <a:gdLst>
              <a:gd name="T0" fmla="*/ 0 w 9900005"/>
              <a:gd name="T1" fmla="*/ 6254369 h 6254369"/>
              <a:gd name="T2" fmla="*/ 9900005 w 9900005"/>
              <a:gd name="T3" fmla="*/ 6254369 h 6254369"/>
              <a:gd name="T4" fmla="*/ 9900005 w 9900005"/>
              <a:gd name="T5" fmla="*/ 0 h 6254369"/>
              <a:gd name="T6" fmla="*/ 0 w 9900005"/>
              <a:gd name="T7" fmla="*/ 0 h 6254369"/>
              <a:gd name="T8" fmla="*/ 0 w 9900005"/>
              <a:gd name="T9" fmla="*/ 6254369 h 6254369"/>
            </a:gdLst>
            <a:ahLst/>
            <a:cxnLst>
              <a:cxn ang="0">
                <a:pos x="T0" y="T1"/>
              </a:cxn>
              <a:cxn ang="0">
                <a:pos x="T2" y="T3"/>
              </a:cxn>
              <a:cxn ang="0">
                <a:pos x="T4" y="T5"/>
              </a:cxn>
              <a:cxn ang="0">
                <a:pos x="T6" y="T7"/>
              </a:cxn>
              <a:cxn ang="0">
                <a:pos x="T8" y="T9"/>
              </a:cxn>
            </a:cxnLst>
            <a:rect l="0" t="0" r="r" b="b"/>
            <a:pathLst>
              <a:path w="9900005" h="6254369">
                <a:moveTo>
                  <a:pt x="0" y="6254369"/>
                </a:moveTo>
                <a:lnTo>
                  <a:pt x="9900005" y="6254369"/>
                </a:lnTo>
                <a:lnTo>
                  <a:pt x="9900005" y="0"/>
                </a:lnTo>
                <a:lnTo>
                  <a:pt x="0" y="0"/>
                </a:lnTo>
                <a:lnTo>
                  <a:pt x="0" y="62543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4" name="object 34">
            <a:extLst>
              <a:ext uri="{FF2B5EF4-FFF2-40B4-BE49-F238E27FC236}">
                <a16:creationId xmlns:a16="http://schemas.microsoft.com/office/drawing/2014/main" id="{1BCD16C1-A078-475E-B561-E81B81C17A65}"/>
              </a:ext>
            </a:extLst>
          </p:cNvPr>
          <p:cNvSpPr txBox="1"/>
          <p:nvPr/>
        </p:nvSpPr>
        <p:spPr>
          <a:xfrm>
            <a:off x="2667000" y="1913455"/>
            <a:ext cx="6141314" cy="3436335"/>
          </a:xfrm>
          <a:prstGeom prst="rect">
            <a:avLst/>
          </a:prstGeom>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မိသားစု</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သို</a:t>
            </a:r>
            <a:r>
              <a:rPr lang="en-US" altLang="en-US" sz="1600" dirty="0">
                <a:solidFill>
                  <a:srgbClr val="231F20"/>
                </a:solidFill>
                <a:latin typeface="Zawgyi-One" panose="020B0604030504040204" pitchFamily="34" charset="0"/>
                <a:cs typeface="Zawgyi-One" panose="020B0604030504040204" pitchFamily="34" charset="0"/>
              </a:rPr>
              <a:t>႔) ျ</a:t>
            </a:r>
            <a:r>
              <a:rPr lang="en-US" altLang="en-US" sz="1600" dirty="0" err="1">
                <a:solidFill>
                  <a:srgbClr val="231F20"/>
                </a:solidFill>
                <a:latin typeface="Zawgyi-One" panose="020B0604030504040204" pitchFamily="34" charset="0"/>
                <a:cs typeface="Zawgyi-One" panose="020B0604030504040204" pitchFamily="34" charset="0"/>
              </a:rPr>
              <a:t>ပဳစုေစာင</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ရွာက္သူမ်ားမွာ</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ကြာသြားေ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000000"/>
                </a:solidFill>
                <a:latin typeface="Zawgyi-One" panose="020B0604030504040204" pitchFamily="34" charset="0"/>
                <a:cs typeface="Zawgyi-One" panose="020B0604030504040204" pitchFamily="34" charset="0"/>
              </a:rPr>
              <a:t>ကေလးမ်ား</a:t>
            </a:r>
            <a:r>
              <a:rPr lang="en-US" altLang="en-US" sz="1600" dirty="0">
                <a:solidFill>
                  <a:srgbClr val="000000"/>
                </a:solidFill>
                <a:latin typeface="Zawgyi-One" panose="020B0604030504040204" pitchFamily="34" charset="0"/>
                <a:cs typeface="Zawgyi-One" panose="020B0604030504040204" pitchFamily="34" charset="0"/>
              </a:rPr>
              <a:t> </a:t>
            </a:r>
          </a:p>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ခ်စ္ခင္ရေသာသူ</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သို</a:t>
            </a:r>
            <a:r>
              <a:rPr lang="en-US" altLang="en-US" sz="1600" dirty="0">
                <a:solidFill>
                  <a:srgbClr val="231F20"/>
                </a:solidFill>
                <a:latin typeface="Zawgyi-One" panose="020B0604030504040204" pitchFamily="34" charset="0"/>
                <a:cs typeface="Zawgyi-One" panose="020B0604030504040204" pitchFamily="34" charset="0"/>
              </a:rPr>
              <a:t>႔)</a:t>
            </a:r>
            <a:r>
              <a:rPr lang="en-US" altLang="en-US" sz="1600" dirty="0" err="1">
                <a:solidFill>
                  <a:srgbClr val="231F20"/>
                </a:solidFill>
                <a:latin typeface="Zawgyi-One" panose="020B0604030504040204" pitchFamily="34" charset="0"/>
                <a:cs typeface="Zawgyi-One" panose="020B0604030504040204" pitchFamily="34" charset="0"/>
              </a:rPr>
              <a:t>တျခားတစ္ေယာက</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နာက်င္တာ</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သို</a:t>
            </a:r>
            <a:r>
              <a:rPr lang="en-US" altLang="en-US" sz="1600" dirty="0">
                <a:solidFill>
                  <a:srgbClr val="231F20"/>
                </a:solidFill>
                <a:latin typeface="Zawgyi-One" panose="020B0604030504040204" pitchFamily="34" charset="0"/>
                <a:cs typeface="Zawgyi-One" panose="020B0604030504040204" pitchFamily="34" charset="0"/>
              </a:rPr>
              <a:t>႔)</a:t>
            </a:r>
            <a:r>
              <a:rPr lang="en-US" altLang="en-US" sz="1600" dirty="0" err="1">
                <a:solidFill>
                  <a:srgbClr val="231F20"/>
                </a:solidFill>
                <a:latin typeface="Zawgyi-One" panose="020B0604030504040204" pitchFamily="34" charset="0"/>
                <a:cs typeface="Zawgyi-One" panose="020B0604030504040204" pitchFamily="34" charset="0"/>
              </a:rPr>
              <a:t>ေသသြားတာကို</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မင္ရေ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a:t>
            </a:r>
            <a:endParaRPr lang="en-US" altLang="en-US" sz="1600" dirty="0">
              <a:latin typeface="Zawgyi-One" panose="020B0604030504040204" pitchFamily="34" charset="0"/>
              <a:cs typeface="Zawgyi-One" panose="020B0604030504040204" pitchFamily="34" charset="0"/>
            </a:endParaRPr>
          </a:p>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ရုပ္ပိုင္းဆိုင္ရာ</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နာက်င္ခံစားခဲ့ရေ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ခိမ္းေျခာက္ခံရေ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a:t>
            </a:r>
            <a:endParaRPr lang="en-US" altLang="en-US" sz="400" dirty="0">
              <a:latin typeface="Zawgyi-One" panose="020B0604030504040204" pitchFamily="34" charset="0"/>
              <a:cs typeface="Zawgyi-One" panose="020B0604030504040204" pitchFamily="34" charset="0"/>
            </a:endParaRPr>
          </a:p>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သူတို႔ရဲ့မိဘမ်ား</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သို</a:t>
            </a:r>
            <a:r>
              <a:rPr lang="en-US" altLang="en-US" sz="1600" dirty="0">
                <a:solidFill>
                  <a:srgbClr val="231F20"/>
                </a:solidFill>
                <a:latin typeface="Zawgyi-One" panose="020B0604030504040204" pitchFamily="34" charset="0"/>
                <a:cs typeface="Zawgyi-One" panose="020B0604030504040204" pitchFamily="34" charset="0"/>
              </a:rPr>
              <a:t>႔)ျ</a:t>
            </a:r>
            <a:r>
              <a:rPr lang="en-US" altLang="en-US" sz="1600" dirty="0" err="1">
                <a:solidFill>
                  <a:srgbClr val="231F20"/>
                </a:solidFill>
                <a:latin typeface="Zawgyi-One" panose="020B0604030504040204" pitchFamily="34" charset="0"/>
                <a:cs typeface="Zawgyi-One" panose="020B0604030504040204" pitchFamily="34" charset="0"/>
              </a:rPr>
              <a:t>ပဳစုေစာင</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ရွာက္သူမ်ား</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ညီးညဴးမ</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သို</a:t>
            </a:r>
            <a:r>
              <a:rPr lang="en-US" altLang="en-US" sz="1600" dirty="0">
                <a:solidFill>
                  <a:srgbClr val="231F20"/>
                </a:solidFill>
                <a:latin typeface="Zawgyi-One" panose="020B0604030504040204" pitchFamily="34" charset="0"/>
                <a:cs typeface="Zawgyi-One" panose="020B0604030504040204" pitchFamily="34" charset="0"/>
              </a:rPr>
              <a:t>႔) </a:t>
            </a:r>
            <a:r>
              <a:rPr lang="en-US" altLang="en-US" sz="1600" dirty="0" err="1">
                <a:solidFill>
                  <a:srgbClr val="231F20"/>
                </a:solidFill>
                <a:latin typeface="Zawgyi-One" panose="020B0604030504040204" pitchFamily="34" charset="0"/>
                <a:cs typeface="Zawgyi-One" panose="020B0604030504040204" pitchFamily="34" charset="0"/>
              </a:rPr>
              <a:t>ပတ္သက္မ</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တြေၾက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စိုးရိမ္မ</a:t>
            </a:r>
            <a:r>
              <a:rPr lang="en-US" altLang="en-US" sz="1600" dirty="0">
                <a:solidFill>
                  <a:srgbClr val="231F20"/>
                </a:solidFill>
                <a:latin typeface="Zawgyi-One" panose="020B0604030504040204" pitchFamily="34" charset="0"/>
                <a:cs typeface="Zawgyi-One" panose="020B0604030504040204" pitchFamily="34" charset="0"/>
              </a:rPr>
              <a:t>ွဳ ႏွင့္ </a:t>
            </a:r>
            <a:r>
              <a:rPr lang="en-US" altLang="en-US" sz="1600" dirty="0" err="1">
                <a:solidFill>
                  <a:srgbClr val="231F20"/>
                </a:solidFill>
                <a:latin typeface="Zawgyi-One" panose="020B0604030504040204" pitchFamily="34" charset="0"/>
                <a:cs typeface="Zawgyi-One" panose="020B0604030504040204" pitchFamily="34" charset="0"/>
              </a:rPr>
              <a:t>သက္ဆိုင္မ</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ရွိေ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မ်ား</a:t>
            </a:r>
            <a:endParaRPr lang="en-US" altLang="en-US" sz="400" dirty="0">
              <a:latin typeface="Zawgyi-One" panose="020B0604030504040204" pitchFamily="34" charset="0"/>
              <a:cs typeface="Zawgyi-One" panose="020B0604030504040204" pitchFamily="34" charset="0"/>
            </a:endParaRPr>
          </a:p>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တျခားသူေတ</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သသြားခ်ိန္မွာ</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အသက္ရွင္သန္မ</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အတြက</a:t>
            </a:r>
            <a:r>
              <a:rPr lang="en-US" altLang="en-US" sz="1600" dirty="0">
                <a:solidFill>
                  <a:srgbClr val="231F20"/>
                </a:solidFill>
                <a:latin typeface="Zawgyi-One" panose="020B0604030504040204" pitchFamily="34" charset="0"/>
                <a:cs typeface="Zawgyi-One" panose="020B0604030504040204" pitchFamily="34" charset="0"/>
              </a:rPr>
              <a:t>္ ၀မ္းနည္းပူေဆြး  </a:t>
            </a:r>
            <a:r>
              <a:rPr lang="en-US" altLang="en-US" sz="1600" dirty="0" err="1">
                <a:solidFill>
                  <a:srgbClr val="231F20"/>
                </a:solidFill>
                <a:latin typeface="Zawgyi-One" panose="020B0604030504040204" pitchFamily="34" charset="0"/>
                <a:cs typeface="Zawgyi-One" panose="020B0604030504040204" pitchFamily="34" charset="0"/>
              </a:rPr>
              <a:t>ေနေ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မ်ား</a:t>
            </a:r>
            <a:endParaRPr lang="en-US" altLang="en-US" sz="1600" dirty="0">
              <a:latin typeface="Zawgyi-One" panose="020B0604030504040204" pitchFamily="34" charset="0"/>
              <a:cs typeface="Zawgyi-One" panose="020B0604030504040204" pitchFamily="34" charset="0"/>
            </a:endParaRPr>
          </a:p>
        </p:txBody>
      </p:sp>
      <p:sp>
        <p:nvSpPr>
          <p:cNvPr id="36" name="object 36">
            <a:extLst>
              <a:ext uri="{FF2B5EF4-FFF2-40B4-BE49-F238E27FC236}">
                <a16:creationId xmlns:a16="http://schemas.microsoft.com/office/drawing/2014/main" id="{795550CA-D0F6-4FC4-9EF2-DD7402A01245}"/>
              </a:ext>
            </a:extLst>
          </p:cNvPr>
          <p:cNvSpPr>
            <a:spLocks noGrp="1"/>
          </p:cNvSpPr>
          <p:nvPr>
            <p:ph type="ftr" sz="quarter" idx="11"/>
          </p:nvPr>
        </p:nvSpPr>
        <p:spPr>
          <a:xfrm>
            <a:off x="2525022" y="6452036"/>
            <a:ext cx="3824978" cy="365125"/>
          </a:xfrm>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35" name="object 35">
            <a:extLst>
              <a:ext uri="{FF2B5EF4-FFF2-40B4-BE49-F238E27FC236}">
                <a16:creationId xmlns:a16="http://schemas.microsoft.com/office/drawing/2014/main" id="{0950D72C-2B58-47F5-9777-CCE44BDB3DE9}"/>
              </a:ext>
            </a:extLst>
          </p:cNvPr>
          <p:cNvSpPr txBox="1"/>
          <p:nvPr/>
        </p:nvSpPr>
        <p:spPr>
          <a:xfrm>
            <a:off x="9056779" y="5011528"/>
            <a:ext cx="69313" cy="749246"/>
          </a:xfrm>
          <a:prstGeom prst="rect">
            <a:avLst/>
          </a:prstGeom>
        </p:spPr>
        <p:txBody>
          <a:bodyPr vert="vert270" lIns="0" tIns="0" rIns="0" bIns="0"/>
          <a:lstStyle/>
          <a:p>
            <a:pPr marL="7334">
              <a:defRPr/>
            </a:pPr>
            <a:r>
              <a:rPr sz="404" dirty="0">
                <a:solidFill>
                  <a:srgbClr val="FFFFFF"/>
                </a:solidFill>
                <a:latin typeface="Gill Sans"/>
                <a:cs typeface="Gill Sans"/>
              </a:rPr>
              <a:t>Helle Kjærsgaa</a:t>
            </a:r>
            <a:r>
              <a:rPr sz="404" spc="-9" dirty="0">
                <a:solidFill>
                  <a:srgbClr val="FFFFFF"/>
                </a:solidFill>
                <a:latin typeface="Gill Sans"/>
                <a:cs typeface="Gill Sans"/>
              </a:rPr>
              <a:t>r</a:t>
            </a:r>
            <a:r>
              <a:rPr sz="404" dirty="0">
                <a:solidFill>
                  <a:srgbClr val="FFFFFF"/>
                </a:solidFill>
                <a:latin typeface="Gill Sans"/>
                <a:cs typeface="Gill Sans"/>
              </a:rPr>
              <a:t>d/S</a:t>
            </a:r>
            <a:r>
              <a:rPr sz="404" spc="-14" dirty="0">
                <a:solidFill>
                  <a:srgbClr val="FFFFFF"/>
                </a:solidFill>
                <a:latin typeface="Gill Sans"/>
                <a:cs typeface="Gill Sans"/>
              </a:rPr>
              <a:t>a</a:t>
            </a:r>
            <a:r>
              <a:rPr sz="404" spc="-9" dirty="0">
                <a:solidFill>
                  <a:srgbClr val="FFFFFF"/>
                </a:solidFill>
                <a:latin typeface="Gill Sans"/>
                <a:cs typeface="Gill Sans"/>
              </a:rPr>
              <a:t>v</a:t>
            </a:r>
            <a:r>
              <a:rPr sz="404" dirty="0">
                <a:solidFill>
                  <a:srgbClr val="FFFFFF"/>
                </a:solidFill>
                <a:latin typeface="Gill Sans"/>
                <a:cs typeface="Gill Sans"/>
              </a:rPr>
              <a:t>e the Child</a:t>
            </a:r>
            <a:r>
              <a:rPr sz="404" spc="-9" dirty="0">
                <a:solidFill>
                  <a:srgbClr val="FFFFFF"/>
                </a:solidFill>
                <a:latin typeface="Gill Sans"/>
                <a:cs typeface="Gill Sans"/>
              </a:rPr>
              <a:t>r</a:t>
            </a:r>
            <a:r>
              <a:rPr sz="404" dirty="0">
                <a:solidFill>
                  <a:srgbClr val="FFFFFF"/>
                </a:solidFill>
                <a:latin typeface="Gill Sans"/>
                <a:cs typeface="Gill Sans"/>
              </a:rPr>
              <a:t>en</a:t>
            </a:r>
            <a:endParaRPr sz="404">
              <a:latin typeface="Gill Sans"/>
              <a:cs typeface="Gill Sans"/>
            </a:endParaRPr>
          </a:p>
        </p:txBody>
      </p:sp>
      <p:sp>
        <p:nvSpPr>
          <p:cNvPr id="19" name="object 26">
            <a:extLst>
              <a:ext uri="{FF2B5EF4-FFF2-40B4-BE49-F238E27FC236}">
                <a16:creationId xmlns:a16="http://schemas.microsoft.com/office/drawing/2014/main" id="{6F4755F1-E2FE-4AF6-A943-92C7516368CE}"/>
              </a:ext>
            </a:extLst>
          </p:cNvPr>
          <p:cNvSpPr txBox="1"/>
          <p:nvPr/>
        </p:nvSpPr>
        <p:spPr>
          <a:xfrm>
            <a:off x="560804" y="135935"/>
            <a:ext cx="5910899" cy="540022"/>
          </a:xfrm>
          <a:prstGeom prst="rect">
            <a:avLst/>
          </a:prstGeom>
        </p:spPr>
        <p:txBody>
          <a:bodyPr lIns="0" tIns="0" rIns="0" bIns="0"/>
          <a:lstStyle/>
          <a:p>
            <a:pPr marL="7334">
              <a:defRPr/>
            </a:pPr>
            <a:r>
              <a:rPr sz="3465" dirty="0">
                <a:solidFill>
                  <a:srgbClr val="FFFFFF"/>
                </a:solidFill>
                <a:latin typeface="Gill Sans Light"/>
                <a:cs typeface="Gill Sans Light"/>
              </a:rPr>
              <a:t>Which children need</a:t>
            </a:r>
            <a:r>
              <a:rPr sz="3465" spc="3" dirty="0">
                <a:solidFill>
                  <a:srgbClr val="FFFFFF"/>
                </a:solidFill>
                <a:latin typeface="Gill Sans Light"/>
                <a:cs typeface="Gill Sans Light"/>
              </a:rPr>
              <a:t> </a:t>
            </a:r>
            <a:r>
              <a:rPr sz="3465" dirty="0">
                <a:solidFill>
                  <a:srgbClr val="FFFFFF"/>
                </a:solidFill>
                <a:latin typeface="Gill Sans Light"/>
                <a:cs typeface="Gill Sans Light"/>
              </a:rPr>
              <a:t>P</a:t>
            </a:r>
            <a:r>
              <a:rPr sz="3465" spc="-141" dirty="0">
                <a:solidFill>
                  <a:srgbClr val="FFFFFF"/>
                </a:solidFill>
                <a:latin typeface="Gill Sans Light"/>
                <a:cs typeface="Gill Sans Light"/>
              </a:rPr>
              <a:t>F</a:t>
            </a:r>
            <a:r>
              <a:rPr sz="3465" dirty="0">
                <a:solidFill>
                  <a:srgbClr val="FFFFFF"/>
                </a:solidFill>
                <a:latin typeface="Gill Sans Light"/>
                <a:cs typeface="Gill Sans Light"/>
              </a:rPr>
              <a:t>A</a:t>
            </a:r>
            <a:r>
              <a:rPr sz="3465" spc="3" dirty="0">
                <a:solidFill>
                  <a:srgbClr val="FFFFFF"/>
                </a:solidFill>
                <a:latin typeface="Gill Sans Light"/>
                <a:cs typeface="Gill Sans Light"/>
              </a:rPr>
              <a:t> </a:t>
            </a:r>
            <a:r>
              <a:rPr sz="3465" dirty="0">
                <a:solidFill>
                  <a:srgbClr val="FFFFFF"/>
                </a:solidFill>
                <a:latin typeface="Gill Sans Light"/>
                <a:cs typeface="Gill Sans Light"/>
              </a:rPr>
              <a:t>?</a:t>
            </a:r>
            <a:endParaRPr sz="3465" dirty="0">
              <a:latin typeface="Gill Sans Light"/>
              <a:cs typeface="Gill Sans Light"/>
            </a:endParaRPr>
          </a:p>
        </p:txBody>
      </p:sp>
      <p:grpSp>
        <p:nvGrpSpPr>
          <p:cNvPr id="16" name="Group 15">
            <a:extLst>
              <a:ext uri="{FF2B5EF4-FFF2-40B4-BE49-F238E27FC236}">
                <a16:creationId xmlns:a16="http://schemas.microsoft.com/office/drawing/2014/main" id="{10281789-473C-4806-B54C-C4710E2CDA78}"/>
              </a:ext>
            </a:extLst>
          </p:cNvPr>
          <p:cNvGrpSpPr/>
          <p:nvPr/>
        </p:nvGrpSpPr>
        <p:grpSpPr>
          <a:xfrm>
            <a:off x="594773" y="2604477"/>
            <a:ext cx="1886186" cy="1705208"/>
            <a:chOff x="841323" y="2297031"/>
            <a:chExt cx="2463800" cy="2050212"/>
          </a:xfrm>
        </p:grpSpPr>
        <p:sp>
          <p:nvSpPr>
            <p:cNvPr id="17" name="object 24">
              <a:extLst>
                <a:ext uri="{FF2B5EF4-FFF2-40B4-BE49-F238E27FC236}">
                  <a16:creationId xmlns:a16="http://schemas.microsoft.com/office/drawing/2014/main" id="{EF9FCA72-EE03-42DD-87A0-420827636927}"/>
                </a:ext>
              </a:extLst>
            </p:cNvPr>
            <p:cNvSpPr>
              <a:spLocks/>
            </p:cNvSpPr>
            <p:nvPr/>
          </p:nvSpPr>
          <p:spPr bwMode="auto">
            <a:xfrm>
              <a:off x="841323" y="2297031"/>
              <a:ext cx="2463800" cy="2050212"/>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100"/>
            </a:p>
          </p:txBody>
        </p:sp>
        <p:sp>
          <p:nvSpPr>
            <p:cNvPr id="18" name="TextBox 17">
              <a:extLst>
                <a:ext uri="{FF2B5EF4-FFF2-40B4-BE49-F238E27FC236}">
                  <a16:creationId xmlns:a16="http://schemas.microsoft.com/office/drawing/2014/main" id="{D20C8F85-E1F2-42FC-89B8-80C8377D4CE0}"/>
                </a:ext>
              </a:extLst>
            </p:cNvPr>
            <p:cNvSpPr txBox="1"/>
            <p:nvPr/>
          </p:nvSpPr>
          <p:spPr>
            <a:xfrm>
              <a:off x="990599" y="3007309"/>
              <a:ext cx="2169422" cy="1036131"/>
            </a:xfrm>
            <a:prstGeom prst="rect">
              <a:avLst/>
            </a:prstGeom>
            <a:noFill/>
          </p:spPr>
          <p:txBody>
            <a:bodyPr wrap="square" lIns="0" tIns="0" rIns="0" bIns="0" rtlCol="0">
              <a:spAutoFit/>
            </a:bodyPr>
            <a:lstStyle/>
            <a:p>
              <a:r>
                <a:rPr lang="en-US" sz="2800" dirty="0" err="1">
                  <a:solidFill>
                    <a:schemeClr val="bg1"/>
                  </a:solidFill>
                  <a:latin typeface="Gill Sans Infant Std"/>
                  <a:cs typeface="Gill Sans Infant Std"/>
                </a:rPr>
                <a:t>ဘယ်လို</a:t>
              </a:r>
              <a:endParaRPr lang="en-US" sz="2800" dirty="0">
                <a:solidFill>
                  <a:schemeClr val="bg1"/>
                </a:solidFill>
                <a:latin typeface="Gill Sans Infant Std"/>
                <a:cs typeface="Gill Sans Infant Std"/>
              </a:endParaRPr>
            </a:p>
            <a:p>
              <a:r>
                <a:rPr lang="en-US" sz="2800" dirty="0" err="1">
                  <a:solidFill>
                    <a:schemeClr val="bg1"/>
                  </a:solidFill>
                  <a:latin typeface="Gill Sans Infant Std"/>
                  <a:cs typeface="Gill Sans Infant Std"/>
                </a:rPr>
                <a:t>ကလေးမျိုး</a:t>
              </a:r>
              <a:endParaRPr lang="en-US" sz="2800" dirty="0">
                <a:solidFill>
                  <a:schemeClr val="bg1"/>
                </a:solidFill>
                <a:latin typeface="Gill Sans Infant Std"/>
                <a:cs typeface="Gill Sans Infant Std"/>
              </a:endParaRPr>
            </a:p>
          </p:txBody>
        </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object 2">
            <a:extLst>
              <a:ext uri="{FF2B5EF4-FFF2-40B4-BE49-F238E27FC236}">
                <a16:creationId xmlns:a16="http://schemas.microsoft.com/office/drawing/2014/main" id="{AEB6B7E0-97F1-419E-A265-DF5BABD6A94E}"/>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5539" name="object 3">
            <a:extLst>
              <a:ext uri="{FF2B5EF4-FFF2-40B4-BE49-F238E27FC236}">
                <a16:creationId xmlns:a16="http://schemas.microsoft.com/office/drawing/2014/main" id="{574797C4-E2F6-47AD-BEB3-ADD82B0B3102}"/>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5541" name="object 6">
            <a:extLst>
              <a:ext uri="{FF2B5EF4-FFF2-40B4-BE49-F238E27FC236}">
                <a16:creationId xmlns:a16="http://schemas.microsoft.com/office/drawing/2014/main" id="{C8466BCD-06C1-44E4-AC76-D4615E09B2FC}"/>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endParaRPr lang="en-US" altLang="en-US" sz="2021" dirty="0">
              <a:latin typeface="Gill Sans" pitchFamily="34" charset="0"/>
              <a:cs typeface="Gill Sans" pitchFamily="34" charset="0"/>
            </a:endParaRPr>
          </a:p>
        </p:txBody>
      </p:sp>
      <p:sp>
        <p:nvSpPr>
          <p:cNvPr id="26" name="object 26">
            <a:extLst>
              <a:ext uri="{FF2B5EF4-FFF2-40B4-BE49-F238E27FC236}">
                <a16:creationId xmlns:a16="http://schemas.microsoft.com/office/drawing/2014/main" id="{9F78D33F-1495-4D06-BC1C-C46BC3EC7D79}"/>
              </a:ext>
            </a:extLst>
          </p:cNvPr>
          <p:cNvSpPr txBox="1">
            <a:spLocks noGrp="1"/>
          </p:cNvSpPr>
          <p:nvPr>
            <p:ph type="title"/>
          </p:nvPr>
        </p:nvSpPr>
        <p:spPr>
          <a:xfrm>
            <a:off x="-152400" y="202994"/>
            <a:ext cx="8859674" cy="787605"/>
          </a:xfrm>
        </p:spPr>
        <p:txBody>
          <a:bodyPr vert="horz" lIns="0" tIns="92747" rIns="0" bIns="0" rtlCol="0" anchor="ctr">
            <a:noAutofit/>
          </a:bodyPr>
          <a:lstStyle/>
          <a:p>
            <a:pPr marL="1313627">
              <a:lnSpc>
                <a:spcPct val="100000"/>
              </a:lnSpc>
              <a:defRPr/>
            </a:pPr>
            <a:r>
              <a:rPr lang="en-US" altLang="en-US" sz="2800" dirty="0" err="1">
                <a:latin typeface="Zawgyi-One" panose="020B0604030504040204" pitchFamily="34" charset="0"/>
                <a:cs typeface="Zawgyi-One" panose="020B0604030504040204" pitchFamily="34" charset="0"/>
              </a:rPr>
              <a:t>ထပ္ေဆာင္း</a:t>
            </a:r>
            <a:r>
              <a:rPr lang="en-US" altLang="en-US" sz="2800" dirty="0">
                <a:latin typeface="Zawgyi-One" panose="020B0604030504040204" pitchFamily="34" charset="0"/>
                <a:cs typeface="Zawgyi-One" panose="020B0604030504040204" pitchFamily="34" charset="0"/>
              </a:rPr>
              <a:t> </a:t>
            </a:r>
            <a:r>
              <a:rPr lang="en-US" altLang="en-US" sz="2800" dirty="0" err="1">
                <a:latin typeface="Zawgyi-One" panose="020B0604030504040204" pitchFamily="34" charset="0"/>
                <a:cs typeface="Zawgyi-One" panose="020B0604030504040204" pitchFamily="34" charset="0"/>
              </a:rPr>
              <a:t>အကူအညီလိုအပ္နိုင္ေသာကေလးမ်ား</a:t>
            </a:r>
            <a:r>
              <a:rPr lang="en-US" altLang="en-US" sz="2800" dirty="0">
                <a:latin typeface="Zawgyi-One" panose="020B0604030504040204" pitchFamily="34" charset="0"/>
                <a:cs typeface="Zawgyi-One" panose="020B0604030504040204" pitchFamily="34" charset="0"/>
              </a:rPr>
              <a:t>...</a:t>
            </a:r>
          </a:p>
        </p:txBody>
      </p:sp>
      <p:sp>
        <p:nvSpPr>
          <p:cNvPr id="33" name="object 33">
            <a:extLst>
              <a:ext uri="{FF2B5EF4-FFF2-40B4-BE49-F238E27FC236}">
                <a16:creationId xmlns:a16="http://schemas.microsoft.com/office/drawing/2014/main" id="{AB72FDDE-8EF1-4BB0-AF16-0E921FC08C49}"/>
              </a:ext>
            </a:extLst>
          </p:cNvPr>
          <p:cNvSpPr>
            <a:spLocks noGrp="1"/>
          </p:cNvSpPr>
          <p:nvPr>
            <p:ph type="ftr" sz="quarter" idx="11"/>
          </p:nvPr>
        </p:nvSpPr>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12" name="object 25">
            <a:extLst>
              <a:ext uri="{FF2B5EF4-FFF2-40B4-BE49-F238E27FC236}">
                <a16:creationId xmlns:a16="http://schemas.microsoft.com/office/drawing/2014/main" id="{3E266A43-259C-426E-AA08-EB0D88A21E96}"/>
              </a:ext>
            </a:extLst>
          </p:cNvPr>
          <p:cNvSpPr txBox="1">
            <a:spLocks noChangeArrowheads="1"/>
          </p:cNvSpPr>
          <p:nvPr/>
        </p:nvSpPr>
        <p:spPr bwMode="auto">
          <a:xfrm>
            <a:off x="2525022" y="1188231"/>
            <a:ext cx="6259422" cy="4856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801688" indent="-285750">
              <a:defRPr sz="4000">
                <a:solidFill>
                  <a:srgbClr val="075109"/>
                </a:solidFill>
                <a:latin typeface="SimHei" panose="02010609060101010101" pitchFamily="49" charset="-122"/>
                <a:ea typeface="SimHei" panose="02010609060101010101" pitchFamily="49" charset="-122"/>
              </a:defRPr>
            </a:lvl1pPr>
            <a:lvl2pPr marL="742950" indent="-285750">
              <a:defRPr sz="4000">
                <a:solidFill>
                  <a:srgbClr val="075109"/>
                </a:solidFill>
                <a:latin typeface="SimHei" panose="02010609060101010101" pitchFamily="49" charset="-122"/>
                <a:ea typeface="SimHei" panose="02010609060101010101" pitchFamily="49" charset="-122"/>
              </a:defRPr>
            </a:lvl2pPr>
            <a:lvl3pPr marL="1143000" indent="-228600">
              <a:defRPr sz="4000">
                <a:solidFill>
                  <a:srgbClr val="075109"/>
                </a:solidFill>
                <a:latin typeface="SimHei" panose="02010609060101010101" pitchFamily="49" charset="-122"/>
                <a:ea typeface="SimHei" panose="02010609060101010101" pitchFamily="49" charset="-122"/>
              </a:defRPr>
            </a:lvl3pPr>
            <a:lvl4pPr marL="1600200" indent="-228600">
              <a:defRPr sz="4000">
                <a:solidFill>
                  <a:srgbClr val="075109"/>
                </a:solidFill>
                <a:latin typeface="SimHei" panose="02010609060101010101" pitchFamily="49" charset="-122"/>
                <a:ea typeface="SimHei" panose="02010609060101010101" pitchFamily="49" charset="-122"/>
              </a:defRPr>
            </a:lvl4pPr>
            <a:lvl5pPr marL="2057400" indent="-228600">
              <a:defRPr sz="4000">
                <a:solidFill>
                  <a:srgbClr val="075109"/>
                </a:solidFill>
                <a:latin typeface="SimHei" panose="02010609060101010101" pitchFamily="49" charset="-122"/>
                <a:ea typeface="SimHei" panose="02010609060101010101" pitchFamily="49" charset="-122"/>
              </a:defRPr>
            </a:lvl5pPr>
            <a:lvl6pPr marL="25146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6pPr>
            <a:lvl7pPr marL="29718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7pPr>
            <a:lvl8pPr marL="34290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8pPr>
            <a:lvl9pPr marL="38862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9pPr>
          </a:lstStyle>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စိတ္ဖိစီးမ</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က်န္ရွိေနေသာကေလး</a:t>
            </a:r>
            <a:endPar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23"/>
              </a:spcBef>
              <a:spcAft>
                <a:spcPts val="0"/>
              </a:spcAft>
              <a:buClrTx/>
              <a:buSzTx/>
              <a:buFont typeface="Arial" panose="020B0604020202020204" pitchFamily="34" charset="0"/>
              <a:buChar char="•"/>
              <a:tabLst/>
              <a:defRPr/>
            </a:pPr>
            <a:endParaRPr kumimoji="0" lang="en-US" altLang="en-US" sz="2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my-MM"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တစ္ဦးတစ္ေယာက္ႏွင့္စပ္ဆုိင္ေသာ အျခင္းအရာ </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င့္ </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အျပဳအမူေတြမွာ</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သိသာစြာေျပာင္းလဲျခင္းမ်ိဳးရွိေနေသာကေလး</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 သူတို႔ေန႔စဥ္ဘ၀ေတြကို ျ</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ပန္လည္မတည္ေဆာက္နိုင္ေသာကေလး</a:t>
            </a:r>
            <a:endPar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en-US" sz="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58"/>
              </a:spcBef>
              <a:spcAft>
                <a:spcPts val="0"/>
              </a:spcAft>
              <a:buClrTx/>
              <a:buSzTx/>
              <a:buFont typeface="Arial" panose="020B0604020202020204" pitchFamily="34" charset="0"/>
              <a:buChar char="•"/>
              <a:tabLst/>
              <a:defRPr/>
            </a:pPr>
            <a:endParaRPr kumimoji="0" lang="en-US" altLang="en-US" sz="6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ငိမ္းေျခာက္မ</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ကို</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ခံစားေနရေသာကေလး</a:t>
            </a:r>
            <a:endPar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en-US" sz="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en-US" sz="7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သူတို႔ကိုယ္တိုင</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႔) </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အျခားသူေတြကို</a:t>
            </a:r>
            <a:r>
              <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 အႏၲ</a:t>
            </a:r>
            <a:r>
              <a:rPr kumimoji="0" lang="en-US" altLang="en-US" sz="1400" b="0" i="0" u="none" strike="noStrike" kern="1200" cap="none" spc="0" normalizeH="0" baseline="0" noProof="0" dirty="0" err="1">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rPr>
              <a:t>ရာယ္က်ေရာက္ေအာင္လုပ္ေနေသာကေလး</a:t>
            </a:r>
            <a:endParaRPr kumimoji="0" lang="en-US" altLang="en-US" sz="14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39556" marR="0" lvl="0" indent="-263604"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altLang="en-US" sz="200" b="0" i="0" u="none" strike="noStrike" kern="1200" cap="none" spc="0" normalizeH="0" baseline="0" noProof="0" dirty="0">
              <a:ln>
                <a:noFill/>
              </a:ln>
              <a:solidFill>
                <a:prstClr val="black"/>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761702" marR="0" lvl="0"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ကတယ္လုိ႔ကေလးတစ္ေယာာက္ကစိတ္ဖိစီးမ</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အခါခါခံထားရလ</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င္သူ</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သူမကိုတစ</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ယာက္တည္းမခ်န္ခဲ့ပါနွင</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မတုန</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႔ျ</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ပန္မခ်င္း</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႔) </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သင</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အေနနဲ႔တျခား</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တစ္ေယာက္ဆီ</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ကအကူအညီမရမခ်င္း</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ကေလး</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င့္</a:t>
            </a:r>
            <a:r>
              <a:rPr kumimoji="0" lang="en-US" altLang="en-US" sz="1400" b="0" i="0" u="none" strike="noStrike" kern="1200" cap="none" spc="0" normalizeH="0" baseline="0" noProof="0" dirty="0" err="1">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နပ</a:t>
            </a:r>
            <a:r>
              <a:rPr kumimoji="0" lang="en-US" altLang="en-US" sz="1400" b="0" i="0" u="none" strike="noStrike" kern="1200" cap="none" spc="0" normalizeH="0" baseline="0" noProof="0" dirty="0">
                <a:ln>
                  <a:noFill/>
                </a:ln>
                <a:solidFill>
                  <a:srgbClr val="F60006"/>
                </a:solidFill>
                <a:effectLst/>
                <a:uLnTx/>
                <a:uFillTx/>
                <a:latin typeface="Zawgyi-One" panose="020B0604030504040204" pitchFamily="34" charset="0"/>
                <a:ea typeface="SimHei" panose="02010609060101010101" pitchFamily="49" charset="-122"/>
                <a:cs typeface="Zawgyi-One" panose="020B0604030504040204" pitchFamily="34" charset="0"/>
              </a:rPr>
              <a:t>ါ။</a:t>
            </a:r>
          </a:p>
        </p:txBody>
      </p:sp>
      <p:grpSp>
        <p:nvGrpSpPr>
          <p:cNvPr id="11" name="Group 10">
            <a:extLst>
              <a:ext uri="{FF2B5EF4-FFF2-40B4-BE49-F238E27FC236}">
                <a16:creationId xmlns:a16="http://schemas.microsoft.com/office/drawing/2014/main" id="{39630137-56C8-46E4-A3BC-6D13E51252F3}"/>
              </a:ext>
            </a:extLst>
          </p:cNvPr>
          <p:cNvGrpSpPr/>
          <p:nvPr/>
        </p:nvGrpSpPr>
        <p:grpSpPr>
          <a:xfrm>
            <a:off x="206324" y="1992231"/>
            <a:ext cx="2463799" cy="2050212"/>
            <a:chOff x="841323" y="2297031"/>
            <a:chExt cx="2463800" cy="2050212"/>
          </a:xfrm>
        </p:grpSpPr>
        <p:sp>
          <p:nvSpPr>
            <p:cNvPr id="13" name="object 24">
              <a:extLst>
                <a:ext uri="{FF2B5EF4-FFF2-40B4-BE49-F238E27FC236}">
                  <a16:creationId xmlns:a16="http://schemas.microsoft.com/office/drawing/2014/main" id="{614E6B22-2FEB-4645-9731-8F81416BCA01}"/>
                </a:ext>
              </a:extLst>
            </p:cNvPr>
            <p:cNvSpPr>
              <a:spLocks/>
            </p:cNvSpPr>
            <p:nvPr/>
          </p:nvSpPr>
          <p:spPr bwMode="auto">
            <a:xfrm>
              <a:off x="841323" y="2297031"/>
              <a:ext cx="2463800" cy="2050212"/>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TextBox 13">
              <a:extLst>
                <a:ext uri="{FF2B5EF4-FFF2-40B4-BE49-F238E27FC236}">
                  <a16:creationId xmlns:a16="http://schemas.microsoft.com/office/drawing/2014/main" id="{BF22F62C-F770-41C9-BA1B-E4A1AB5718C1}"/>
                </a:ext>
              </a:extLst>
            </p:cNvPr>
            <p:cNvSpPr txBox="1"/>
            <p:nvPr/>
          </p:nvSpPr>
          <p:spPr>
            <a:xfrm>
              <a:off x="990600" y="2813220"/>
              <a:ext cx="2169422" cy="1107996"/>
            </a:xfrm>
            <a:prstGeom prst="rect">
              <a:avLst/>
            </a:prstGeom>
            <a:noFill/>
          </p:spPr>
          <p:txBody>
            <a:bodyPr wrap="square" lIns="0" tIns="0" rIns="0" bIns="0" rtlCol="0">
              <a:spAutoFit/>
            </a:bodyPr>
            <a:lstStyle/>
            <a:p>
              <a:r>
                <a:rPr lang="en-US" sz="3600" dirty="0" err="1">
                  <a:solidFill>
                    <a:schemeClr val="bg1"/>
                  </a:solidFill>
                  <a:latin typeface="Gill Sans Infant Std"/>
                  <a:cs typeface="Gill Sans Infant Std"/>
                </a:rPr>
                <a:t>ဘယ်လို</a:t>
              </a:r>
              <a:endParaRPr lang="en-US" sz="3600" dirty="0">
                <a:solidFill>
                  <a:schemeClr val="bg1"/>
                </a:solidFill>
                <a:latin typeface="Gill Sans Infant Std"/>
                <a:cs typeface="Gill Sans Infant Std"/>
              </a:endParaRPr>
            </a:p>
            <a:p>
              <a:r>
                <a:rPr lang="en-US" sz="3600" dirty="0" err="1">
                  <a:solidFill>
                    <a:schemeClr val="bg1"/>
                  </a:solidFill>
                  <a:latin typeface="Gill Sans Infant Std"/>
                  <a:cs typeface="Gill Sans Infant Std"/>
                </a:rPr>
                <a:t>ကလေးမျိုး</a:t>
              </a:r>
              <a:endParaRPr lang="en-US" sz="3600" dirty="0">
                <a:solidFill>
                  <a:schemeClr val="bg1"/>
                </a:solidFill>
                <a:latin typeface="Gill Sans Infant Std"/>
                <a:cs typeface="Gill Sans Infant Std"/>
              </a:endParaRPr>
            </a:p>
          </p:txBody>
        </p:sp>
      </p:grpSp>
      <p:sp>
        <p:nvSpPr>
          <p:cNvPr id="15" name="object 6">
            <a:extLst>
              <a:ext uri="{FF2B5EF4-FFF2-40B4-BE49-F238E27FC236}">
                <a16:creationId xmlns:a16="http://schemas.microsoft.com/office/drawing/2014/main" id="{372E011F-B7AD-4DC8-A609-5AE2348D1E79}"/>
              </a:ext>
            </a:extLst>
          </p:cNvPr>
          <p:cNvSpPr>
            <a:spLocks/>
          </p:cNvSpPr>
          <p:nvPr/>
        </p:nvSpPr>
        <p:spPr bwMode="auto">
          <a:xfrm>
            <a:off x="8578816" y="4164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6" name="object 7">
            <a:extLst>
              <a:ext uri="{FF2B5EF4-FFF2-40B4-BE49-F238E27FC236}">
                <a16:creationId xmlns:a16="http://schemas.microsoft.com/office/drawing/2014/main" id="{BEC71CAD-4EE1-43E9-AB2E-4BBB7EEC4182}"/>
              </a:ext>
            </a:extLst>
          </p:cNvPr>
          <p:cNvSpPr txBox="1">
            <a:spLocks noChangeArrowheads="1"/>
          </p:cNvSpPr>
          <p:nvPr/>
        </p:nvSpPr>
        <p:spPr bwMode="auto">
          <a:xfrm>
            <a:off x="8655831" y="4274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8</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4167653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algn="ctr"/>
            <a:endParaRPr lang="en-US" dirty="0"/>
          </a:p>
        </p:txBody>
      </p:sp>
      <p:sp>
        <p:nvSpPr>
          <p:cNvPr id="4" name="Slide Number Placeholder 3"/>
          <p:cNvSpPr>
            <a:spLocks noGrp="1"/>
          </p:cNvSpPr>
          <p:nvPr>
            <p:ph type="sldNum" sz="quarter" idx="12"/>
          </p:nvPr>
        </p:nvSpPr>
        <p:spPr/>
        <p:txBody>
          <a:bodyPr/>
          <a:lstStyle/>
          <a:p>
            <a:fld id="{C3FDE51E-0052-334C-A4B2-C567FE9F326F}" type="slidenum">
              <a:rPr lang="en-US" smtClean="0"/>
              <a:t>2</a:t>
            </a:fld>
            <a:endParaRPr lang="en-US"/>
          </a:p>
        </p:txBody>
      </p:sp>
      <p:sp>
        <p:nvSpPr>
          <p:cNvPr id="6" name="Title 1"/>
          <p:cNvSpPr txBox="1">
            <a:spLocks/>
          </p:cNvSpPr>
          <p:nvPr/>
        </p:nvSpPr>
        <p:spPr bwMode="auto">
          <a:xfrm>
            <a:off x="-861516" y="1828800"/>
            <a:ext cx="106299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algn="ctr">
              <a:spcBef>
                <a:spcPct val="0"/>
              </a:spcBef>
              <a:buClrTx/>
              <a:buFontTx/>
              <a:buNone/>
            </a:pPr>
            <a:r>
              <a:rPr lang="en-US" altLang="en-US" sz="4000" b="1" dirty="0">
                <a:latin typeface="+mj-lt"/>
              </a:rPr>
              <a:t>Psychological First Aid</a:t>
            </a:r>
          </a:p>
          <a:p>
            <a:pPr algn="ctr">
              <a:spcBef>
                <a:spcPct val="0"/>
              </a:spcBef>
              <a:buClrTx/>
              <a:buFontTx/>
              <a:buNone/>
            </a:pPr>
            <a:endParaRPr lang="en-US" altLang="en-US" sz="4000" b="1" dirty="0">
              <a:latin typeface="+mj-lt"/>
            </a:endParaRPr>
          </a:p>
          <a:p>
            <a:pPr algn="ctr">
              <a:spcBef>
                <a:spcPct val="0"/>
              </a:spcBef>
              <a:buClrTx/>
              <a:buFontTx/>
              <a:buNone/>
            </a:pPr>
            <a:r>
              <a:rPr lang="my-MM" altLang="en-US" b="1" dirty="0">
                <a:latin typeface="+mj-lt"/>
              </a:rPr>
              <a:t>စိတ်ပိုင်းဆိုင်ရာ ရှေးဦးကူညီစောင့်ရှောက်မှု</a:t>
            </a:r>
            <a:endParaRPr lang="en-US" altLang="en-US" sz="2400" dirty="0"/>
          </a:p>
        </p:txBody>
      </p:sp>
      <p:sp>
        <p:nvSpPr>
          <p:cNvPr id="5" name="object 6">
            <a:extLst>
              <a:ext uri="{FF2B5EF4-FFF2-40B4-BE49-F238E27FC236}">
                <a16:creationId xmlns:a16="http://schemas.microsoft.com/office/drawing/2014/main" id="{38F64671-417D-4785-AC95-42B0F15A9DAB}"/>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 name="object 7">
            <a:extLst>
              <a:ext uri="{FF2B5EF4-FFF2-40B4-BE49-F238E27FC236}">
                <a16:creationId xmlns:a16="http://schemas.microsoft.com/office/drawing/2014/main" id="{CC6788C1-D3DD-483E-BBB4-1ABB6818F4D9}"/>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39331459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5" name="object 4">
            <a:extLst>
              <a:ext uri="{FF2B5EF4-FFF2-40B4-BE49-F238E27FC236}">
                <a16:creationId xmlns:a16="http://schemas.microsoft.com/office/drawing/2014/main" id="{BB06B3B3-03C3-4E73-B3A8-2B9B4E67DCBB}"/>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76" name="object 5">
            <a:extLst>
              <a:ext uri="{FF2B5EF4-FFF2-40B4-BE49-F238E27FC236}">
                <a16:creationId xmlns:a16="http://schemas.microsoft.com/office/drawing/2014/main" id="{482F7114-211D-4105-9888-6278890ACD9E}"/>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77" name="object 6">
            <a:extLst>
              <a:ext uri="{FF2B5EF4-FFF2-40B4-BE49-F238E27FC236}">
                <a16:creationId xmlns:a16="http://schemas.microsoft.com/office/drawing/2014/main" id="{614CFEF2-9F7A-40A1-BB52-CF51B11B1DE1}"/>
              </a:ext>
            </a:extLst>
          </p:cNvPr>
          <p:cNvSpPr>
            <a:spLocks/>
          </p:cNvSpPr>
          <p:nvPr/>
        </p:nvSpPr>
        <p:spPr bwMode="auto">
          <a:xfrm>
            <a:off x="2445" y="0"/>
            <a:ext cx="9140027" cy="118273"/>
          </a:xfrm>
          <a:custGeom>
            <a:avLst/>
            <a:gdLst>
              <a:gd name="T0" fmla="*/ 0 w 15825596"/>
              <a:gd name="T1" fmla="*/ 204177 h 204177"/>
              <a:gd name="T2" fmla="*/ 15825596 w 15825596"/>
              <a:gd name="T3" fmla="*/ 204177 h 204177"/>
              <a:gd name="T4" fmla="*/ 15825596 w 15825596"/>
              <a:gd name="T5" fmla="*/ 0 h 204177"/>
              <a:gd name="T6" fmla="*/ 0 w 15825596"/>
              <a:gd name="T7" fmla="*/ 0 h 204177"/>
              <a:gd name="T8" fmla="*/ 0 w 15825596"/>
              <a:gd name="T9" fmla="*/ 204177 h 204177"/>
            </a:gdLst>
            <a:ahLst/>
            <a:cxnLst>
              <a:cxn ang="0">
                <a:pos x="T0" y="T1"/>
              </a:cxn>
              <a:cxn ang="0">
                <a:pos x="T2" y="T3"/>
              </a:cxn>
              <a:cxn ang="0">
                <a:pos x="T4" y="T5"/>
              </a:cxn>
              <a:cxn ang="0">
                <a:pos x="T6" y="T7"/>
              </a:cxn>
              <a:cxn ang="0">
                <a:pos x="T8" y="T9"/>
              </a:cxn>
            </a:cxnLst>
            <a:rect l="0" t="0" r="r" b="b"/>
            <a:pathLst>
              <a:path w="15825596" h="204177">
                <a:moveTo>
                  <a:pt x="0" y="204177"/>
                </a:moveTo>
                <a:lnTo>
                  <a:pt x="15825596" y="204177"/>
                </a:lnTo>
                <a:lnTo>
                  <a:pt x="15825596" y="0"/>
                </a:lnTo>
                <a:lnTo>
                  <a:pt x="0" y="0"/>
                </a:lnTo>
                <a:lnTo>
                  <a:pt x="0" y="204177"/>
                </a:lnTo>
              </a:path>
            </a:pathLst>
          </a:custGeom>
          <a:solidFill>
            <a:srgbClr val="00528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78" name="object 7">
            <a:extLst>
              <a:ext uri="{FF2B5EF4-FFF2-40B4-BE49-F238E27FC236}">
                <a16:creationId xmlns:a16="http://schemas.microsoft.com/office/drawing/2014/main" id="{D0CC67CE-AE2C-4B37-809F-A359C48057E2}"/>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79" name="object 8">
            <a:extLst>
              <a:ext uri="{FF2B5EF4-FFF2-40B4-BE49-F238E27FC236}">
                <a16:creationId xmlns:a16="http://schemas.microsoft.com/office/drawing/2014/main" id="{1E00351E-C75D-467F-8582-F032D703809B}"/>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19</a:t>
            </a:r>
            <a:endParaRPr lang="en-US" altLang="en-US" sz="2021" dirty="0">
              <a:latin typeface="Gill Sans" pitchFamily="34" charset="0"/>
              <a:cs typeface="Gill Sans" pitchFamily="34" charset="0"/>
            </a:endParaRPr>
          </a:p>
        </p:txBody>
      </p:sp>
      <p:sp>
        <p:nvSpPr>
          <p:cNvPr id="28680" name="object 9">
            <a:extLst>
              <a:ext uri="{FF2B5EF4-FFF2-40B4-BE49-F238E27FC236}">
                <a16:creationId xmlns:a16="http://schemas.microsoft.com/office/drawing/2014/main" id="{8F008BF0-2946-42D9-9644-04A0C7C50365}"/>
              </a:ext>
            </a:extLst>
          </p:cNvPr>
          <p:cNvSpPr>
            <a:spLocks/>
          </p:cNvSpPr>
          <p:nvPr/>
        </p:nvSpPr>
        <p:spPr bwMode="auto">
          <a:xfrm>
            <a:off x="7137332" y="6343651"/>
            <a:ext cx="116440" cy="163198"/>
          </a:xfrm>
          <a:custGeom>
            <a:avLst/>
            <a:gdLst>
              <a:gd name="T0" fmla="*/ 5640 w 201527"/>
              <a:gd name="T1" fmla="*/ 196283 h 282176"/>
              <a:gd name="T2" fmla="*/ 8677 w 201527"/>
              <a:gd name="T3" fmla="*/ 257130 h 282176"/>
              <a:gd name="T4" fmla="*/ 49711 w 201527"/>
              <a:gd name="T5" fmla="*/ 274727 h 282176"/>
              <a:gd name="T6" fmla="*/ 90485 w 201527"/>
              <a:gd name="T7" fmla="*/ 281658 h 282176"/>
              <a:gd name="T8" fmla="*/ 107731 w 201527"/>
              <a:gd name="T9" fmla="*/ 282176 h 282176"/>
              <a:gd name="T10" fmla="*/ 123607 w 201527"/>
              <a:gd name="T11" fmla="*/ 281179 h 282176"/>
              <a:gd name="T12" fmla="*/ 165022 w 201527"/>
              <a:gd name="T13" fmla="*/ 269253 h 282176"/>
              <a:gd name="T14" fmla="*/ 194586 w 201527"/>
              <a:gd name="T15" fmla="*/ 243732 h 282176"/>
              <a:gd name="T16" fmla="*/ 201527 w 201527"/>
              <a:gd name="T17" fmla="*/ 231399 h 282176"/>
              <a:gd name="T18" fmla="*/ 89385 w 201527"/>
              <a:gd name="T19" fmla="*/ 231399 h 282176"/>
              <a:gd name="T20" fmla="*/ 78461 w 201527"/>
              <a:gd name="T21" fmla="*/ 230048 h 282176"/>
              <a:gd name="T22" fmla="*/ 33026 w 201527"/>
              <a:gd name="T23" fmla="*/ 213043 h 282176"/>
              <a:gd name="T24" fmla="*/ 19938 w 201527"/>
              <a:gd name="T25" fmla="*/ 205428 h 282176"/>
              <a:gd name="T26" fmla="*/ 5640 w 201527"/>
              <a:gd name="T27" fmla="*/ 196283 h 282176"/>
              <a:gd name="T28" fmla="*/ 97394 w 201527"/>
              <a:gd name="T29" fmla="*/ 0 h 282176"/>
              <a:gd name="T30" fmla="*/ 50135 w 201527"/>
              <a:gd name="T31" fmla="*/ 9503 h 282176"/>
              <a:gd name="T32" fmla="*/ 17155 w 201527"/>
              <a:gd name="T33" fmla="*/ 32415 h 282176"/>
              <a:gd name="T34" fmla="*/ 0 w 201527"/>
              <a:gd name="T35" fmla="*/ 80392 h 282176"/>
              <a:gd name="T36" fmla="*/ 1613 w 201527"/>
              <a:gd name="T37" fmla="*/ 96400 h 282176"/>
              <a:gd name="T38" fmla="*/ 20167 w 201527"/>
              <a:gd name="T39" fmla="*/ 132500 h 282176"/>
              <a:gd name="T40" fmla="*/ 52208 w 201527"/>
              <a:gd name="T41" fmla="*/ 155308 h 282176"/>
              <a:gd name="T42" fmla="*/ 100167 w 201527"/>
              <a:gd name="T43" fmla="*/ 175259 h 282176"/>
              <a:gd name="T44" fmla="*/ 110843 w 201527"/>
              <a:gd name="T45" fmla="*/ 179838 h 282176"/>
              <a:gd name="T46" fmla="*/ 139478 w 201527"/>
              <a:gd name="T47" fmla="*/ 211224 h 282176"/>
              <a:gd name="T48" fmla="*/ 135082 w 201527"/>
              <a:gd name="T49" fmla="*/ 219958 h 282176"/>
              <a:gd name="T50" fmla="*/ 125635 w 201527"/>
              <a:gd name="T51" fmla="*/ 226358 h 282176"/>
              <a:gd name="T52" fmla="*/ 110587 w 201527"/>
              <a:gd name="T53" fmla="*/ 230235 h 282176"/>
              <a:gd name="T54" fmla="*/ 89385 w 201527"/>
              <a:gd name="T55" fmla="*/ 231399 h 282176"/>
              <a:gd name="T56" fmla="*/ 201527 w 201527"/>
              <a:gd name="T57" fmla="*/ 231399 h 282176"/>
              <a:gd name="T58" fmla="*/ 206103 w 201527"/>
              <a:gd name="T59" fmla="*/ 219047 h 282176"/>
              <a:gd name="T60" fmla="*/ 209043 w 201527"/>
              <a:gd name="T61" fmla="*/ 204376 h 282176"/>
              <a:gd name="T62" fmla="*/ 209942 w 201527"/>
              <a:gd name="T63" fmla="*/ 188141 h 282176"/>
              <a:gd name="T64" fmla="*/ 206744 w 201527"/>
              <a:gd name="T65" fmla="*/ 173333 h 282176"/>
              <a:gd name="T66" fmla="*/ 184021 w 201527"/>
              <a:gd name="T67" fmla="*/ 139885 h 282176"/>
              <a:gd name="T68" fmla="*/ 149308 w 201527"/>
              <a:gd name="T69" fmla="*/ 118293 h 282176"/>
              <a:gd name="T70" fmla="*/ 112516 w 201527"/>
              <a:gd name="T71" fmla="*/ 102634 h 282176"/>
              <a:gd name="T72" fmla="*/ 101503 w 201527"/>
              <a:gd name="T73" fmla="*/ 97708 h 282176"/>
              <a:gd name="T74" fmla="*/ 72331 w 201527"/>
              <a:gd name="T75" fmla="*/ 65412 h 282176"/>
              <a:gd name="T76" fmla="*/ 80154 w 201527"/>
              <a:gd name="T77" fmla="*/ 57314 h 282176"/>
              <a:gd name="T78" fmla="*/ 93652 w 201527"/>
              <a:gd name="T79" fmla="*/ 52113 h 282176"/>
              <a:gd name="T80" fmla="*/ 112174 w 201527"/>
              <a:gd name="T81" fmla="*/ 50278 h 282176"/>
              <a:gd name="T82" fmla="*/ 197432 w 201527"/>
              <a:gd name="T83" fmla="*/ 50278 h 282176"/>
              <a:gd name="T84" fmla="*/ 196707 w 201527"/>
              <a:gd name="T85" fmla="*/ 20659 h 282176"/>
              <a:gd name="T86" fmla="*/ 160233 w 201527"/>
              <a:gd name="T87" fmla="*/ 7703 h 282176"/>
              <a:gd name="T88" fmla="*/ 111068 w 201527"/>
              <a:gd name="T89" fmla="*/ 250 h 282176"/>
              <a:gd name="T90" fmla="*/ 97394 w 201527"/>
              <a:gd name="T91" fmla="*/ 0 h 282176"/>
              <a:gd name="T92" fmla="*/ 197432 w 201527"/>
              <a:gd name="T93" fmla="*/ 50278 h 282176"/>
              <a:gd name="T94" fmla="*/ 112174 w 201527"/>
              <a:gd name="T95" fmla="*/ 50278 h 282176"/>
              <a:gd name="T96" fmla="*/ 122111 w 201527"/>
              <a:gd name="T97" fmla="*/ 50802 h 282176"/>
              <a:gd name="T98" fmla="*/ 132391 w 201527"/>
              <a:gd name="T99" fmla="*/ 52212 h 282176"/>
              <a:gd name="T100" fmla="*/ 182137 w 201527"/>
              <a:gd name="T101" fmla="*/ 68036 h 282176"/>
              <a:gd name="T102" fmla="*/ 198033 w 201527"/>
              <a:gd name="T103" fmla="*/ 74871 h 282176"/>
              <a:gd name="T104" fmla="*/ 197432 w 201527"/>
              <a:gd name="T105" fmla="*/ 50278 h 28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1" name="object 10">
            <a:extLst>
              <a:ext uri="{FF2B5EF4-FFF2-40B4-BE49-F238E27FC236}">
                <a16:creationId xmlns:a16="http://schemas.microsoft.com/office/drawing/2014/main" id="{0F775DDD-330F-49D0-85DA-719EDC8D21B0}"/>
              </a:ext>
            </a:extLst>
          </p:cNvPr>
          <p:cNvSpPr>
            <a:spLocks/>
          </p:cNvSpPr>
          <p:nvPr/>
        </p:nvSpPr>
        <p:spPr bwMode="auto">
          <a:xfrm>
            <a:off x="7271192" y="6394994"/>
            <a:ext cx="115522" cy="111855"/>
          </a:xfrm>
          <a:custGeom>
            <a:avLst/>
            <a:gdLst>
              <a:gd name="T0" fmla="*/ 66476 w 200263"/>
              <a:gd name="T1" fmla="*/ 39675 h 192883"/>
              <a:gd name="T2" fmla="*/ 100495 w 200263"/>
              <a:gd name="T3" fmla="*/ 46500 h 192883"/>
              <a:gd name="T4" fmla="*/ 110000 w 200263"/>
              <a:gd name="T5" fmla="*/ 65236 h 192883"/>
              <a:gd name="T6" fmla="*/ 55446 w 200263"/>
              <a:gd name="T7" fmla="*/ 85753 h 192883"/>
              <a:gd name="T8" fmla="*/ 0 w 200263"/>
              <a:gd name="T9" fmla="*/ 137558 h 192883"/>
              <a:gd name="T10" fmla="*/ 24597 w 200263"/>
              <a:gd name="T11" fmla="*/ 185847 h 192883"/>
              <a:gd name="T12" fmla="*/ 63017 w 200263"/>
              <a:gd name="T13" fmla="*/ 192206 h 192883"/>
              <a:gd name="T14" fmla="*/ 86370 w 200263"/>
              <a:gd name="T15" fmla="*/ 186242 h 192883"/>
              <a:gd name="T16" fmla="*/ 111205 w 200263"/>
              <a:gd name="T17" fmla="*/ 172930 h 192883"/>
              <a:gd name="T18" fmla="*/ 197471 w 200263"/>
              <a:gd name="T19" fmla="*/ 156999 h 192883"/>
              <a:gd name="T20" fmla="*/ 69768 w 200263"/>
              <a:gd name="T21" fmla="*/ 154725 h 192883"/>
              <a:gd name="T22" fmla="*/ 61380 w 200263"/>
              <a:gd name="T23" fmla="*/ 134110 h 192883"/>
              <a:gd name="T24" fmla="*/ 73272 w 200263"/>
              <a:gd name="T25" fmla="*/ 116262 h 192883"/>
              <a:gd name="T26" fmla="*/ 99093 w 200263"/>
              <a:gd name="T27" fmla="*/ 103309 h 192883"/>
              <a:gd name="T28" fmla="*/ 168398 w 200263"/>
              <a:gd name="T29" fmla="*/ 56143 h 192883"/>
              <a:gd name="T30" fmla="*/ 166143 w 200263"/>
              <a:gd name="T31" fmla="*/ 39675 h 192883"/>
              <a:gd name="T32" fmla="*/ 111205 w 200263"/>
              <a:gd name="T33" fmla="*/ 172930 h 192883"/>
              <a:gd name="T34" fmla="*/ 128176 w 200263"/>
              <a:gd name="T35" fmla="*/ 190465 h 192883"/>
              <a:gd name="T36" fmla="*/ 155289 w 200263"/>
              <a:gd name="T37" fmla="*/ 191925 h 192883"/>
              <a:gd name="T38" fmla="*/ 180758 w 200263"/>
              <a:gd name="T39" fmla="*/ 185216 h 192883"/>
              <a:gd name="T40" fmla="*/ 194234 w 200263"/>
              <a:gd name="T41" fmla="*/ 172930 h 192883"/>
              <a:gd name="T42" fmla="*/ 99093 w 200263"/>
              <a:gd name="T43" fmla="*/ 103309 h 192883"/>
              <a:gd name="T44" fmla="*/ 98785 w 200263"/>
              <a:gd name="T45" fmla="*/ 152179 h 192883"/>
              <a:gd name="T46" fmla="*/ 197471 w 200263"/>
              <a:gd name="T47" fmla="*/ 156999 h 192883"/>
              <a:gd name="T48" fmla="*/ 172031 w 200263"/>
              <a:gd name="T49" fmla="*/ 153755 h 192883"/>
              <a:gd name="T50" fmla="*/ 168398 w 200263"/>
              <a:gd name="T51" fmla="*/ 103309 h 192883"/>
              <a:gd name="T52" fmla="*/ 186547 w 200263"/>
              <a:gd name="T53" fmla="*/ 152942 h 192883"/>
              <a:gd name="T54" fmla="*/ 198131 w 200263"/>
              <a:gd name="T55" fmla="*/ 153755 h 192883"/>
              <a:gd name="T56" fmla="*/ 100921 w 200263"/>
              <a:gd name="T57" fmla="*/ 0 h 192883"/>
              <a:gd name="T58" fmla="*/ 13527 w 200263"/>
              <a:gd name="T59" fmla="*/ 19618 h 192883"/>
              <a:gd name="T60" fmla="*/ 19103 w 200263"/>
              <a:gd name="T61" fmla="*/ 60877 h 192883"/>
              <a:gd name="T62" fmla="*/ 41987 w 200263"/>
              <a:gd name="T63" fmla="*/ 47029 h 192883"/>
              <a:gd name="T64" fmla="*/ 66476 w 200263"/>
              <a:gd name="T65" fmla="*/ 39675 h 192883"/>
              <a:gd name="T66" fmla="*/ 162125 w 200263"/>
              <a:gd name="T67" fmla="*/ 29081 h 192883"/>
              <a:gd name="T68" fmla="*/ 144530 w 200263"/>
              <a:gd name="T69" fmla="*/ 11338 h 192883"/>
              <a:gd name="T70" fmla="*/ 117446 w 200263"/>
              <a:gd name="T71" fmla="*/ 1909 h 19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2" name="object 11">
            <a:extLst>
              <a:ext uri="{FF2B5EF4-FFF2-40B4-BE49-F238E27FC236}">
                <a16:creationId xmlns:a16="http://schemas.microsoft.com/office/drawing/2014/main" id="{3FA67C67-A66E-437A-A2C6-ECA42D2A85CE}"/>
              </a:ext>
            </a:extLst>
          </p:cNvPr>
          <p:cNvSpPr>
            <a:spLocks/>
          </p:cNvSpPr>
          <p:nvPr/>
        </p:nvSpPr>
        <p:spPr bwMode="auto">
          <a:xfrm>
            <a:off x="7382130" y="6396827"/>
            <a:ext cx="118273" cy="110021"/>
          </a:xfrm>
          <a:custGeom>
            <a:avLst/>
            <a:gdLst>
              <a:gd name="T0" fmla="*/ 62522 w 204089"/>
              <a:gd name="T1" fmla="*/ 0 h 189572"/>
              <a:gd name="T2" fmla="*/ 0 w 204089"/>
              <a:gd name="T3" fmla="*/ 0 h 189572"/>
              <a:gd name="T4" fmla="*/ 85915 w 204089"/>
              <a:gd name="T5" fmla="*/ 189572 h 189572"/>
              <a:gd name="T6" fmla="*/ 118579 w 204089"/>
              <a:gd name="T7" fmla="*/ 189572 h 189572"/>
              <a:gd name="T8" fmla="*/ 157877 w 204089"/>
              <a:gd name="T9" fmla="*/ 102450 h 189572"/>
              <a:gd name="T10" fmla="*/ 102044 w 204089"/>
              <a:gd name="T11" fmla="*/ 102450 h 189572"/>
              <a:gd name="T12" fmla="*/ 62522 w 204089"/>
              <a:gd name="T13" fmla="*/ 0 h 189572"/>
              <a:gd name="T14" fmla="*/ 204089 w 204089"/>
              <a:gd name="T15" fmla="*/ 0 h 189572"/>
              <a:gd name="T16" fmla="*/ 141986 w 204089"/>
              <a:gd name="T17" fmla="*/ 0 h 189572"/>
              <a:gd name="T18" fmla="*/ 102044 w 204089"/>
              <a:gd name="T19" fmla="*/ 102450 h 189572"/>
              <a:gd name="T20" fmla="*/ 157877 w 204089"/>
              <a:gd name="T21" fmla="*/ 102450 h 189572"/>
              <a:gd name="T22" fmla="*/ 204089 w 204089"/>
              <a:gd name="T23" fmla="*/ 0 h 189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3" name="object 12">
            <a:extLst>
              <a:ext uri="{FF2B5EF4-FFF2-40B4-BE49-F238E27FC236}">
                <a16:creationId xmlns:a16="http://schemas.microsoft.com/office/drawing/2014/main" id="{646BAC7E-DE5A-4A8D-97A2-F8B044546466}"/>
              </a:ext>
            </a:extLst>
          </p:cNvPr>
          <p:cNvSpPr>
            <a:spLocks/>
          </p:cNvSpPr>
          <p:nvPr/>
        </p:nvSpPr>
        <p:spPr bwMode="auto">
          <a:xfrm>
            <a:off x="7504988" y="6394994"/>
            <a:ext cx="111855" cy="111855"/>
          </a:xfrm>
          <a:custGeom>
            <a:avLst/>
            <a:gdLst>
              <a:gd name="T0" fmla="*/ 105811 w 193899"/>
              <a:gd name="T1" fmla="*/ 0 h 192654"/>
              <a:gd name="T2" fmla="*/ 59491 w 193899"/>
              <a:gd name="T3" fmla="*/ 7868 h 192654"/>
              <a:gd name="T4" fmla="*/ 25263 w 193899"/>
              <a:gd name="T5" fmla="*/ 30129 h 192654"/>
              <a:gd name="T6" fmla="*/ 4935 w 193899"/>
              <a:gd name="T7" fmla="*/ 64103 h 192654"/>
              <a:gd name="T8" fmla="*/ 0 w 193899"/>
              <a:gd name="T9" fmla="*/ 91936 h 192654"/>
              <a:gd name="T10" fmla="*/ 901 w 193899"/>
              <a:gd name="T11" fmla="*/ 107638 h 192654"/>
              <a:gd name="T12" fmla="*/ 14163 w 193899"/>
              <a:gd name="T13" fmla="*/ 147563 h 192654"/>
              <a:gd name="T14" fmla="*/ 41700 w 193899"/>
              <a:gd name="T15" fmla="*/ 175697 h 192654"/>
              <a:gd name="T16" fmla="*/ 81507 w 193899"/>
              <a:gd name="T17" fmla="*/ 190725 h 192654"/>
              <a:gd name="T18" fmla="*/ 107477 w 193899"/>
              <a:gd name="T19" fmla="*/ 192654 h 192654"/>
              <a:gd name="T20" fmla="*/ 118685 w 193899"/>
              <a:gd name="T21" fmla="*/ 192350 h 192654"/>
              <a:gd name="T22" fmla="*/ 169205 w 193899"/>
              <a:gd name="T23" fmla="*/ 180923 h 192654"/>
              <a:gd name="T24" fmla="*/ 185590 w 193899"/>
              <a:gd name="T25" fmla="*/ 157804 h 192654"/>
              <a:gd name="T26" fmla="*/ 131343 w 193899"/>
              <a:gd name="T27" fmla="*/ 157804 h 192654"/>
              <a:gd name="T28" fmla="*/ 112847 w 193899"/>
              <a:gd name="T29" fmla="*/ 156783 h 192654"/>
              <a:gd name="T30" fmla="*/ 74410 w 193899"/>
              <a:gd name="T31" fmla="*/ 140121 h 192654"/>
              <a:gd name="T32" fmla="*/ 60396 w 193899"/>
              <a:gd name="T33" fmla="*/ 105806 h 192654"/>
              <a:gd name="T34" fmla="*/ 193899 w 193899"/>
              <a:gd name="T35" fmla="*/ 105806 h 192654"/>
              <a:gd name="T36" fmla="*/ 193591 w 193899"/>
              <a:gd name="T37" fmla="*/ 88898 h 192654"/>
              <a:gd name="T38" fmla="*/ 191563 w 193899"/>
              <a:gd name="T39" fmla="*/ 75148 h 192654"/>
              <a:gd name="T40" fmla="*/ 61603 w 193899"/>
              <a:gd name="T41" fmla="*/ 75148 h 192654"/>
              <a:gd name="T42" fmla="*/ 65005 w 193899"/>
              <a:gd name="T43" fmla="*/ 59643 h 192654"/>
              <a:gd name="T44" fmla="*/ 71796 w 193899"/>
              <a:gd name="T45" fmla="*/ 47603 h 192654"/>
              <a:gd name="T46" fmla="*/ 81690 w 193899"/>
              <a:gd name="T47" fmla="*/ 39294 h 192654"/>
              <a:gd name="T48" fmla="*/ 94400 w 193899"/>
              <a:gd name="T49" fmla="*/ 34982 h 192654"/>
              <a:gd name="T50" fmla="*/ 101938 w 193899"/>
              <a:gd name="T51" fmla="*/ 34406 h 192654"/>
              <a:gd name="T52" fmla="*/ 173313 w 193899"/>
              <a:gd name="T53" fmla="*/ 34406 h 192654"/>
              <a:gd name="T54" fmla="*/ 165235 w 193899"/>
              <a:gd name="T55" fmla="*/ 25369 h 192654"/>
              <a:gd name="T56" fmla="*/ 155241 w 193899"/>
              <a:gd name="T57" fmla="*/ 17104 h 192654"/>
              <a:gd name="T58" fmla="*/ 144153 w 193899"/>
              <a:gd name="T59" fmla="*/ 10401 h 192654"/>
              <a:gd name="T60" fmla="*/ 132120 w 193899"/>
              <a:gd name="T61" fmla="*/ 5293 h 192654"/>
              <a:gd name="T62" fmla="*/ 119289 w 193899"/>
              <a:gd name="T63" fmla="*/ 1814 h 192654"/>
              <a:gd name="T64" fmla="*/ 105811 w 193899"/>
              <a:gd name="T65" fmla="*/ 0 h 192654"/>
              <a:gd name="T66" fmla="*/ 190686 w 193899"/>
              <a:gd name="T67" fmla="*/ 131612 h 192654"/>
              <a:gd name="T68" fmla="*/ 153687 w 193899"/>
              <a:gd name="T69" fmla="*/ 152708 h 192654"/>
              <a:gd name="T70" fmla="*/ 131343 w 193899"/>
              <a:gd name="T71" fmla="*/ 157804 h 192654"/>
              <a:gd name="T72" fmla="*/ 185590 w 193899"/>
              <a:gd name="T73" fmla="*/ 157804 h 192654"/>
              <a:gd name="T74" fmla="*/ 190686 w 193899"/>
              <a:gd name="T75" fmla="*/ 131612 h 192654"/>
              <a:gd name="T76" fmla="*/ 173313 w 193899"/>
              <a:gd name="T77" fmla="*/ 34406 h 192654"/>
              <a:gd name="T78" fmla="*/ 101938 w 193899"/>
              <a:gd name="T79" fmla="*/ 34406 h 192654"/>
              <a:gd name="T80" fmla="*/ 115822 w 193899"/>
              <a:gd name="T81" fmla="*/ 36606 h 192654"/>
              <a:gd name="T82" fmla="*/ 127198 w 193899"/>
              <a:gd name="T83" fmla="*/ 42977 h 192654"/>
              <a:gd name="T84" fmla="*/ 135699 w 193899"/>
              <a:gd name="T85" fmla="*/ 53177 h 192654"/>
              <a:gd name="T86" fmla="*/ 140954 w 193899"/>
              <a:gd name="T87" fmla="*/ 66864 h 192654"/>
              <a:gd name="T88" fmla="*/ 61603 w 193899"/>
              <a:gd name="T89" fmla="*/ 75148 h 192654"/>
              <a:gd name="T90" fmla="*/ 191563 w 193899"/>
              <a:gd name="T91" fmla="*/ 75148 h 192654"/>
              <a:gd name="T92" fmla="*/ 191297 w 193899"/>
              <a:gd name="T93" fmla="*/ 73346 h 192654"/>
              <a:gd name="T94" fmla="*/ 187165 w 193899"/>
              <a:gd name="T95" fmla="*/ 59182 h 192654"/>
              <a:gd name="T96" fmla="*/ 181346 w 193899"/>
              <a:gd name="T97" fmla="*/ 46442 h 192654"/>
              <a:gd name="T98" fmla="*/ 173986 w 193899"/>
              <a:gd name="T99" fmla="*/ 35159 h 192654"/>
              <a:gd name="T100" fmla="*/ 173313 w 193899"/>
              <a:gd name="T101" fmla="*/ 34406 h 19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4" name="object 13">
            <a:extLst>
              <a:ext uri="{FF2B5EF4-FFF2-40B4-BE49-F238E27FC236}">
                <a16:creationId xmlns:a16="http://schemas.microsoft.com/office/drawing/2014/main" id="{7251D660-8B55-4165-BAF2-D55493EE9266}"/>
              </a:ext>
            </a:extLst>
          </p:cNvPr>
          <p:cNvSpPr>
            <a:spLocks/>
          </p:cNvSpPr>
          <p:nvPr/>
        </p:nvSpPr>
        <p:spPr bwMode="auto">
          <a:xfrm>
            <a:off x="7682855" y="6362904"/>
            <a:ext cx="88017" cy="143945"/>
          </a:xfrm>
          <a:custGeom>
            <a:avLst/>
            <a:gdLst>
              <a:gd name="T0" fmla="*/ 85115 w 152869"/>
              <a:gd name="T1" fmla="*/ 98424 h 248003"/>
              <a:gd name="T2" fmla="*/ 26619 w 152869"/>
              <a:gd name="T3" fmla="*/ 98424 h 248003"/>
              <a:gd name="T4" fmla="*/ 26658 w 152869"/>
              <a:gd name="T5" fmla="*/ 181335 h 248003"/>
              <a:gd name="T6" fmla="*/ 40304 w 152869"/>
              <a:gd name="T7" fmla="*/ 224276 h 248003"/>
              <a:gd name="T8" fmla="*/ 73598 w 152869"/>
              <a:gd name="T9" fmla="*/ 244599 h 248003"/>
              <a:gd name="T10" fmla="*/ 103201 w 152869"/>
              <a:gd name="T11" fmla="*/ 248003 h 248003"/>
              <a:gd name="T12" fmla="*/ 115180 w 152869"/>
              <a:gd name="T13" fmla="*/ 247068 h 248003"/>
              <a:gd name="T14" fmla="*/ 127060 w 152869"/>
              <a:gd name="T15" fmla="*/ 244913 h 248003"/>
              <a:gd name="T16" fmla="*/ 139428 w 152869"/>
              <a:gd name="T17" fmla="*/ 241391 h 248003"/>
              <a:gd name="T18" fmla="*/ 152869 w 152869"/>
              <a:gd name="T19" fmla="*/ 236359 h 248003"/>
              <a:gd name="T20" fmla="*/ 147457 w 152869"/>
              <a:gd name="T21" fmla="*/ 204687 h 248003"/>
              <a:gd name="T22" fmla="*/ 109600 w 152869"/>
              <a:gd name="T23" fmla="*/ 204687 h 248003"/>
              <a:gd name="T24" fmla="*/ 96323 w 152869"/>
              <a:gd name="T25" fmla="*/ 199980 h 248003"/>
              <a:gd name="T26" fmla="*/ 87998 w 152869"/>
              <a:gd name="T27" fmla="*/ 189799 h 248003"/>
              <a:gd name="T28" fmla="*/ 85115 w 152869"/>
              <a:gd name="T29" fmla="*/ 175056 h 248003"/>
              <a:gd name="T30" fmla="*/ 85115 w 152869"/>
              <a:gd name="T31" fmla="*/ 98424 h 248003"/>
              <a:gd name="T32" fmla="*/ 146184 w 152869"/>
              <a:gd name="T33" fmla="*/ 197242 h 248003"/>
              <a:gd name="T34" fmla="*/ 134229 w 152869"/>
              <a:gd name="T35" fmla="*/ 201703 h 248003"/>
              <a:gd name="T36" fmla="*/ 122464 w 152869"/>
              <a:gd name="T37" fmla="*/ 204083 h 248003"/>
              <a:gd name="T38" fmla="*/ 109600 w 152869"/>
              <a:gd name="T39" fmla="*/ 204687 h 248003"/>
              <a:gd name="T40" fmla="*/ 147457 w 152869"/>
              <a:gd name="T41" fmla="*/ 204687 h 248003"/>
              <a:gd name="T42" fmla="*/ 146184 w 152869"/>
              <a:gd name="T43" fmla="*/ 197242 h 248003"/>
              <a:gd name="T44" fmla="*/ 85115 w 152869"/>
              <a:gd name="T45" fmla="*/ 0 h 248003"/>
              <a:gd name="T46" fmla="*/ 77838 w 152869"/>
              <a:gd name="T47" fmla="*/ 0 h 248003"/>
              <a:gd name="T48" fmla="*/ 0 w 152869"/>
              <a:gd name="T49" fmla="*/ 87134 h 248003"/>
              <a:gd name="T50" fmla="*/ 0 w 152869"/>
              <a:gd name="T51" fmla="*/ 98424 h 248003"/>
              <a:gd name="T52" fmla="*/ 152869 w 152869"/>
              <a:gd name="T53" fmla="*/ 98424 h 248003"/>
              <a:gd name="T54" fmla="*/ 152869 w 152869"/>
              <a:gd name="T55" fmla="*/ 58496 h 248003"/>
              <a:gd name="T56" fmla="*/ 85115 w 152869"/>
              <a:gd name="T57" fmla="*/ 58496 h 248003"/>
              <a:gd name="T58" fmla="*/ 85115 w 152869"/>
              <a:gd name="T59" fmla="*/ 0 h 248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5" name="object 14">
            <a:extLst>
              <a:ext uri="{FF2B5EF4-FFF2-40B4-BE49-F238E27FC236}">
                <a16:creationId xmlns:a16="http://schemas.microsoft.com/office/drawing/2014/main" id="{28D9D8F3-D44E-4E28-952C-712B1AFBB518}"/>
              </a:ext>
            </a:extLst>
          </p:cNvPr>
          <p:cNvSpPr>
            <a:spLocks/>
          </p:cNvSpPr>
          <p:nvPr/>
        </p:nvSpPr>
        <p:spPr bwMode="auto">
          <a:xfrm>
            <a:off x="7784625"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5 w 186347"/>
              <a:gd name="T19" fmla="*/ 124886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9 h 275069"/>
              <a:gd name="T44" fmla="*/ 182341 w 186347"/>
              <a:gd name="T45" fmla="*/ 130617 h 275069"/>
              <a:gd name="T46" fmla="*/ 115026 w 186347"/>
              <a:gd name="T47" fmla="*/ 85571 h 275069"/>
              <a:gd name="T48" fmla="*/ 69226 w 186347"/>
              <a:gd name="T49" fmla="*/ 105591 h 275069"/>
              <a:gd name="T50" fmla="*/ 59296 w 186347"/>
              <a:gd name="T51" fmla="*/ 116560 h 275069"/>
              <a:gd name="T52" fmla="*/ 176188 w 186347"/>
              <a:gd name="T53" fmla="*/ 116560 h 275069"/>
              <a:gd name="T54" fmla="*/ 142032 w 186347"/>
              <a:gd name="T55" fmla="*/ 89611 h 275069"/>
              <a:gd name="T56" fmla="*/ 115026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6" name="object 15">
            <a:extLst>
              <a:ext uri="{FF2B5EF4-FFF2-40B4-BE49-F238E27FC236}">
                <a16:creationId xmlns:a16="http://schemas.microsoft.com/office/drawing/2014/main" id="{3614751B-DFB0-44B0-AB21-8241CE7356B8}"/>
              </a:ext>
            </a:extLst>
          </p:cNvPr>
          <p:cNvSpPr>
            <a:spLocks/>
          </p:cNvSpPr>
          <p:nvPr/>
        </p:nvSpPr>
        <p:spPr bwMode="auto">
          <a:xfrm>
            <a:off x="7909316" y="6394994"/>
            <a:ext cx="111855" cy="111855"/>
          </a:xfrm>
          <a:custGeom>
            <a:avLst/>
            <a:gdLst>
              <a:gd name="T0" fmla="*/ 105790 w 193899"/>
              <a:gd name="T1" fmla="*/ 0 h 192656"/>
              <a:gd name="T2" fmla="*/ 59479 w 193899"/>
              <a:gd name="T3" fmla="*/ 7871 h 192656"/>
              <a:gd name="T4" fmla="*/ 25255 w 193899"/>
              <a:gd name="T5" fmla="*/ 30136 h 192656"/>
              <a:gd name="T6" fmla="*/ 4931 w 193899"/>
              <a:gd name="T7" fmla="*/ 64117 h 192656"/>
              <a:gd name="T8" fmla="*/ 0 w 193899"/>
              <a:gd name="T9" fmla="*/ 91955 h 192656"/>
              <a:gd name="T10" fmla="*/ 902 w 193899"/>
              <a:gd name="T11" fmla="*/ 107655 h 192656"/>
              <a:gd name="T12" fmla="*/ 14164 w 193899"/>
              <a:gd name="T13" fmla="*/ 147576 h 192656"/>
              <a:gd name="T14" fmla="*/ 41704 w 193899"/>
              <a:gd name="T15" fmla="*/ 175707 h 192656"/>
              <a:gd name="T16" fmla="*/ 81518 w 193899"/>
              <a:gd name="T17" fmla="*/ 190730 h 192656"/>
              <a:gd name="T18" fmla="*/ 107487 w 193899"/>
              <a:gd name="T19" fmla="*/ 192656 h 192656"/>
              <a:gd name="T20" fmla="*/ 118692 w 193899"/>
              <a:gd name="T21" fmla="*/ 192351 h 192656"/>
              <a:gd name="T22" fmla="*/ 169220 w 193899"/>
              <a:gd name="T23" fmla="*/ 180914 h 192656"/>
              <a:gd name="T24" fmla="*/ 185594 w 193899"/>
              <a:gd name="T25" fmla="*/ 157805 h 192656"/>
              <a:gd name="T26" fmla="*/ 131330 w 193899"/>
              <a:gd name="T27" fmla="*/ 157805 h 192656"/>
              <a:gd name="T28" fmla="*/ 112833 w 193899"/>
              <a:gd name="T29" fmla="*/ 156784 h 192656"/>
              <a:gd name="T30" fmla="*/ 74402 w 193899"/>
              <a:gd name="T31" fmla="*/ 140117 h 192656"/>
              <a:gd name="T32" fmla="*/ 60397 w 193899"/>
              <a:gd name="T33" fmla="*/ 105806 h 192656"/>
              <a:gd name="T34" fmla="*/ 193899 w 193899"/>
              <a:gd name="T35" fmla="*/ 105806 h 192656"/>
              <a:gd name="T36" fmla="*/ 193588 w 193899"/>
              <a:gd name="T37" fmla="*/ 88898 h 192656"/>
              <a:gd name="T38" fmla="*/ 191558 w 193899"/>
              <a:gd name="T39" fmla="*/ 75149 h 192656"/>
              <a:gd name="T40" fmla="*/ 61604 w 193899"/>
              <a:gd name="T41" fmla="*/ 75149 h 192656"/>
              <a:gd name="T42" fmla="*/ 65003 w 193899"/>
              <a:gd name="T43" fmla="*/ 59641 h 192656"/>
              <a:gd name="T44" fmla="*/ 71797 w 193899"/>
              <a:gd name="T45" fmla="*/ 47600 h 192656"/>
              <a:gd name="T46" fmla="*/ 81695 w 193899"/>
              <a:gd name="T47" fmla="*/ 39292 h 192656"/>
              <a:gd name="T48" fmla="*/ 94403 w 193899"/>
              <a:gd name="T49" fmla="*/ 34981 h 192656"/>
              <a:gd name="T50" fmla="*/ 101926 w 193899"/>
              <a:gd name="T51" fmla="*/ 34407 h 192656"/>
              <a:gd name="T52" fmla="*/ 173304 w 193899"/>
              <a:gd name="T53" fmla="*/ 34407 h 192656"/>
              <a:gd name="T54" fmla="*/ 165221 w 193899"/>
              <a:gd name="T55" fmla="*/ 25366 h 192656"/>
              <a:gd name="T56" fmla="*/ 155225 w 193899"/>
              <a:gd name="T57" fmla="*/ 17102 h 192656"/>
              <a:gd name="T58" fmla="*/ 144136 w 193899"/>
              <a:gd name="T59" fmla="*/ 10399 h 192656"/>
              <a:gd name="T60" fmla="*/ 132101 w 193899"/>
              <a:gd name="T61" fmla="*/ 5291 h 192656"/>
              <a:gd name="T62" fmla="*/ 119270 w 193899"/>
              <a:gd name="T63" fmla="*/ 1813 h 192656"/>
              <a:gd name="T64" fmla="*/ 105790 w 193899"/>
              <a:gd name="T65" fmla="*/ 0 h 192656"/>
              <a:gd name="T66" fmla="*/ 190674 w 193899"/>
              <a:gd name="T67" fmla="*/ 131613 h 192656"/>
              <a:gd name="T68" fmla="*/ 153672 w 193899"/>
              <a:gd name="T69" fmla="*/ 152711 h 192656"/>
              <a:gd name="T70" fmla="*/ 131330 w 193899"/>
              <a:gd name="T71" fmla="*/ 157805 h 192656"/>
              <a:gd name="T72" fmla="*/ 185594 w 193899"/>
              <a:gd name="T73" fmla="*/ 157805 h 192656"/>
              <a:gd name="T74" fmla="*/ 190674 w 193899"/>
              <a:gd name="T75" fmla="*/ 131613 h 192656"/>
              <a:gd name="T76" fmla="*/ 173304 w 193899"/>
              <a:gd name="T77" fmla="*/ 34407 h 192656"/>
              <a:gd name="T78" fmla="*/ 101926 w 193899"/>
              <a:gd name="T79" fmla="*/ 34407 h 192656"/>
              <a:gd name="T80" fmla="*/ 115810 w 193899"/>
              <a:gd name="T81" fmla="*/ 36607 h 192656"/>
              <a:gd name="T82" fmla="*/ 127186 w 193899"/>
              <a:gd name="T83" fmla="*/ 42978 h 192656"/>
              <a:gd name="T84" fmla="*/ 135687 w 193899"/>
              <a:gd name="T85" fmla="*/ 53177 h 192656"/>
              <a:gd name="T86" fmla="*/ 140942 w 193899"/>
              <a:gd name="T87" fmla="*/ 66864 h 192656"/>
              <a:gd name="T88" fmla="*/ 61604 w 193899"/>
              <a:gd name="T89" fmla="*/ 75149 h 192656"/>
              <a:gd name="T90" fmla="*/ 191558 w 193899"/>
              <a:gd name="T91" fmla="*/ 75149 h 192656"/>
              <a:gd name="T92" fmla="*/ 191292 w 193899"/>
              <a:gd name="T93" fmla="*/ 73345 h 192656"/>
              <a:gd name="T94" fmla="*/ 187158 w 193899"/>
              <a:gd name="T95" fmla="*/ 59180 h 192656"/>
              <a:gd name="T96" fmla="*/ 181336 w 193899"/>
              <a:gd name="T97" fmla="*/ 46439 h 192656"/>
              <a:gd name="T98" fmla="*/ 173974 w 193899"/>
              <a:gd name="T99" fmla="*/ 35157 h 192656"/>
              <a:gd name="T100" fmla="*/ 173304 w 193899"/>
              <a:gd name="T101" fmla="*/ 34407 h 192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7" name="object 16">
            <a:extLst>
              <a:ext uri="{FF2B5EF4-FFF2-40B4-BE49-F238E27FC236}">
                <a16:creationId xmlns:a16="http://schemas.microsoft.com/office/drawing/2014/main" id="{390C9F2A-8501-4ACF-8120-74BA1A96F359}"/>
              </a:ext>
            </a:extLst>
          </p:cNvPr>
          <p:cNvSpPr>
            <a:spLocks/>
          </p:cNvSpPr>
          <p:nvPr/>
        </p:nvSpPr>
        <p:spPr bwMode="auto">
          <a:xfrm>
            <a:off x="8095435" y="6343651"/>
            <a:ext cx="154947" cy="163198"/>
          </a:xfrm>
          <a:custGeom>
            <a:avLst/>
            <a:gdLst>
              <a:gd name="T0" fmla="*/ 157586 w 268134"/>
              <a:gd name="T1" fmla="*/ 0 h 282037"/>
              <a:gd name="T2" fmla="*/ 108500 w 268134"/>
              <a:gd name="T3" fmla="*/ 7392 h 282037"/>
              <a:gd name="T4" fmla="*/ 67972 w 268134"/>
              <a:gd name="T5" fmla="*/ 24922 h 282037"/>
              <a:gd name="T6" fmla="*/ 36461 w 268134"/>
              <a:gd name="T7" fmla="*/ 50795 h 282037"/>
              <a:gd name="T8" fmla="*/ 14425 w 268134"/>
              <a:gd name="T9" fmla="*/ 83213 h 282037"/>
              <a:gd name="T10" fmla="*/ 2323 w 268134"/>
              <a:gd name="T11" fmla="*/ 120379 h 282037"/>
              <a:gd name="T12" fmla="*/ 0 w 268134"/>
              <a:gd name="T13" fmla="*/ 146908 h 282037"/>
              <a:gd name="T14" fmla="*/ 967 w 268134"/>
              <a:gd name="T15" fmla="*/ 159073 h 282037"/>
              <a:gd name="T16" fmla="*/ 15672 w 268134"/>
              <a:gd name="T17" fmla="*/ 205551 h 282037"/>
              <a:gd name="T18" fmla="*/ 48318 w 268134"/>
              <a:gd name="T19" fmla="*/ 244833 h 282037"/>
              <a:gd name="T20" fmla="*/ 85059 w 268134"/>
              <a:gd name="T21" fmla="*/ 266598 h 282037"/>
              <a:gd name="T22" fmla="*/ 132685 w 268134"/>
              <a:gd name="T23" fmla="*/ 279451 h 282037"/>
              <a:gd name="T24" fmla="*/ 170649 w 268134"/>
              <a:gd name="T25" fmla="*/ 282037 h 282037"/>
              <a:gd name="T26" fmla="*/ 183561 w 268134"/>
              <a:gd name="T27" fmla="*/ 281239 h 282037"/>
              <a:gd name="T28" fmla="*/ 231275 w 268134"/>
              <a:gd name="T29" fmla="*/ 270991 h 282037"/>
              <a:gd name="T30" fmla="*/ 268134 w 268134"/>
              <a:gd name="T31" fmla="*/ 254790 h 282037"/>
              <a:gd name="T32" fmla="*/ 266854 w 268134"/>
              <a:gd name="T33" fmla="*/ 224321 h 282037"/>
              <a:gd name="T34" fmla="*/ 155535 w 268134"/>
              <a:gd name="T35" fmla="*/ 224321 h 282037"/>
              <a:gd name="T36" fmla="*/ 140920 w 268134"/>
              <a:gd name="T37" fmla="*/ 221966 h 282037"/>
              <a:gd name="T38" fmla="*/ 103916 w 268134"/>
              <a:gd name="T39" fmla="*/ 204812 h 282037"/>
              <a:gd name="T40" fmla="*/ 79648 w 268134"/>
              <a:gd name="T41" fmla="*/ 173465 h 282037"/>
              <a:gd name="T42" fmla="*/ 71293 w 268134"/>
              <a:gd name="T43" fmla="*/ 129127 h 282037"/>
              <a:gd name="T44" fmla="*/ 74103 w 268134"/>
              <a:gd name="T45" fmla="*/ 116750 h 282037"/>
              <a:gd name="T46" fmla="*/ 104382 w 268134"/>
              <a:gd name="T47" fmla="*/ 77207 h 282037"/>
              <a:gd name="T48" fmla="*/ 145301 w 268134"/>
              <a:gd name="T49" fmla="*/ 60740 h 282037"/>
              <a:gd name="T50" fmla="*/ 180301 w 268134"/>
              <a:gd name="T51" fmla="*/ 57506 h 282037"/>
              <a:gd name="T52" fmla="*/ 262176 w 268134"/>
              <a:gd name="T53" fmla="*/ 57506 h 282037"/>
              <a:gd name="T54" fmla="*/ 258553 w 268134"/>
              <a:gd name="T55" fmla="*/ 20509 h 282037"/>
              <a:gd name="T56" fmla="*/ 214243 w 268134"/>
              <a:gd name="T57" fmla="*/ 5052 h 282037"/>
              <a:gd name="T58" fmla="*/ 173053 w 268134"/>
              <a:gd name="T59" fmla="*/ 284 h 282037"/>
              <a:gd name="T60" fmla="*/ 157586 w 268134"/>
              <a:gd name="T61" fmla="*/ 0 h 282037"/>
              <a:gd name="T62" fmla="*/ 265659 w 268134"/>
              <a:gd name="T63" fmla="*/ 195880 h 282037"/>
              <a:gd name="T64" fmla="*/ 230811 w 268134"/>
              <a:gd name="T65" fmla="*/ 211498 h 282037"/>
              <a:gd name="T66" fmla="*/ 184338 w 268134"/>
              <a:gd name="T67" fmla="*/ 223081 h 282037"/>
              <a:gd name="T68" fmla="*/ 155535 w 268134"/>
              <a:gd name="T69" fmla="*/ 224321 h 282037"/>
              <a:gd name="T70" fmla="*/ 266854 w 268134"/>
              <a:gd name="T71" fmla="*/ 224321 h 282037"/>
              <a:gd name="T72" fmla="*/ 265659 w 268134"/>
              <a:gd name="T73" fmla="*/ 195880 h 282037"/>
              <a:gd name="T74" fmla="*/ 262176 w 268134"/>
              <a:gd name="T75" fmla="*/ 57506 h 282037"/>
              <a:gd name="T76" fmla="*/ 180301 w 268134"/>
              <a:gd name="T77" fmla="*/ 57506 h 282037"/>
              <a:gd name="T78" fmla="*/ 192971 w 268134"/>
              <a:gd name="T79" fmla="*/ 58883 h 282037"/>
              <a:gd name="T80" fmla="*/ 205388 w 268134"/>
              <a:gd name="T81" fmla="*/ 61248 h 282037"/>
              <a:gd name="T82" fmla="*/ 241472 w 268134"/>
              <a:gd name="T83" fmla="*/ 73559 h 282037"/>
              <a:gd name="T84" fmla="*/ 264908 w 268134"/>
              <a:gd name="T85" fmla="*/ 85398 h 282037"/>
              <a:gd name="T86" fmla="*/ 262176 w 268134"/>
              <a:gd name="T87" fmla="*/ 57506 h 282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8" name="object 17">
            <a:extLst>
              <a:ext uri="{FF2B5EF4-FFF2-40B4-BE49-F238E27FC236}">
                <a16:creationId xmlns:a16="http://schemas.microsoft.com/office/drawing/2014/main" id="{04F3A7C3-BCA5-4A88-A0F3-B360E99C4079}"/>
              </a:ext>
            </a:extLst>
          </p:cNvPr>
          <p:cNvSpPr>
            <a:spLocks/>
          </p:cNvSpPr>
          <p:nvPr/>
        </p:nvSpPr>
        <p:spPr bwMode="auto">
          <a:xfrm>
            <a:off x="8274220" y="6345484"/>
            <a:ext cx="107271" cy="158614"/>
          </a:xfrm>
          <a:custGeom>
            <a:avLst/>
            <a:gdLst>
              <a:gd name="T0" fmla="*/ 58483 w 186347"/>
              <a:gd name="T1" fmla="*/ 0 h 275069"/>
              <a:gd name="T2" fmla="*/ 0 w 186347"/>
              <a:gd name="T3" fmla="*/ 0 h 275069"/>
              <a:gd name="T4" fmla="*/ 0 w 186347"/>
              <a:gd name="T5" fmla="*/ 275069 h 275069"/>
              <a:gd name="T6" fmla="*/ 58483 w 186347"/>
              <a:gd name="T7" fmla="*/ 275069 h 275069"/>
              <a:gd name="T8" fmla="*/ 64662 w 186347"/>
              <a:gd name="T9" fmla="*/ 148250 h 275069"/>
              <a:gd name="T10" fmla="*/ 73454 w 186347"/>
              <a:gd name="T11" fmla="*/ 139374 h 275069"/>
              <a:gd name="T12" fmla="*/ 83310 w 186347"/>
              <a:gd name="T13" fmla="*/ 133504 h 275069"/>
              <a:gd name="T14" fmla="*/ 95166 w 186347"/>
              <a:gd name="T15" fmla="*/ 130617 h 275069"/>
              <a:gd name="T16" fmla="*/ 182341 w 186347"/>
              <a:gd name="T17" fmla="*/ 130617 h 275069"/>
              <a:gd name="T18" fmla="*/ 180724 w 186347"/>
              <a:gd name="T19" fmla="*/ 124885 h 275069"/>
              <a:gd name="T20" fmla="*/ 176188 w 186347"/>
              <a:gd name="T21" fmla="*/ 116560 h 275069"/>
              <a:gd name="T22" fmla="*/ 58483 w 186347"/>
              <a:gd name="T23" fmla="*/ 116560 h 275069"/>
              <a:gd name="T24" fmla="*/ 58483 w 186347"/>
              <a:gd name="T25" fmla="*/ 0 h 275069"/>
              <a:gd name="T26" fmla="*/ 182341 w 186347"/>
              <a:gd name="T27" fmla="*/ 130617 h 275069"/>
              <a:gd name="T28" fmla="*/ 95166 w 186347"/>
              <a:gd name="T29" fmla="*/ 130617 h 275069"/>
              <a:gd name="T30" fmla="*/ 109959 w 186347"/>
              <a:gd name="T31" fmla="*/ 130692 h 275069"/>
              <a:gd name="T32" fmla="*/ 119526 w 186347"/>
              <a:gd name="T33" fmla="*/ 138166 h 275069"/>
              <a:gd name="T34" fmla="*/ 125684 w 186347"/>
              <a:gd name="T35" fmla="*/ 150871 h 275069"/>
              <a:gd name="T36" fmla="*/ 127863 w 186347"/>
              <a:gd name="T37" fmla="*/ 168998 h 275069"/>
              <a:gd name="T38" fmla="*/ 127863 w 186347"/>
              <a:gd name="T39" fmla="*/ 275069 h 275069"/>
              <a:gd name="T40" fmla="*/ 186347 w 186347"/>
              <a:gd name="T41" fmla="*/ 275069 h 275069"/>
              <a:gd name="T42" fmla="*/ 184992 w 186347"/>
              <a:gd name="T43" fmla="*/ 140017 h 275069"/>
              <a:gd name="T44" fmla="*/ 182341 w 186347"/>
              <a:gd name="T45" fmla="*/ 130617 h 275069"/>
              <a:gd name="T46" fmla="*/ 115025 w 186347"/>
              <a:gd name="T47" fmla="*/ 85571 h 275069"/>
              <a:gd name="T48" fmla="*/ 69225 w 186347"/>
              <a:gd name="T49" fmla="*/ 105591 h 275069"/>
              <a:gd name="T50" fmla="*/ 59296 w 186347"/>
              <a:gd name="T51" fmla="*/ 116560 h 275069"/>
              <a:gd name="T52" fmla="*/ 176188 w 186347"/>
              <a:gd name="T53" fmla="*/ 116560 h 275069"/>
              <a:gd name="T54" fmla="*/ 142031 w 186347"/>
              <a:gd name="T55" fmla="*/ 89611 h 275069"/>
              <a:gd name="T56" fmla="*/ 115025 w 186347"/>
              <a:gd name="T57" fmla="*/ 85571 h 2750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89" name="object 18">
            <a:extLst>
              <a:ext uri="{FF2B5EF4-FFF2-40B4-BE49-F238E27FC236}">
                <a16:creationId xmlns:a16="http://schemas.microsoft.com/office/drawing/2014/main" id="{26A8E1F4-46CF-4DDC-9F84-E6827D0D4798}"/>
              </a:ext>
            </a:extLst>
          </p:cNvPr>
          <p:cNvSpPr>
            <a:spLocks/>
          </p:cNvSpPr>
          <p:nvPr/>
        </p:nvSpPr>
        <p:spPr bwMode="auto">
          <a:xfrm>
            <a:off x="8405329" y="6396827"/>
            <a:ext cx="33923" cy="107271"/>
          </a:xfrm>
          <a:custGeom>
            <a:avLst/>
            <a:gdLst>
              <a:gd name="T0" fmla="*/ 58483 w 58483"/>
              <a:gd name="T1" fmla="*/ 185940 h 185940"/>
              <a:gd name="T2" fmla="*/ 0 w 58483"/>
              <a:gd name="T3" fmla="*/ 185940 h 185940"/>
              <a:gd name="T4" fmla="*/ 0 w 58483"/>
              <a:gd name="T5" fmla="*/ 0 h 185940"/>
              <a:gd name="T6" fmla="*/ 58483 w 58483"/>
              <a:gd name="T7" fmla="*/ 0 h 185940"/>
              <a:gd name="T8" fmla="*/ 58483 w 58483"/>
              <a:gd name="T9" fmla="*/ 185940 h 185940"/>
            </a:gdLst>
            <a:ahLst/>
            <a:cxnLst>
              <a:cxn ang="0">
                <a:pos x="T0" y="T1"/>
              </a:cxn>
              <a:cxn ang="0">
                <a:pos x="T2" y="T3"/>
              </a:cxn>
              <a:cxn ang="0">
                <a:pos x="T4" y="T5"/>
              </a:cxn>
              <a:cxn ang="0">
                <a:pos x="T6" y="T7"/>
              </a:cxn>
              <a:cxn ang="0">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90" name="object 19">
            <a:extLst>
              <a:ext uri="{FF2B5EF4-FFF2-40B4-BE49-F238E27FC236}">
                <a16:creationId xmlns:a16="http://schemas.microsoft.com/office/drawing/2014/main" id="{6D159DFD-A4EB-4DDA-AA85-C6887BBD58E1}"/>
              </a:ext>
            </a:extLst>
          </p:cNvPr>
          <p:cNvSpPr>
            <a:spLocks/>
          </p:cNvSpPr>
          <p:nvPr/>
        </p:nvSpPr>
        <p:spPr bwMode="auto">
          <a:xfrm>
            <a:off x="8403496" y="6344567"/>
            <a:ext cx="37590" cy="35757"/>
          </a:xfrm>
          <a:custGeom>
            <a:avLst/>
            <a:gdLst>
              <a:gd name="T0" fmla="*/ 22527 w 64473"/>
              <a:gd name="T1" fmla="*/ 0 h 61899"/>
              <a:gd name="T2" fmla="*/ 10874 w 64473"/>
              <a:gd name="T3" fmla="*/ 6792 h 61899"/>
              <a:gd name="T4" fmla="*/ 2919 w 64473"/>
              <a:gd name="T5" fmla="*/ 18047 h 61899"/>
              <a:gd name="T6" fmla="*/ 0 w 64473"/>
              <a:gd name="T7" fmla="*/ 32655 h 61899"/>
              <a:gd name="T8" fmla="*/ 3222 w 64473"/>
              <a:gd name="T9" fmla="*/ 44495 h 61899"/>
              <a:gd name="T10" fmla="*/ 11233 w 64473"/>
              <a:gd name="T11" fmla="*/ 54014 h 61899"/>
              <a:gd name="T12" fmla="*/ 23799 w 64473"/>
              <a:gd name="T13" fmla="*/ 60164 h 61899"/>
              <a:gd name="T14" fmla="*/ 40683 w 64473"/>
              <a:gd name="T15" fmla="*/ 61899 h 61899"/>
              <a:gd name="T16" fmla="*/ 52926 w 64473"/>
              <a:gd name="T17" fmla="*/ 55454 h 61899"/>
              <a:gd name="T18" fmla="*/ 61342 w 64473"/>
              <a:gd name="T19" fmla="*/ 44588 h 61899"/>
              <a:gd name="T20" fmla="*/ 64473 w 64473"/>
              <a:gd name="T21" fmla="*/ 30764 h 61899"/>
              <a:gd name="T22" fmla="*/ 64333 w 64473"/>
              <a:gd name="T23" fmla="*/ 27777 h 61899"/>
              <a:gd name="T24" fmla="*/ 60786 w 64473"/>
              <a:gd name="T25" fmla="*/ 16334 h 61899"/>
              <a:gd name="T26" fmla="*/ 52552 w 64473"/>
              <a:gd name="T27" fmla="*/ 7219 h 61899"/>
              <a:gd name="T28" fmla="*/ 39757 w 64473"/>
              <a:gd name="T29" fmla="*/ 1439 h 61899"/>
              <a:gd name="T30" fmla="*/ 22527 w 64473"/>
              <a:gd name="T31" fmla="*/ 0 h 6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91" name="object 20">
            <a:extLst>
              <a:ext uri="{FF2B5EF4-FFF2-40B4-BE49-F238E27FC236}">
                <a16:creationId xmlns:a16="http://schemas.microsoft.com/office/drawing/2014/main" id="{8F0EA3A6-89B2-4A77-9926-27FF203C7D25}"/>
              </a:ext>
            </a:extLst>
          </p:cNvPr>
          <p:cNvSpPr>
            <a:spLocks/>
          </p:cNvSpPr>
          <p:nvPr/>
        </p:nvSpPr>
        <p:spPr bwMode="auto">
          <a:xfrm>
            <a:off x="8464007" y="6345484"/>
            <a:ext cx="33923" cy="158614"/>
          </a:xfrm>
          <a:custGeom>
            <a:avLst/>
            <a:gdLst>
              <a:gd name="T0" fmla="*/ 58483 w 58483"/>
              <a:gd name="T1" fmla="*/ 275069 h 275069"/>
              <a:gd name="T2" fmla="*/ 0 w 58483"/>
              <a:gd name="T3" fmla="*/ 275069 h 275069"/>
              <a:gd name="T4" fmla="*/ 0 w 58483"/>
              <a:gd name="T5" fmla="*/ 0 h 275069"/>
              <a:gd name="T6" fmla="*/ 58483 w 58483"/>
              <a:gd name="T7" fmla="*/ 0 h 275069"/>
              <a:gd name="T8" fmla="*/ 58483 w 58483"/>
              <a:gd name="T9" fmla="*/ 275069 h 275069"/>
            </a:gdLst>
            <a:ahLst/>
            <a:cxnLst>
              <a:cxn ang="0">
                <a:pos x="T0" y="T1"/>
              </a:cxn>
              <a:cxn ang="0">
                <a:pos x="T2" y="T3"/>
              </a:cxn>
              <a:cxn ang="0">
                <a:pos x="T4" y="T5"/>
              </a:cxn>
              <a:cxn ang="0">
                <a:pos x="T6" y="T7"/>
              </a:cxn>
              <a:cxn ang="0">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92" name="object 21">
            <a:extLst>
              <a:ext uri="{FF2B5EF4-FFF2-40B4-BE49-F238E27FC236}">
                <a16:creationId xmlns:a16="http://schemas.microsoft.com/office/drawing/2014/main" id="{13A12AAD-307C-4CCB-8517-2091CD015C01}"/>
              </a:ext>
            </a:extLst>
          </p:cNvPr>
          <p:cNvSpPr>
            <a:spLocks/>
          </p:cNvSpPr>
          <p:nvPr/>
        </p:nvSpPr>
        <p:spPr bwMode="auto">
          <a:xfrm>
            <a:off x="8516267" y="6345484"/>
            <a:ext cx="113689" cy="161365"/>
          </a:xfrm>
          <a:custGeom>
            <a:avLst/>
            <a:gdLst>
              <a:gd name="T0" fmla="*/ 102087 w 197236"/>
              <a:gd name="T1" fmla="*/ 86169 h 278582"/>
              <a:gd name="T2" fmla="*/ 55657 w 197236"/>
              <a:gd name="T3" fmla="*/ 94000 h 278582"/>
              <a:gd name="T4" fmla="*/ 22559 w 197236"/>
              <a:gd name="T5" fmla="*/ 116758 h 278582"/>
              <a:gd name="T6" fmla="*/ 3889 w 197236"/>
              <a:gd name="T7" fmla="*/ 151731 h 278582"/>
              <a:gd name="T8" fmla="*/ 0 w 197236"/>
              <a:gd name="T9" fmla="*/ 180495 h 278582"/>
              <a:gd name="T10" fmla="*/ 1017 w 197236"/>
              <a:gd name="T11" fmla="*/ 196586 h 278582"/>
              <a:gd name="T12" fmla="*/ 15258 w 197236"/>
              <a:gd name="T13" fmla="*/ 238127 h 278582"/>
              <a:gd name="T14" fmla="*/ 43518 w 197236"/>
              <a:gd name="T15" fmla="*/ 266692 h 278582"/>
              <a:gd name="T16" fmla="*/ 82248 w 197236"/>
              <a:gd name="T17" fmla="*/ 278582 h 278582"/>
              <a:gd name="T18" fmla="*/ 96853 w 197236"/>
              <a:gd name="T19" fmla="*/ 277906 h 278582"/>
              <a:gd name="T20" fmla="*/ 109525 w 197236"/>
              <a:gd name="T21" fmla="*/ 275602 h 278582"/>
              <a:gd name="T22" fmla="*/ 120879 w 197236"/>
              <a:gd name="T23" fmla="*/ 271516 h 278582"/>
              <a:gd name="T24" fmla="*/ 131530 w 197236"/>
              <a:gd name="T25" fmla="*/ 265489 h 278582"/>
              <a:gd name="T26" fmla="*/ 197236 w 197236"/>
              <a:gd name="T27" fmla="*/ 265489 h 278582"/>
              <a:gd name="T28" fmla="*/ 197236 w 197236"/>
              <a:gd name="T29" fmla="*/ 238062 h 278582"/>
              <a:gd name="T30" fmla="*/ 115807 w 197236"/>
              <a:gd name="T31" fmla="*/ 238062 h 278582"/>
              <a:gd name="T32" fmla="*/ 98970 w 197236"/>
              <a:gd name="T33" fmla="*/ 237049 h 278582"/>
              <a:gd name="T34" fmla="*/ 66747 w 197236"/>
              <a:gd name="T35" fmla="*/ 215624 h 278582"/>
              <a:gd name="T36" fmla="*/ 59470 w 197236"/>
              <a:gd name="T37" fmla="*/ 188992 h 278582"/>
              <a:gd name="T38" fmla="*/ 60697 w 197236"/>
              <a:gd name="T39" fmla="*/ 170084 h 278582"/>
              <a:gd name="T40" fmla="*/ 79093 w 197236"/>
              <a:gd name="T41" fmla="*/ 133069 h 278582"/>
              <a:gd name="T42" fmla="*/ 102296 w 197236"/>
              <a:gd name="T43" fmla="*/ 124759 h 278582"/>
              <a:gd name="T44" fmla="*/ 197236 w 197236"/>
              <a:gd name="T45" fmla="*/ 124759 h 278582"/>
              <a:gd name="T46" fmla="*/ 197236 w 197236"/>
              <a:gd name="T47" fmla="*/ 97205 h 278582"/>
              <a:gd name="T48" fmla="*/ 138739 w 197236"/>
              <a:gd name="T49" fmla="*/ 97205 h 278582"/>
              <a:gd name="T50" fmla="*/ 126684 w 197236"/>
              <a:gd name="T51" fmla="*/ 92052 h 278582"/>
              <a:gd name="T52" fmla="*/ 114506 w 197236"/>
              <a:gd name="T53" fmla="*/ 88361 h 278582"/>
              <a:gd name="T54" fmla="*/ 102087 w 197236"/>
              <a:gd name="T55" fmla="*/ 86169 h 278582"/>
              <a:gd name="T56" fmla="*/ 197236 w 197236"/>
              <a:gd name="T57" fmla="*/ 265489 h 278582"/>
              <a:gd name="T58" fmla="*/ 131530 w 197236"/>
              <a:gd name="T59" fmla="*/ 265489 h 278582"/>
              <a:gd name="T60" fmla="*/ 138739 w 197236"/>
              <a:gd name="T61" fmla="*/ 275081 h 278582"/>
              <a:gd name="T62" fmla="*/ 197236 w 197236"/>
              <a:gd name="T63" fmla="*/ 275081 h 278582"/>
              <a:gd name="T64" fmla="*/ 197236 w 197236"/>
              <a:gd name="T65" fmla="*/ 265489 h 278582"/>
              <a:gd name="T66" fmla="*/ 197236 w 197236"/>
              <a:gd name="T67" fmla="*/ 124759 h 278582"/>
              <a:gd name="T68" fmla="*/ 102296 w 197236"/>
              <a:gd name="T69" fmla="*/ 124759 h 278582"/>
              <a:gd name="T70" fmla="*/ 116209 w 197236"/>
              <a:gd name="T71" fmla="*/ 126154 h 278582"/>
              <a:gd name="T72" fmla="*/ 128713 w 197236"/>
              <a:gd name="T73" fmla="*/ 130025 h 278582"/>
              <a:gd name="T74" fmla="*/ 138739 w 197236"/>
              <a:gd name="T75" fmla="*/ 224256 h 278582"/>
              <a:gd name="T76" fmla="*/ 127098 w 197236"/>
              <a:gd name="T77" fmla="*/ 233105 h 278582"/>
              <a:gd name="T78" fmla="*/ 115807 w 197236"/>
              <a:gd name="T79" fmla="*/ 238062 h 278582"/>
              <a:gd name="T80" fmla="*/ 197236 w 197236"/>
              <a:gd name="T81" fmla="*/ 238062 h 278582"/>
              <a:gd name="T82" fmla="*/ 197236 w 197236"/>
              <a:gd name="T83" fmla="*/ 124759 h 278582"/>
              <a:gd name="T84" fmla="*/ 197236 w 197236"/>
              <a:gd name="T85" fmla="*/ 0 h 278582"/>
              <a:gd name="T86" fmla="*/ 138739 w 197236"/>
              <a:gd name="T87" fmla="*/ 0 h 278582"/>
              <a:gd name="T88" fmla="*/ 138739 w 197236"/>
              <a:gd name="T89" fmla="*/ 97205 h 278582"/>
              <a:gd name="T90" fmla="*/ 197236 w 197236"/>
              <a:gd name="T91" fmla="*/ 97205 h 278582"/>
              <a:gd name="T92" fmla="*/ 197236 w 197236"/>
              <a:gd name="T93" fmla="*/ 0 h 278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93" name="object 22">
            <a:extLst>
              <a:ext uri="{FF2B5EF4-FFF2-40B4-BE49-F238E27FC236}">
                <a16:creationId xmlns:a16="http://schemas.microsoft.com/office/drawing/2014/main" id="{B0988F2D-52B5-49F5-97AF-74A322413747}"/>
              </a:ext>
            </a:extLst>
          </p:cNvPr>
          <p:cNvSpPr>
            <a:spLocks/>
          </p:cNvSpPr>
          <p:nvPr/>
        </p:nvSpPr>
        <p:spPr bwMode="auto">
          <a:xfrm>
            <a:off x="8653794" y="6394994"/>
            <a:ext cx="86183" cy="109104"/>
          </a:xfrm>
          <a:custGeom>
            <a:avLst/>
            <a:gdLst>
              <a:gd name="T0" fmla="*/ 58496 w 148435"/>
              <a:gd name="T1" fmla="*/ 3345 h 189286"/>
              <a:gd name="T2" fmla="*/ 0 w 148435"/>
              <a:gd name="T3" fmla="*/ 3345 h 189286"/>
              <a:gd name="T4" fmla="*/ 0 w 148435"/>
              <a:gd name="T5" fmla="*/ 189286 h 189286"/>
              <a:gd name="T6" fmla="*/ 58496 w 148435"/>
              <a:gd name="T7" fmla="*/ 189286 h 189286"/>
              <a:gd name="T8" fmla="*/ 60302 w 148435"/>
              <a:gd name="T9" fmla="*/ 104333 h 189286"/>
              <a:gd name="T10" fmla="*/ 66688 w 148435"/>
              <a:gd name="T11" fmla="*/ 89744 h 189286"/>
              <a:gd name="T12" fmla="*/ 102362 w 148435"/>
              <a:gd name="T13" fmla="*/ 56832 h 189286"/>
              <a:gd name="T14" fmla="*/ 105753 w 148435"/>
              <a:gd name="T15" fmla="*/ 56583 h 189286"/>
              <a:gd name="T16" fmla="*/ 58496 w 148435"/>
              <a:gd name="T17" fmla="*/ 56583 h 189286"/>
              <a:gd name="T18" fmla="*/ 58496 w 148435"/>
              <a:gd name="T19" fmla="*/ 3345 h 189286"/>
              <a:gd name="T20" fmla="*/ 142734 w 148435"/>
              <a:gd name="T21" fmla="*/ 55849 h 189286"/>
              <a:gd name="T22" fmla="*/ 115759 w 148435"/>
              <a:gd name="T23" fmla="*/ 55849 h 189286"/>
              <a:gd name="T24" fmla="*/ 127166 w 148435"/>
              <a:gd name="T25" fmla="*/ 60293 h 189286"/>
              <a:gd name="T26" fmla="*/ 141173 w 148435"/>
              <a:gd name="T27" fmla="*/ 68280 h 189286"/>
              <a:gd name="T28" fmla="*/ 142734 w 148435"/>
              <a:gd name="T29" fmla="*/ 55849 h 189286"/>
              <a:gd name="T30" fmla="*/ 113722 w 148435"/>
              <a:gd name="T31" fmla="*/ 0 h 189286"/>
              <a:gd name="T32" fmla="*/ 75999 w 148435"/>
              <a:gd name="T33" fmla="*/ 26495 h 189286"/>
              <a:gd name="T34" fmla="*/ 59296 w 148435"/>
              <a:gd name="T35" fmla="*/ 56583 h 189286"/>
              <a:gd name="T36" fmla="*/ 105753 w 148435"/>
              <a:gd name="T37" fmla="*/ 56583 h 189286"/>
              <a:gd name="T38" fmla="*/ 115759 w 148435"/>
              <a:gd name="T39" fmla="*/ 55849 h 189286"/>
              <a:gd name="T40" fmla="*/ 142734 w 148435"/>
              <a:gd name="T41" fmla="*/ 55849 h 189286"/>
              <a:gd name="T42" fmla="*/ 148435 w 148435"/>
              <a:gd name="T43" fmla="*/ 10457 h 189286"/>
              <a:gd name="T44" fmla="*/ 137066 w 148435"/>
              <a:gd name="T45" fmla="*/ 4225 h 189286"/>
              <a:gd name="T46" fmla="*/ 126026 w 148435"/>
              <a:gd name="T47" fmla="*/ 873 h 189286"/>
              <a:gd name="T48" fmla="*/ 113722 w 148435"/>
              <a:gd name="T49" fmla="*/ 0 h 189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94" name="object 23">
            <a:extLst>
              <a:ext uri="{FF2B5EF4-FFF2-40B4-BE49-F238E27FC236}">
                <a16:creationId xmlns:a16="http://schemas.microsoft.com/office/drawing/2014/main" id="{D7224681-D9EC-4711-A55F-2F27CD09147B}"/>
              </a:ext>
            </a:extLst>
          </p:cNvPr>
          <p:cNvSpPr>
            <a:spLocks/>
          </p:cNvSpPr>
          <p:nvPr/>
        </p:nvSpPr>
        <p:spPr bwMode="auto">
          <a:xfrm>
            <a:off x="8747312" y="6394994"/>
            <a:ext cx="111855" cy="111855"/>
          </a:xfrm>
          <a:custGeom>
            <a:avLst/>
            <a:gdLst>
              <a:gd name="T0" fmla="*/ 105791 w 193899"/>
              <a:gd name="T1" fmla="*/ 0 h 192655"/>
              <a:gd name="T2" fmla="*/ 59480 w 193899"/>
              <a:gd name="T3" fmla="*/ 7870 h 192655"/>
              <a:gd name="T4" fmla="*/ 25255 w 193899"/>
              <a:gd name="T5" fmla="*/ 30136 h 192655"/>
              <a:gd name="T6" fmla="*/ 4931 w 193899"/>
              <a:gd name="T7" fmla="*/ 64116 h 192655"/>
              <a:gd name="T8" fmla="*/ 0 w 193899"/>
              <a:gd name="T9" fmla="*/ 91954 h 192655"/>
              <a:gd name="T10" fmla="*/ 901 w 193899"/>
              <a:gd name="T11" fmla="*/ 107653 h 192655"/>
              <a:gd name="T12" fmla="*/ 14163 w 193899"/>
              <a:gd name="T13" fmla="*/ 147572 h 192655"/>
              <a:gd name="T14" fmla="*/ 41702 w 193899"/>
              <a:gd name="T15" fmla="*/ 175703 h 192655"/>
              <a:gd name="T16" fmla="*/ 81516 w 193899"/>
              <a:gd name="T17" fmla="*/ 190728 h 192655"/>
              <a:gd name="T18" fmla="*/ 107485 w 193899"/>
              <a:gd name="T19" fmla="*/ 192655 h 192655"/>
              <a:gd name="T20" fmla="*/ 118689 w 193899"/>
              <a:gd name="T21" fmla="*/ 192350 h 192655"/>
              <a:gd name="T22" fmla="*/ 169214 w 193899"/>
              <a:gd name="T23" fmla="*/ 180915 h 192655"/>
              <a:gd name="T24" fmla="*/ 185591 w 193899"/>
              <a:gd name="T25" fmla="*/ 157805 h 192655"/>
              <a:gd name="T26" fmla="*/ 131330 w 193899"/>
              <a:gd name="T27" fmla="*/ 157805 h 192655"/>
              <a:gd name="T28" fmla="*/ 112833 w 193899"/>
              <a:gd name="T29" fmla="*/ 156784 h 192655"/>
              <a:gd name="T30" fmla="*/ 74396 w 193899"/>
              <a:gd name="T31" fmla="*/ 140117 h 192655"/>
              <a:gd name="T32" fmla="*/ 60397 w 193899"/>
              <a:gd name="T33" fmla="*/ 105806 h 192655"/>
              <a:gd name="T34" fmla="*/ 193899 w 193899"/>
              <a:gd name="T35" fmla="*/ 105806 h 192655"/>
              <a:gd name="T36" fmla="*/ 193588 w 193899"/>
              <a:gd name="T37" fmla="*/ 88898 h 192655"/>
              <a:gd name="T38" fmla="*/ 191559 w 193899"/>
              <a:gd name="T39" fmla="*/ 75149 h 192655"/>
              <a:gd name="T40" fmla="*/ 61603 w 193899"/>
              <a:gd name="T41" fmla="*/ 75149 h 192655"/>
              <a:gd name="T42" fmla="*/ 65003 w 193899"/>
              <a:gd name="T43" fmla="*/ 59641 h 192655"/>
              <a:gd name="T44" fmla="*/ 71797 w 193899"/>
              <a:gd name="T45" fmla="*/ 47600 h 192655"/>
              <a:gd name="T46" fmla="*/ 81695 w 193899"/>
              <a:gd name="T47" fmla="*/ 39292 h 192655"/>
              <a:gd name="T48" fmla="*/ 94403 w 193899"/>
              <a:gd name="T49" fmla="*/ 34981 h 192655"/>
              <a:gd name="T50" fmla="*/ 101926 w 193899"/>
              <a:gd name="T51" fmla="*/ 34407 h 192655"/>
              <a:gd name="T52" fmla="*/ 173308 w 193899"/>
              <a:gd name="T53" fmla="*/ 34407 h 192655"/>
              <a:gd name="T54" fmla="*/ 165226 w 193899"/>
              <a:gd name="T55" fmla="*/ 25366 h 192655"/>
              <a:gd name="T56" fmla="*/ 155231 w 193899"/>
              <a:gd name="T57" fmla="*/ 17102 h 192655"/>
              <a:gd name="T58" fmla="*/ 144141 w 193899"/>
              <a:gd name="T59" fmla="*/ 10399 h 192655"/>
              <a:gd name="T60" fmla="*/ 132106 w 193899"/>
              <a:gd name="T61" fmla="*/ 5291 h 192655"/>
              <a:gd name="T62" fmla="*/ 119273 w 193899"/>
              <a:gd name="T63" fmla="*/ 1813 h 192655"/>
              <a:gd name="T64" fmla="*/ 105791 w 193899"/>
              <a:gd name="T65" fmla="*/ 0 h 192655"/>
              <a:gd name="T66" fmla="*/ 190674 w 193899"/>
              <a:gd name="T67" fmla="*/ 131613 h 192655"/>
              <a:gd name="T68" fmla="*/ 153671 w 193899"/>
              <a:gd name="T69" fmla="*/ 152711 h 192655"/>
              <a:gd name="T70" fmla="*/ 131330 w 193899"/>
              <a:gd name="T71" fmla="*/ 157805 h 192655"/>
              <a:gd name="T72" fmla="*/ 185591 w 193899"/>
              <a:gd name="T73" fmla="*/ 157805 h 192655"/>
              <a:gd name="T74" fmla="*/ 190674 w 193899"/>
              <a:gd name="T75" fmla="*/ 131613 h 192655"/>
              <a:gd name="T76" fmla="*/ 173308 w 193899"/>
              <a:gd name="T77" fmla="*/ 34407 h 192655"/>
              <a:gd name="T78" fmla="*/ 101926 w 193899"/>
              <a:gd name="T79" fmla="*/ 34407 h 192655"/>
              <a:gd name="T80" fmla="*/ 115810 w 193899"/>
              <a:gd name="T81" fmla="*/ 36607 h 192655"/>
              <a:gd name="T82" fmla="*/ 127186 w 193899"/>
              <a:gd name="T83" fmla="*/ 42978 h 192655"/>
              <a:gd name="T84" fmla="*/ 135687 w 193899"/>
              <a:gd name="T85" fmla="*/ 53177 h 192655"/>
              <a:gd name="T86" fmla="*/ 140942 w 193899"/>
              <a:gd name="T87" fmla="*/ 66864 h 192655"/>
              <a:gd name="T88" fmla="*/ 61603 w 193899"/>
              <a:gd name="T89" fmla="*/ 75149 h 192655"/>
              <a:gd name="T90" fmla="*/ 191559 w 193899"/>
              <a:gd name="T91" fmla="*/ 75149 h 192655"/>
              <a:gd name="T92" fmla="*/ 191292 w 193899"/>
              <a:gd name="T93" fmla="*/ 73345 h 192655"/>
              <a:gd name="T94" fmla="*/ 187160 w 193899"/>
              <a:gd name="T95" fmla="*/ 59180 h 192655"/>
              <a:gd name="T96" fmla="*/ 181339 w 193899"/>
              <a:gd name="T97" fmla="*/ 46439 h 192655"/>
              <a:gd name="T98" fmla="*/ 173978 w 193899"/>
              <a:gd name="T99" fmla="*/ 35157 h 192655"/>
              <a:gd name="T100" fmla="*/ 173308 w 193899"/>
              <a:gd name="T101" fmla="*/ 34407 h 192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95" name="object 24">
            <a:extLst>
              <a:ext uri="{FF2B5EF4-FFF2-40B4-BE49-F238E27FC236}">
                <a16:creationId xmlns:a16="http://schemas.microsoft.com/office/drawing/2014/main" id="{48DF32E0-FA42-40D8-927B-4FE4A044CA4D}"/>
              </a:ext>
            </a:extLst>
          </p:cNvPr>
          <p:cNvSpPr>
            <a:spLocks/>
          </p:cNvSpPr>
          <p:nvPr/>
        </p:nvSpPr>
        <p:spPr bwMode="auto">
          <a:xfrm>
            <a:off x="8876587" y="6394994"/>
            <a:ext cx="108188" cy="109104"/>
          </a:xfrm>
          <a:custGeom>
            <a:avLst/>
            <a:gdLst>
              <a:gd name="T0" fmla="*/ 58496 w 186753"/>
              <a:gd name="T1" fmla="*/ 3531 h 189472"/>
              <a:gd name="T2" fmla="*/ 0 w 186753"/>
              <a:gd name="T3" fmla="*/ 3531 h 189472"/>
              <a:gd name="T4" fmla="*/ 0 w 186753"/>
              <a:gd name="T5" fmla="*/ 189472 h 189472"/>
              <a:gd name="T6" fmla="*/ 58496 w 186753"/>
              <a:gd name="T7" fmla="*/ 189472 h 189472"/>
              <a:gd name="T8" fmla="*/ 64716 w 186753"/>
              <a:gd name="T9" fmla="*/ 60917 h 189472"/>
              <a:gd name="T10" fmla="*/ 73902 w 186753"/>
              <a:gd name="T11" fmla="*/ 50710 h 189472"/>
              <a:gd name="T12" fmla="*/ 83535 w 186753"/>
              <a:gd name="T13" fmla="*/ 44118 h 189472"/>
              <a:gd name="T14" fmla="*/ 94633 w 186753"/>
              <a:gd name="T15" fmla="*/ 40761 h 189472"/>
              <a:gd name="T16" fmla="*/ 108215 w 186753"/>
              <a:gd name="T17" fmla="*/ 40256 h 189472"/>
              <a:gd name="T18" fmla="*/ 181204 w 186753"/>
              <a:gd name="T19" fmla="*/ 40256 h 189472"/>
              <a:gd name="T20" fmla="*/ 180209 w 186753"/>
              <a:gd name="T21" fmla="*/ 37064 h 189472"/>
              <a:gd name="T22" fmla="*/ 176069 w 186753"/>
              <a:gd name="T23" fmla="*/ 30150 h 189472"/>
              <a:gd name="T24" fmla="*/ 58496 w 186753"/>
              <a:gd name="T25" fmla="*/ 30150 h 189472"/>
              <a:gd name="T26" fmla="*/ 58496 w 186753"/>
              <a:gd name="T27" fmla="*/ 3531 h 189472"/>
              <a:gd name="T28" fmla="*/ 181204 w 186753"/>
              <a:gd name="T29" fmla="*/ 40256 h 189472"/>
              <a:gd name="T30" fmla="*/ 108215 w 186753"/>
              <a:gd name="T31" fmla="*/ 40256 h 189472"/>
              <a:gd name="T32" fmla="*/ 118687 w 186753"/>
              <a:gd name="T33" fmla="*/ 46405 h 189472"/>
              <a:gd name="T34" fmla="*/ 125699 w 186753"/>
              <a:gd name="T35" fmla="*/ 58192 h 189472"/>
              <a:gd name="T36" fmla="*/ 128257 w 186753"/>
              <a:gd name="T37" fmla="*/ 76137 h 189472"/>
              <a:gd name="T38" fmla="*/ 128257 w 186753"/>
              <a:gd name="T39" fmla="*/ 189472 h 189472"/>
              <a:gd name="T40" fmla="*/ 186753 w 186753"/>
              <a:gd name="T41" fmla="*/ 189472 h 189472"/>
              <a:gd name="T42" fmla="*/ 185042 w 186753"/>
              <a:gd name="T43" fmla="*/ 52574 h 189472"/>
              <a:gd name="T44" fmla="*/ 181204 w 186753"/>
              <a:gd name="T45" fmla="*/ 40256 h 189472"/>
              <a:gd name="T46" fmla="*/ 114684 w 186753"/>
              <a:gd name="T47" fmla="*/ 0 h 189472"/>
              <a:gd name="T48" fmla="*/ 68938 w 186753"/>
              <a:gd name="T49" fmla="*/ 19409 h 189472"/>
              <a:gd name="T50" fmla="*/ 58496 w 186753"/>
              <a:gd name="T51" fmla="*/ 30150 h 189472"/>
              <a:gd name="T52" fmla="*/ 176069 w 186753"/>
              <a:gd name="T53" fmla="*/ 30150 h 189472"/>
              <a:gd name="T54" fmla="*/ 140028 w 186753"/>
              <a:gd name="T55" fmla="*/ 3388 h 189472"/>
              <a:gd name="T56" fmla="*/ 114684 w 186753"/>
              <a:gd name="T57" fmla="*/ 0 h 189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696" name="object 25">
            <a:extLst>
              <a:ext uri="{FF2B5EF4-FFF2-40B4-BE49-F238E27FC236}">
                <a16:creationId xmlns:a16="http://schemas.microsoft.com/office/drawing/2014/main" id="{22044725-4C3C-46CE-A216-4A150DECED3C}"/>
              </a:ext>
            </a:extLst>
          </p:cNvPr>
          <p:cNvSpPr>
            <a:spLocks/>
          </p:cNvSpPr>
          <p:nvPr/>
        </p:nvSpPr>
        <p:spPr bwMode="auto">
          <a:xfrm>
            <a:off x="6621149" y="6108938"/>
            <a:ext cx="456589" cy="477676"/>
          </a:xfrm>
          <a:custGeom>
            <a:avLst/>
            <a:gdLst>
              <a:gd name="T0" fmla="*/ 66585 w 790525"/>
              <a:gd name="T1" fmla="*/ 162560 h 826770"/>
              <a:gd name="T2" fmla="*/ 78798 w 790525"/>
              <a:gd name="T3" fmla="*/ 207010 h 826770"/>
              <a:gd name="T4" fmla="*/ 31279 w 790525"/>
              <a:gd name="T5" fmla="*/ 292100 h 826770"/>
              <a:gd name="T6" fmla="*/ 426 w 790525"/>
              <a:gd name="T7" fmla="*/ 466090 h 826770"/>
              <a:gd name="T8" fmla="*/ 43637 w 790525"/>
              <a:gd name="T9" fmla="*/ 624840 h 826770"/>
              <a:gd name="T10" fmla="*/ 81010 w 790525"/>
              <a:gd name="T11" fmla="*/ 681990 h 826770"/>
              <a:gd name="T12" fmla="*/ 157224 w 790525"/>
              <a:gd name="T13" fmla="*/ 754380 h 826770"/>
              <a:gd name="T14" fmla="*/ 207199 w 790525"/>
              <a:gd name="T15" fmla="*/ 783590 h 826770"/>
              <a:gd name="T16" fmla="*/ 315749 w 790525"/>
              <a:gd name="T17" fmla="*/ 821690 h 826770"/>
              <a:gd name="T18" fmla="*/ 514267 w 790525"/>
              <a:gd name="T19" fmla="*/ 819150 h 826770"/>
              <a:gd name="T20" fmla="*/ 609328 w 790525"/>
              <a:gd name="T21" fmla="*/ 786130 h 826770"/>
              <a:gd name="T22" fmla="*/ 616272 w 790525"/>
              <a:gd name="T23" fmla="*/ 744220 h 826770"/>
              <a:gd name="T24" fmla="*/ 201626 w 790525"/>
              <a:gd name="T25" fmla="*/ 715010 h 826770"/>
              <a:gd name="T26" fmla="*/ 134155 w 790525"/>
              <a:gd name="T27" fmla="*/ 654050 h 826770"/>
              <a:gd name="T28" fmla="*/ 66491 w 790525"/>
              <a:gd name="T29" fmla="*/ 543560 h 826770"/>
              <a:gd name="T30" fmla="*/ 42317 w 790525"/>
              <a:gd name="T31" fmla="*/ 401320 h 826770"/>
              <a:gd name="T32" fmla="*/ 83745 w 790525"/>
              <a:gd name="T33" fmla="*/ 247650 h 826770"/>
              <a:gd name="T34" fmla="*/ 191896 w 790525"/>
              <a:gd name="T35" fmla="*/ 212090 h 826770"/>
              <a:gd name="T36" fmla="*/ 154483 w 790525"/>
              <a:gd name="T37" fmla="*/ 173990 h 826770"/>
              <a:gd name="T38" fmla="*/ 119420 w 790525"/>
              <a:gd name="T39" fmla="*/ 148590 h 826770"/>
              <a:gd name="T40" fmla="*/ 119256 w 790525"/>
              <a:gd name="T41" fmla="*/ 255270 h 826770"/>
              <a:gd name="T42" fmla="*/ 183966 w 790525"/>
              <a:gd name="T43" fmla="*/ 330200 h 826770"/>
              <a:gd name="T44" fmla="*/ 225190 w 790525"/>
              <a:gd name="T45" fmla="*/ 381000 h 826770"/>
              <a:gd name="T46" fmla="*/ 254311 w 790525"/>
              <a:gd name="T47" fmla="*/ 425450 h 826770"/>
              <a:gd name="T48" fmla="*/ 253814 w 790525"/>
              <a:gd name="T49" fmla="*/ 482600 h 826770"/>
              <a:gd name="T50" fmla="*/ 237140 w 790525"/>
              <a:gd name="T51" fmla="*/ 554990 h 826770"/>
              <a:gd name="T52" fmla="*/ 222794 w 790525"/>
              <a:gd name="T53" fmla="*/ 718820 h 826770"/>
              <a:gd name="T54" fmla="*/ 592655 w 790525"/>
              <a:gd name="T55" fmla="*/ 669290 h 826770"/>
              <a:gd name="T56" fmla="*/ 577540 w 790525"/>
              <a:gd name="T57" fmla="*/ 482600 h 826770"/>
              <a:gd name="T58" fmla="*/ 626380 w 790525"/>
              <a:gd name="T59" fmla="*/ 356870 h 826770"/>
              <a:gd name="T60" fmla="*/ 405812 w 790525"/>
              <a:gd name="T61" fmla="*/ 321310 h 826770"/>
              <a:gd name="T62" fmla="*/ 286561 w 790525"/>
              <a:gd name="T63" fmla="*/ 284480 h 826770"/>
              <a:gd name="T64" fmla="*/ 210527 w 790525"/>
              <a:gd name="T65" fmla="*/ 228600 h 826770"/>
              <a:gd name="T66" fmla="*/ 728545 w 790525"/>
              <a:gd name="T67" fmla="*/ 339090 h 826770"/>
              <a:gd name="T68" fmla="*/ 738699 w 790525"/>
              <a:gd name="T69" fmla="*/ 504190 h 826770"/>
              <a:gd name="T70" fmla="*/ 662084 w 790525"/>
              <a:gd name="T71" fmla="*/ 665480 h 826770"/>
              <a:gd name="T72" fmla="*/ 666275 w 790525"/>
              <a:gd name="T73" fmla="*/ 684530 h 826770"/>
              <a:gd name="T74" fmla="*/ 710323 w 790525"/>
              <a:gd name="T75" fmla="*/ 645160 h 826770"/>
              <a:gd name="T76" fmla="*/ 785728 w 790525"/>
              <a:gd name="T77" fmla="*/ 415290 h 826770"/>
              <a:gd name="T78" fmla="*/ 759233 w 790525"/>
              <a:gd name="T79" fmla="*/ 269240 h 826770"/>
              <a:gd name="T80" fmla="*/ 583941 w 790525"/>
              <a:gd name="T81" fmla="*/ 142240 h 826770"/>
              <a:gd name="T82" fmla="*/ 578252 w 790525"/>
              <a:gd name="T83" fmla="*/ 264160 h 826770"/>
              <a:gd name="T84" fmla="*/ 653076 w 790525"/>
              <a:gd name="T85" fmla="*/ 321310 h 826770"/>
              <a:gd name="T86" fmla="*/ 759233 w 790525"/>
              <a:gd name="T87" fmla="*/ 269240 h 826770"/>
              <a:gd name="T88" fmla="*/ 789985 w 790525"/>
              <a:gd name="T89" fmla="*/ 166370 h 826770"/>
              <a:gd name="T90" fmla="*/ 660777 w 790525"/>
              <a:gd name="T91" fmla="*/ 128270 h 826770"/>
              <a:gd name="T92" fmla="*/ 300642 w 790525"/>
              <a:gd name="T93" fmla="*/ 85090 h 826770"/>
              <a:gd name="T94" fmla="*/ 291916 w 790525"/>
              <a:gd name="T95" fmla="*/ 138430 h 826770"/>
              <a:gd name="T96" fmla="*/ 385181 w 790525"/>
              <a:gd name="T97" fmla="*/ 283210 h 826770"/>
              <a:gd name="T98" fmla="*/ 523231 w 790525"/>
              <a:gd name="T99" fmla="*/ 205740 h 826770"/>
              <a:gd name="T100" fmla="*/ 630062 w 790525"/>
              <a:gd name="T101" fmla="*/ 104140 h 826770"/>
              <a:gd name="T102" fmla="*/ 718209 w 790525"/>
              <a:gd name="T103" fmla="*/ 146050 h 826770"/>
              <a:gd name="T104" fmla="*/ 776367 w 790525"/>
              <a:gd name="T105" fmla="*/ 143510 h 826770"/>
              <a:gd name="T106" fmla="*/ 401475 w 790525"/>
              <a:gd name="T107" fmla="*/ 0 h 826770"/>
              <a:gd name="T108" fmla="*/ 238833 w 790525"/>
              <a:gd name="T109" fmla="*/ 73660 h 826770"/>
              <a:gd name="T110" fmla="*/ 152920 w 790525"/>
              <a:gd name="T111" fmla="*/ 129540 h 826770"/>
              <a:gd name="T112" fmla="*/ 176990 w 790525"/>
              <a:gd name="T113" fmla="*/ 142240 h 826770"/>
              <a:gd name="T114" fmla="*/ 231913 w 790525"/>
              <a:gd name="T115" fmla="*/ 109220 h 826770"/>
              <a:gd name="T116" fmla="*/ 575018 w 790525"/>
              <a:gd name="T117" fmla="*/ 72390 h 826770"/>
              <a:gd name="T118" fmla="*/ 503374 w 790525"/>
              <a:gd name="T119" fmla="*/ 46990 h 826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4" name="object 34">
            <a:extLst>
              <a:ext uri="{FF2B5EF4-FFF2-40B4-BE49-F238E27FC236}">
                <a16:creationId xmlns:a16="http://schemas.microsoft.com/office/drawing/2014/main" id="{38BA49CF-77EE-430A-8F75-D90B20ABBF2D}"/>
              </a:ext>
            </a:extLst>
          </p:cNvPr>
          <p:cNvSpPr txBox="1"/>
          <p:nvPr/>
        </p:nvSpPr>
        <p:spPr>
          <a:xfrm>
            <a:off x="8228218" y="4842435"/>
            <a:ext cx="69313" cy="747045"/>
          </a:xfrm>
          <a:prstGeom prst="rect">
            <a:avLst/>
          </a:prstGeom>
        </p:spPr>
        <p:txBody>
          <a:bodyPr vert="vert270" lIns="0" tIns="0" rIns="0" bIns="0"/>
          <a:lstStyle/>
          <a:p>
            <a:pPr marL="7334">
              <a:defRPr/>
            </a:pPr>
            <a:r>
              <a:rPr sz="404" dirty="0">
                <a:solidFill>
                  <a:srgbClr val="FFFFFF"/>
                </a:solidFill>
                <a:latin typeface="Gill Sans"/>
                <a:cs typeface="Gill Sans"/>
              </a:rPr>
              <a:t>Genna Naccache/S</a:t>
            </a:r>
            <a:r>
              <a:rPr sz="404" spc="-14" dirty="0">
                <a:solidFill>
                  <a:srgbClr val="FFFFFF"/>
                </a:solidFill>
                <a:latin typeface="Gill Sans"/>
                <a:cs typeface="Gill Sans"/>
              </a:rPr>
              <a:t>a</a:t>
            </a:r>
            <a:r>
              <a:rPr sz="404" spc="-9" dirty="0">
                <a:solidFill>
                  <a:srgbClr val="FFFFFF"/>
                </a:solidFill>
                <a:latin typeface="Gill Sans"/>
                <a:cs typeface="Gill Sans"/>
              </a:rPr>
              <a:t>v</a:t>
            </a:r>
            <a:r>
              <a:rPr sz="404" dirty="0">
                <a:solidFill>
                  <a:srgbClr val="FFFFFF"/>
                </a:solidFill>
                <a:latin typeface="Gill Sans"/>
                <a:cs typeface="Gill Sans"/>
              </a:rPr>
              <a:t>e the Child</a:t>
            </a:r>
            <a:r>
              <a:rPr sz="404" spc="-9" dirty="0">
                <a:solidFill>
                  <a:srgbClr val="FFFFFF"/>
                </a:solidFill>
                <a:latin typeface="Gill Sans"/>
                <a:cs typeface="Gill Sans"/>
              </a:rPr>
              <a:t>r</a:t>
            </a:r>
            <a:r>
              <a:rPr sz="404" dirty="0">
                <a:solidFill>
                  <a:srgbClr val="FFFFFF"/>
                </a:solidFill>
                <a:latin typeface="Gill Sans"/>
                <a:cs typeface="Gill Sans"/>
              </a:rPr>
              <a:t>en</a:t>
            </a:r>
            <a:endParaRPr sz="404">
              <a:latin typeface="Gill Sans"/>
              <a:cs typeface="Gill Sans"/>
            </a:endParaRPr>
          </a:p>
        </p:txBody>
      </p:sp>
      <p:sp>
        <p:nvSpPr>
          <p:cNvPr id="35" name="object 35">
            <a:extLst>
              <a:ext uri="{FF2B5EF4-FFF2-40B4-BE49-F238E27FC236}">
                <a16:creationId xmlns:a16="http://schemas.microsoft.com/office/drawing/2014/main" id="{83DF2035-C46E-405F-98CA-5912868A44B7}"/>
              </a:ext>
            </a:extLst>
          </p:cNvPr>
          <p:cNvSpPr>
            <a:spLocks noGrp="1"/>
          </p:cNvSpPr>
          <p:nvPr>
            <p:ph type="ftr" sz="quarter" idx="11"/>
          </p:nvPr>
        </p:nvSpPr>
        <p:spPr/>
        <p:txBody>
          <a:bodyPr vert="horz" lIns="0" tIns="0" rIns="0" bIns="0" rtlCol="0" anchor="ctr">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grpSp>
        <p:nvGrpSpPr>
          <p:cNvPr id="36" name="Group 35">
            <a:extLst>
              <a:ext uri="{FF2B5EF4-FFF2-40B4-BE49-F238E27FC236}">
                <a16:creationId xmlns:a16="http://schemas.microsoft.com/office/drawing/2014/main" id="{F4851AF4-4C3C-4830-B0AB-3D74B5A38823}"/>
              </a:ext>
            </a:extLst>
          </p:cNvPr>
          <p:cNvGrpSpPr/>
          <p:nvPr/>
        </p:nvGrpSpPr>
        <p:grpSpPr>
          <a:xfrm>
            <a:off x="431147" y="2514592"/>
            <a:ext cx="2463800" cy="2050212"/>
            <a:chOff x="838200" y="2514600"/>
            <a:chExt cx="2463800" cy="2050212"/>
          </a:xfrm>
        </p:grpSpPr>
        <p:sp>
          <p:nvSpPr>
            <p:cNvPr id="37" name="object 24">
              <a:extLst>
                <a:ext uri="{FF2B5EF4-FFF2-40B4-BE49-F238E27FC236}">
                  <a16:creationId xmlns:a16="http://schemas.microsoft.com/office/drawing/2014/main" id="{2C8C1D77-1292-4CF6-84D0-CC9E438B5367}"/>
                </a:ext>
              </a:extLst>
            </p:cNvPr>
            <p:cNvSpPr>
              <a:spLocks/>
            </p:cNvSpPr>
            <p:nvPr/>
          </p:nvSpPr>
          <p:spPr bwMode="auto">
            <a:xfrm>
              <a:off x="838200" y="2514600"/>
              <a:ext cx="2463800" cy="2050212"/>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400"/>
            </a:p>
          </p:txBody>
        </p:sp>
        <p:sp>
          <p:nvSpPr>
            <p:cNvPr id="38" name="TextBox 37">
              <a:extLst>
                <a:ext uri="{FF2B5EF4-FFF2-40B4-BE49-F238E27FC236}">
                  <a16:creationId xmlns:a16="http://schemas.microsoft.com/office/drawing/2014/main" id="{083D5404-E5C7-4B8C-B1BB-D331C053AD2E}"/>
                </a:ext>
              </a:extLst>
            </p:cNvPr>
            <p:cNvSpPr txBox="1"/>
            <p:nvPr/>
          </p:nvSpPr>
          <p:spPr>
            <a:xfrm>
              <a:off x="1129066" y="3055211"/>
              <a:ext cx="1868787" cy="677108"/>
            </a:xfrm>
            <a:prstGeom prst="rect">
              <a:avLst/>
            </a:prstGeom>
            <a:noFill/>
          </p:spPr>
          <p:txBody>
            <a:bodyPr wrap="square" lIns="0" tIns="0" rIns="0" bIns="0" rtlCol="0">
              <a:spAutoFit/>
            </a:bodyPr>
            <a:lstStyle/>
            <a:p>
              <a:r>
                <a:rPr lang="en-US" sz="4400" dirty="0" err="1">
                  <a:solidFill>
                    <a:schemeClr val="bg1"/>
                  </a:solidFill>
                  <a:latin typeface="Gill Sans Infant Std"/>
                  <a:cs typeface="Gill Sans Infant Std"/>
                </a:rPr>
                <a:t>ဘယ်သူ</a:t>
              </a:r>
              <a:endParaRPr lang="en-US" sz="4400" dirty="0">
                <a:solidFill>
                  <a:schemeClr val="bg1"/>
                </a:solidFill>
                <a:latin typeface="Gill Sans Infant Std"/>
                <a:cs typeface="Gill Sans Infant Std"/>
              </a:endParaRPr>
            </a:p>
          </p:txBody>
        </p:sp>
      </p:grpSp>
      <p:sp>
        <p:nvSpPr>
          <p:cNvPr id="39" name="object 27">
            <a:extLst>
              <a:ext uri="{FF2B5EF4-FFF2-40B4-BE49-F238E27FC236}">
                <a16:creationId xmlns:a16="http://schemas.microsoft.com/office/drawing/2014/main" id="{4AD50054-C5A6-4455-B0D6-9DD69C0A6FB3}"/>
              </a:ext>
            </a:extLst>
          </p:cNvPr>
          <p:cNvSpPr>
            <a:spLocks/>
          </p:cNvSpPr>
          <p:nvPr/>
        </p:nvSpPr>
        <p:spPr bwMode="auto">
          <a:xfrm>
            <a:off x="3898505" y="1901538"/>
            <a:ext cx="4701344" cy="609702"/>
          </a:xfrm>
          <a:custGeom>
            <a:avLst/>
            <a:gdLst>
              <a:gd name="T0" fmla="*/ 0 w 8135391"/>
              <a:gd name="T1" fmla="*/ 1055896 h 1055636"/>
              <a:gd name="T2" fmla="*/ 8138121 w 8135391"/>
              <a:gd name="T3" fmla="*/ 1055896 h 1055636"/>
              <a:gd name="T4" fmla="*/ 8138121 w 8135391"/>
              <a:gd name="T5" fmla="*/ 0 h 1055636"/>
              <a:gd name="T6" fmla="*/ 0 w 8135391"/>
              <a:gd name="T7" fmla="*/ 0 h 1055636"/>
              <a:gd name="T8" fmla="*/ 0 w 8135391"/>
              <a:gd name="T9" fmla="*/ 1055896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35391" h="1055636">
                <a:moveTo>
                  <a:pt x="0" y="1055636"/>
                </a:moveTo>
                <a:lnTo>
                  <a:pt x="8135391" y="1055636"/>
                </a:lnTo>
                <a:lnTo>
                  <a:pt x="8135391"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en-US">
              <a:solidFill>
                <a:srgbClr val="000000"/>
              </a:solidFill>
            </a:endParaRPr>
          </a:p>
        </p:txBody>
      </p:sp>
      <p:sp>
        <p:nvSpPr>
          <p:cNvPr id="40" name="object 28">
            <a:extLst>
              <a:ext uri="{FF2B5EF4-FFF2-40B4-BE49-F238E27FC236}">
                <a16:creationId xmlns:a16="http://schemas.microsoft.com/office/drawing/2014/main" id="{959D2D76-362D-4A99-977A-87AEC615E6D2}"/>
              </a:ext>
            </a:extLst>
          </p:cNvPr>
          <p:cNvSpPr>
            <a:spLocks/>
          </p:cNvSpPr>
          <p:nvPr/>
        </p:nvSpPr>
        <p:spPr bwMode="auto">
          <a:xfrm>
            <a:off x="3898505" y="2831219"/>
            <a:ext cx="4701344" cy="1176312"/>
          </a:xfrm>
          <a:custGeom>
            <a:avLst/>
            <a:gdLst>
              <a:gd name="T0" fmla="*/ 0 w 8135391"/>
              <a:gd name="T1" fmla="*/ 2033622 h 2037549"/>
              <a:gd name="T2" fmla="*/ 8138121 w 8135391"/>
              <a:gd name="T3" fmla="*/ 2033622 h 2037549"/>
              <a:gd name="T4" fmla="*/ 8138121 w 8135391"/>
              <a:gd name="T5" fmla="*/ 0 h 2037549"/>
              <a:gd name="T6" fmla="*/ 0 w 8135391"/>
              <a:gd name="T7" fmla="*/ 0 h 2037549"/>
              <a:gd name="T8" fmla="*/ 0 w 8135391"/>
              <a:gd name="T9" fmla="*/ 2033622 h 203754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35391" h="2037549">
                <a:moveTo>
                  <a:pt x="0" y="2037549"/>
                </a:moveTo>
                <a:lnTo>
                  <a:pt x="8135391" y="2037549"/>
                </a:lnTo>
                <a:lnTo>
                  <a:pt x="8135391" y="0"/>
                </a:lnTo>
                <a:lnTo>
                  <a:pt x="0" y="0"/>
                </a:lnTo>
                <a:lnTo>
                  <a:pt x="0" y="20375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en-US">
              <a:solidFill>
                <a:srgbClr val="000000"/>
              </a:solidFill>
            </a:endParaRPr>
          </a:p>
        </p:txBody>
      </p:sp>
      <p:sp>
        <p:nvSpPr>
          <p:cNvPr id="41" name="object 29">
            <a:extLst>
              <a:ext uri="{FF2B5EF4-FFF2-40B4-BE49-F238E27FC236}">
                <a16:creationId xmlns:a16="http://schemas.microsoft.com/office/drawing/2014/main" id="{AC971AC5-063B-453C-96B8-6897093DE40B}"/>
              </a:ext>
            </a:extLst>
          </p:cNvPr>
          <p:cNvSpPr>
            <a:spLocks/>
          </p:cNvSpPr>
          <p:nvPr/>
        </p:nvSpPr>
        <p:spPr bwMode="auto">
          <a:xfrm>
            <a:off x="3898505" y="4290836"/>
            <a:ext cx="4701344" cy="871920"/>
          </a:xfrm>
          <a:custGeom>
            <a:avLst/>
            <a:gdLst>
              <a:gd name="T0" fmla="*/ 0 w 8135391"/>
              <a:gd name="T1" fmla="*/ 1505963 h 1510652"/>
              <a:gd name="T2" fmla="*/ 8138121 w 8135391"/>
              <a:gd name="T3" fmla="*/ 1505963 h 1510652"/>
              <a:gd name="T4" fmla="*/ 8138121 w 8135391"/>
              <a:gd name="T5" fmla="*/ 0 h 1510652"/>
              <a:gd name="T6" fmla="*/ 0 w 8135391"/>
              <a:gd name="T7" fmla="*/ 0 h 1510652"/>
              <a:gd name="T8" fmla="*/ 0 w 8135391"/>
              <a:gd name="T9" fmla="*/ 1505963 h 15106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135391" h="1510652">
                <a:moveTo>
                  <a:pt x="0" y="1510652"/>
                </a:moveTo>
                <a:lnTo>
                  <a:pt x="8135391" y="1510652"/>
                </a:lnTo>
                <a:lnTo>
                  <a:pt x="8135391" y="0"/>
                </a:lnTo>
                <a:lnTo>
                  <a:pt x="0" y="0"/>
                </a:lnTo>
                <a:lnTo>
                  <a:pt x="0" y="1510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en-US">
              <a:solidFill>
                <a:srgbClr val="000000"/>
              </a:solidFill>
            </a:endParaRPr>
          </a:p>
        </p:txBody>
      </p:sp>
      <p:sp>
        <p:nvSpPr>
          <p:cNvPr id="42" name="object 30">
            <a:extLst>
              <a:ext uri="{FF2B5EF4-FFF2-40B4-BE49-F238E27FC236}">
                <a16:creationId xmlns:a16="http://schemas.microsoft.com/office/drawing/2014/main" id="{A68D252C-E674-4243-990C-10BDBFFA4938}"/>
              </a:ext>
            </a:extLst>
          </p:cNvPr>
          <p:cNvSpPr txBox="1">
            <a:spLocks noChangeArrowheads="1"/>
          </p:cNvSpPr>
          <p:nvPr/>
        </p:nvSpPr>
        <p:spPr bwMode="auto">
          <a:xfrm>
            <a:off x="4079219" y="1995056"/>
            <a:ext cx="4955079" cy="3035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pPr fontAlgn="base">
              <a:spcBef>
                <a:spcPct val="0"/>
              </a:spcBef>
              <a:spcAft>
                <a:spcPct val="0"/>
              </a:spcAft>
            </a:pPr>
            <a:r>
              <a:rPr lang="en-US" altLang="en-US" sz="2100" dirty="0">
                <a:solidFill>
                  <a:srgbClr val="231F20"/>
                </a:solidFill>
                <a:latin typeface="Zawgyi-One" pitchFamily="34" charset="0"/>
                <a:ea typeface="Gill Sans Light"/>
                <a:cs typeface="Zawgyi-One" pitchFamily="34" charset="0"/>
              </a:rPr>
              <a:t>Save the Children’s protection </a:t>
            </a:r>
            <a:r>
              <a:rPr lang="en-US" altLang="en-US" sz="2100" dirty="0" err="1">
                <a:solidFill>
                  <a:srgbClr val="231F20"/>
                </a:solidFill>
                <a:latin typeface="Zawgyi-One" pitchFamily="34" charset="0"/>
                <a:ea typeface="Gill Sans Light"/>
                <a:cs typeface="Zawgyi-One" pitchFamily="34" charset="0"/>
              </a:rPr>
              <a:t>ဝန္ထမ္း</a:t>
            </a:r>
            <a:endParaRPr lang="en-US" altLang="en-US" sz="2100" dirty="0">
              <a:solidFill>
                <a:srgbClr val="000000"/>
              </a:solidFill>
              <a:latin typeface="Zawgyi-One" pitchFamily="34" charset="0"/>
              <a:ea typeface="Gill Sans Light"/>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751"/>
              </a:lnSpc>
              <a:spcBef>
                <a:spcPts val="58"/>
              </a:spcBef>
              <a:spcAft>
                <a:spcPct val="0"/>
              </a:spcAft>
            </a:pPr>
            <a:endParaRPr lang="en-US" altLang="en-US" sz="800" dirty="0">
              <a:solidFill>
                <a:srgbClr val="000000"/>
              </a:solidFill>
              <a:latin typeface="Zawgyi-One" pitchFamily="34" charset="0"/>
              <a:cs typeface="Zawgyi-One" pitchFamily="34" charset="0"/>
            </a:endParaRPr>
          </a:p>
          <a:p>
            <a:pPr fontAlgn="base">
              <a:spcBef>
                <a:spcPct val="0"/>
              </a:spcBef>
              <a:spcAft>
                <a:spcPct val="0"/>
              </a:spcAft>
            </a:pPr>
            <a:r>
              <a:rPr lang="en-US" altLang="en-US" sz="2100" dirty="0">
                <a:solidFill>
                  <a:srgbClr val="231F20"/>
                </a:solidFill>
                <a:latin typeface="Zawgyi-One" pitchFamily="34" charset="0"/>
                <a:ea typeface="Gill Sans Light"/>
                <a:cs typeface="Zawgyi-One" pitchFamily="34" charset="0"/>
              </a:rPr>
              <a:t>Save the Children </a:t>
            </a:r>
            <a:r>
              <a:rPr lang="en-US" altLang="en-US" sz="2100" dirty="0" err="1">
                <a:solidFill>
                  <a:srgbClr val="231F20"/>
                </a:solidFill>
                <a:latin typeface="Zawgyi-One" pitchFamily="34" charset="0"/>
                <a:ea typeface="Gill Sans Light"/>
                <a:cs typeface="Zawgyi-One" pitchFamily="34" charset="0"/>
              </a:rPr>
              <a:t>တြဲဖက္လုပ္ေနတဲ</a:t>
            </a:r>
            <a:r>
              <a:rPr lang="en-US" altLang="en-US" sz="2100" dirty="0">
                <a:solidFill>
                  <a:srgbClr val="231F20"/>
                </a:solidFill>
                <a:latin typeface="Zawgyi-One" pitchFamily="34" charset="0"/>
                <a:ea typeface="Gill Sans Light"/>
                <a:cs typeface="Zawgyi-One" pitchFamily="34" charset="0"/>
              </a:rPr>
              <a:t>့ </a:t>
            </a:r>
          </a:p>
          <a:p>
            <a:pPr fontAlgn="base">
              <a:spcBef>
                <a:spcPct val="0"/>
              </a:spcBef>
              <a:spcAft>
                <a:spcPct val="0"/>
              </a:spcAft>
            </a:pPr>
            <a:r>
              <a:rPr lang="en-US" altLang="en-US" sz="2100" dirty="0" err="1">
                <a:solidFill>
                  <a:srgbClr val="231F20"/>
                </a:solidFill>
                <a:latin typeface="Zawgyi-One" pitchFamily="34" charset="0"/>
                <a:cs typeface="Zawgyi-One" pitchFamily="34" charset="0"/>
              </a:rPr>
              <a:t>ဆရာ</a:t>
            </a:r>
            <a:r>
              <a:rPr lang="en-US" altLang="en-US" sz="2100" dirty="0">
                <a:solidFill>
                  <a:srgbClr val="231F20"/>
                </a:solidFill>
                <a:latin typeface="Zawgyi-One" pitchFamily="34" charset="0"/>
                <a:cs typeface="Zawgyi-One" pitchFamily="34" charset="0"/>
              </a:rPr>
              <a:t>/</a:t>
            </a:r>
            <a:r>
              <a:rPr lang="en-US" altLang="en-US" sz="2100" dirty="0" err="1">
                <a:solidFill>
                  <a:srgbClr val="231F20"/>
                </a:solidFill>
                <a:latin typeface="Zawgyi-One" pitchFamily="34" charset="0"/>
                <a:cs typeface="Zawgyi-One" pitchFamily="34" charset="0"/>
              </a:rPr>
              <a:t>မေတ</a:t>
            </a:r>
            <a:r>
              <a:rPr lang="en-US" altLang="en-US" sz="2100" dirty="0">
                <a:solidFill>
                  <a:srgbClr val="231F20"/>
                </a:solidFill>
                <a:latin typeface="Zawgyi-One" pitchFamily="34" charset="0"/>
                <a:cs typeface="Zawgyi-One" pitchFamily="34" charset="0"/>
              </a:rPr>
              <a:t>ြ၊ </a:t>
            </a:r>
            <a:r>
              <a:rPr lang="en-US" altLang="en-US" sz="2100" dirty="0" err="1">
                <a:solidFill>
                  <a:srgbClr val="231F20"/>
                </a:solidFill>
                <a:latin typeface="Zawgyi-One" pitchFamily="34" charset="0"/>
                <a:cs typeface="Zawgyi-One" pitchFamily="34" charset="0"/>
              </a:rPr>
              <a:t>က်န္းမာေရးဝန္ထမ္း</a:t>
            </a:r>
            <a:r>
              <a:rPr lang="en-US" altLang="en-US" sz="2100" dirty="0">
                <a:solidFill>
                  <a:srgbClr val="231F20"/>
                </a:solidFill>
                <a:latin typeface="Zawgyi-One" pitchFamily="34" charset="0"/>
                <a:cs typeface="Zawgyi-One" pitchFamily="34" charset="0"/>
              </a:rPr>
              <a:t>ႏွင့္</a:t>
            </a:r>
          </a:p>
          <a:p>
            <a:pPr fontAlgn="base">
              <a:spcBef>
                <a:spcPct val="0"/>
              </a:spcBef>
              <a:spcAft>
                <a:spcPct val="0"/>
              </a:spcAft>
            </a:pPr>
            <a:r>
              <a:rPr lang="en-US" altLang="en-US" sz="2100" dirty="0" err="1">
                <a:solidFill>
                  <a:srgbClr val="231F20"/>
                </a:solidFill>
                <a:latin typeface="Zawgyi-One" pitchFamily="34" charset="0"/>
                <a:cs typeface="Zawgyi-One" pitchFamily="34" charset="0"/>
              </a:rPr>
              <a:t>လူမႈဝန္းထမ္းမ်ား</a:t>
            </a: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lnSpc>
                <a:spcPts val="578"/>
              </a:lnSpc>
              <a:spcBef>
                <a:spcPct val="0"/>
              </a:spcBef>
              <a:spcAft>
                <a:spcPct val="0"/>
              </a:spcAft>
            </a:pPr>
            <a:endParaRPr lang="en-US" altLang="en-US" sz="600" dirty="0">
              <a:solidFill>
                <a:srgbClr val="000000"/>
              </a:solidFill>
              <a:latin typeface="Zawgyi-One" pitchFamily="34" charset="0"/>
              <a:cs typeface="Zawgyi-One" pitchFamily="34" charset="0"/>
            </a:endParaRPr>
          </a:p>
          <a:p>
            <a:pPr fontAlgn="base">
              <a:spcBef>
                <a:spcPct val="0"/>
              </a:spcBef>
              <a:spcAft>
                <a:spcPct val="0"/>
              </a:spcAft>
            </a:pPr>
            <a:r>
              <a:rPr lang="en-US" altLang="en-US" sz="2100" dirty="0" err="1">
                <a:solidFill>
                  <a:srgbClr val="231F20"/>
                </a:solidFill>
                <a:latin typeface="Zawgyi-One" pitchFamily="34" charset="0"/>
                <a:ea typeface="Gill Sans Light"/>
                <a:cs typeface="Zawgyi-One" pitchFamily="34" charset="0"/>
              </a:rPr>
              <a:t>အေရးေပၚအေျခအေနမ်ားမွာကေလးမ်ား</a:t>
            </a:r>
            <a:r>
              <a:rPr lang="en-US" altLang="en-US" sz="2100" dirty="0">
                <a:solidFill>
                  <a:srgbClr val="231F20"/>
                </a:solidFill>
                <a:latin typeface="Zawgyi-One" pitchFamily="34" charset="0"/>
                <a:ea typeface="Gill Sans Light"/>
                <a:cs typeface="Zawgyi-One" pitchFamily="34" charset="0"/>
              </a:rPr>
              <a:t> </a:t>
            </a:r>
          </a:p>
          <a:p>
            <a:pPr fontAlgn="base">
              <a:spcBef>
                <a:spcPct val="0"/>
              </a:spcBef>
              <a:spcAft>
                <a:spcPct val="0"/>
              </a:spcAft>
            </a:pPr>
            <a:r>
              <a:rPr lang="en-US" altLang="en-US" sz="2100" dirty="0" err="1">
                <a:solidFill>
                  <a:srgbClr val="231F20"/>
                </a:solidFill>
                <a:latin typeface="Zawgyi-One" pitchFamily="34" charset="0"/>
                <a:ea typeface="Gill Sans Light"/>
                <a:cs typeface="Zawgyi-One" pitchFamily="34" charset="0"/>
              </a:rPr>
              <a:t>အတြက</a:t>
            </a:r>
            <a:r>
              <a:rPr lang="en-US" altLang="en-US" sz="2100" dirty="0">
                <a:solidFill>
                  <a:srgbClr val="231F20"/>
                </a:solidFill>
                <a:latin typeface="Zawgyi-One" pitchFamily="34" charset="0"/>
                <a:ea typeface="Gill Sans Light"/>
                <a:cs typeface="Zawgyi-One" pitchFamily="34" charset="0"/>
              </a:rPr>
              <a:t>္ </a:t>
            </a:r>
            <a:r>
              <a:rPr lang="en-US" altLang="en-US" sz="2100" dirty="0" err="1">
                <a:solidFill>
                  <a:srgbClr val="231F20"/>
                </a:solidFill>
                <a:latin typeface="Zawgyi-One" pitchFamily="34" charset="0"/>
                <a:ea typeface="Gill Sans Light"/>
                <a:cs typeface="Zawgyi-One" pitchFamily="34" charset="0"/>
              </a:rPr>
              <a:t>ကူညီေပးေနသူအားလံုး</a:t>
            </a:r>
            <a:endParaRPr lang="en-US" altLang="en-US" sz="2100" dirty="0">
              <a:solidFill>
                <a:srgbClr val="000000"/>
              </a:solidFill>
              <a:latin typeface="Zawgyi-One" pitchFamily="34" charset="0"/>
              <a:ea typeface="Gill Sans Light"/>
              <a:cs typeface="Zawgyi-One" pitchFamily="34" charset="0"/>
            </a:endParaRPr>
          </a:p>
        </p:txBody>
      </p:sp>
      <p:sp>
        <p:nvSpPr>
          <p:cNvPr id="43" name="object 31">
            <a:extLst>
              <a:ext uri="{FF2B5EF4-FFF2-40B4-BE49-F238E27FC236}">
                <a16:creationId xmlns:a16="http://schemas.microsoft.com/office/drawing/2014/main" id="{862F577E-6709-40CB-8038-EFCBFA0E8664}"/>
              </a:ext>
            </a:extLst>
          </p:cNvPr>
          <p:cNvSpPr>
            <a:spLocks/>
          </p:cNvSpPr>
          <p:nvPr/>
        </p:nvSpPr>
        <p:spPr bwMode="auto">
          <a:xfrm>
            <a:off x="3232520" y="2076657"/>
            <a:ext cx="474262" cy="390576"/>
          </a:xfrm>
          <a:custGeom>
            <a:avLst/>
            <a:gdLst>
              <a:gd name="T0" fmla="*/ 409045 w 820679"/>
              <a:gd name="T1" fmla="*/ 7359 h 676895"/>
              <a:gd name="T2" fmla="*/ 99476 w 820679"/>
              <a:gd name="T3" fmla="*/ 195078 h 676895"/>
              <a:gd name="T4" fmla="*/ 16413 w 820679"/>
              <a:gd name="T5" fmla="*/ 198603 h 676895"/>
              <a:gd name="T6" fmla="*/ 0 w 820679"/>
              <a:gd name="T7" fmla="*/ 205923 h 676895"/>
              <a:gd name="T8" fmla="*/ 3989 w 820679"/>
              <a:gd name="T9" fmla="*/ 579601 h 676895"/>
              <a:gd name="T10" fmla="*/ 466978 w 820679"/>
              <a:gd name="T11" fmla="*/ 673801 h 676895"/>
              <a:gd name="T12" fmla="*/ 518238 w 820679"/>
              <a:gd name="T13" fmla="*/ 660567 h 676895"/>
              <a:gd name="T14" fmla="*/ 262032 w 820679"/>
              <a:gd name="T15" fmla="*/ 626734 h 676895"/>
              <a:gd name="T16" fmla="*/ 62630 w 820679"/>
              <a:gd name="T17" fmla="*/ 556913 h 676895"/>
              <a:gd name="T18" fmla="*/ 54655 w 820679"/>
              <a:gd name="T19" fmla="*/ 245669 h 676895"/>
              <a:gd name="T20" fmla="*/ 106633 w 820679"/>
              <a:gd name="T21" fmla="*/ 243978 h 676895"/>
              <a:gd name="T22" fmla="*/ 419567 w 820679"/>
              <a:gd name="T23" fmla="*/ 53309 h 676895"/>
              <a:gd name="T24" fmla="*/ 445176 w 820679"/>
              <a:gd name="T25" fmla="*/ 47642 h 676895"/>
              <a:gd name="T26" fmla="*/ 509174 w 820679"/>
              <a:gd name="T27" fmla="*/ 47078 h 676895"/>
              <a:gd name="T28" fmla="*/ 482059 w 820679"/>
              <a:gd name="T29" fmla="*/ 7085 h 676895"/>
              <a:gd name="T30" fmla="*/ 452757 w 820679"/>
              <a:gd name="T31" fmla="*/ 0 h 676895"/>
              <a:gd name="T32" fmla="*/ 533628 w 820679"/>
              <a:gd name="T33" fmla="*/ 511057 h 676895"/>
              <a:gd name="T34" fmla="*/ 444146 w 820679"/>
              <a:gd name="T35" fmla="*/ 517661 h 676895"/>
              <a:gd name="T36" fmla="*/ 427720 w 820679"/>
              <a:gd name="T37" fmla="*/ 524980 h 676895"/>
              <a:gd name="T38" fmla="*/ 435079 w 820679"/>
              <a:gd name="T39" fmla="*/ 564738 h 676895"/>
              <a:gd name="T40" fmla="*/ 497341 w 820679"/>
              <a:gd name="T41" fmla="*/ 613878 h 676895"/>
              <a:gd name="T42" fmla="*/ 542498 w 820679"/>
              <a:gd name="T43" fmla="*/ 626734 h 676895"/>
              <a:gd name="T44" fmla="*/ 544558 w 820679"/>
              <a:gd name="T45" fmla="*/ 615465 h 676895"/>
              <a:gd name="T46" fmla="*/ 560105 w 820679"/>
              <a:gd name="T47" fmla="*/ 550021 h 676895"/>
              <a:gd name="T48" fmla="*/ 585438 w 820679"/>
              <a:gd name="T49" fmla="*/ 507015 h 676895"/>
              <a:gd name="T50" fmla="*/ 538187 w 820679"/>
              <a:gd name="T51" fmla="*/ 505347 h 676895"/>
              <a:gd name="T52" fmla="*/ 587288 w 820679"/>
              <a:gd name="T53" fmla="*/ 327070 h 676895"/>
              <a:gd name="T54" fmla="*/ 584531 w 820679"/>
              <a:gd name="T55" fmla="*/ 392119 h 676895"/>
              <a:gd name="T56" fmla="*/ 557506 w 820679"/>
              <a:gd name="T57" fmla="*/ 405040 h 676895"/>
              <a:gd name="T58" fmla="*/ 480877 w 820679"/>
              <a:gd name="T59" fmla="*/ 405349 h 676895"/>
              <a:gd name="T60" fmla="*/ 473519 w 820679"/>
              <a:gd name="T61" fmla="*/ 445096 h 676895"/>
              <a:gd name="T62" fmla="*/ 538212 w 820679"/>
              <a:gd name="T63" fmla="*/ 452415 h 676895"/>
              <a:gd name="T64" fmla="*/ 585438 w 820679"/>
              <a:gd name="T65" fmla="*/ 507015 h 676895"/>
              <a:gd name="T66" fmla="*/ 601083 w 820679"/>
              <a:gd name="T67" fmla="*/ 439719 h 676895"/>
              <a:gd name="T68" fmla="*/ 634590 w 820679"/>
              <a:gd name="T69" fmla="*/ 389586 h 676895"/>
              <a:gd name="T70" fmla="*/ 814774 w 820679"/>
              <a:gd name="T71" fmla="*/ 206580 h 676895"/>
              <a:gd name="T72" fmla="*/ 759082 w 820679"/>
              <a:gd name="T73" fmla="*/ 207060 h 676895"/>
              <a:gd name="T74" fmla="*/ 769915 w 820679"/>
              <a:gd name="T75" fmla="*/ 220776 h 676895"/>
              <a:gd name="T76" fmla="*/ 772835 w 820679"/>
              <a:gd name="T77" fmla="*/ 250987 h 676895"/>
              <a:gd name="T78" fmla="*/ 480826 w 820679"/>
              <a:gd name="T79" fmla="*/ 280055 h 676895"/>
              <a:gd name="T80" fmla="*/ 473519 w 820679"/>
              <a:gd name="T81" fmla="*/ 319751 h 676895"/>
              <a:gd name="T82" fmla="*/ 752498 w 820679"/>
              <a:gd name="T83" fmla="*/ 327070 h 676895"/>
              <a:gd name="T84" fmla="*/ 797500 w 820679"/>
              <a:gd name="T85" fmla="*/ 308608 h 676895"/>
              <a:gd name="T86" fmla="*/ 757084 w 820679"/>
              <a:gd name="T87" fmla="*/ 280055 h 676895"/>
              <a:gd name="T88" fmla="*/ 816987 w 820679"/>
              <a:gd name="T89" fmla="*/ 275958 h 676895"/>
              <a:gd name="T90" fmla="*/ 820969 w 820679"/>
              <a:gd name="T91" fmla="*/ 250987 h 676895"/>
              <a:gd name="T92" fmla="*/ 818428 w 820679"/>
              <a:gd name="T93" fmla="*/ 220225 h 676895"/>
              <a:gd name="T94" fmla="*/ 814774 w 820679"/>
              <a:gd name="T95" fmla="*/ 206580 h 676895"/>
              <a:gd name="T96" fmla="*/ 458985 w 820679"/>
              <a:gd name="T97" fmla="*/ 47078 h 676895"/>
              <a:gd name="T98" fmla="*/ 464176 w 820679"/>
              <a:gd name="T99" fmla="*/ 56148 h 676895"/>
              <a:gd name="T100" fmla="*/ 464648 w 820679"/>
              <a:gd name="T101" fmla="*/ 81670 h 676895"/>
              <a:gd name="T102" fmla="*/ 435698 w 820679"/>
              <a:gd name="T103" fmla="*/ 124232 h 676895"/>
              <a:gd name="T104" fmla="*/ 395338 w 820679"/>
              <a:gd name="T105" fmla="*/ 159539 h 676895"/>
              <a:gd name="T106" fmla="*/ 343483 w 820679"/>
              <a:gd name="T107" fmla="*/ 160465 h 676895"/>
              <a:gd name="T108" fmla="*/ 318133 w 820679"/>
              <a:gd name="T109" fmla="*/ 174698 h 676895"/>
              <a:gd name="T110" fmla="*/ 330085 w 820679"/>
              <a:gd name="T111" fmla="*/ 202270 h 676895"/>
              <a:gd name="T112" fmla="*/ 354810 w 820679"/>
              <a:gd name="T113" fmla="*/ 206604 h 676895"/>
              <a:gd name="T114" fmla="*/ 782789 w 820679"/>
              <a:gd name="T115" fmla="*/ 167795 h 676895"/>
              <a:gd name="T116" fmla="*/ 478770 w 820679"/>
              <a:gd name="T117" fmla="*/ 147714 h 676895"/>
              <a:gd name="T118" fmla="*/ 513280 w 820679"/>
              <a:gd name="T119" fmla="*/ 81412 h 676895"/>
              <a:gd name="T120" fmla="*/ 509174 w 820679"/>
              <a:gd name="T121" fmla="*/ 47078 h 6768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4"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31"/>
                </a:lnTo>
                <a:lnTo>
                  <a:pt x="818138" y="221236"/>
                </a:lnTo>
                <a:lnTo>
                  <a:pt x="814886" y="208508"/>
                </a:lnTo>
                <a:lnTo>
                  <a:pt x="814484"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4" y="207529"/>
                </a:lnTo>
                <a:lnTo>
                  <a:pt x="782514" y="168565"/>
                </a:lnTo>
                <a:lnTo>
                  <a:pt x="467271" y="160272"/>
                </a:lnTo>
                <a:lnTo>
                  <a:pt x="478600" y="148393"/>
                </a:lnTo>
                <a:lnTo>
                  <a:pt x="503066" y="114028"/>
                </a:lnTo>
                <a:lnTo>
                  <a:pt x="513100" y="81787"/>
                </a:lnTo>
                <a:lnTo>
                  <a:pt x="511515" y="57783"/>
                </a:lnTo>
                <a:lnTo>
                  <a:pt x="508994" y="472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en-US">
              <a:solidFill>
                <a:srgbClr val="000000"/>
              </a:solidFill>
            </a:endParaRPr>
          </a:p>
        </p:txBody>
      </p:sp>
      <p:sp>
        <p:nvSpPr>
          <p:cNvPr id="44" name="object 32">
            <a:extLst>
              <a:ext uri="{FF2B5EF4-FFF2-40B4-BE49-F238E27FC236}">
                <a16:creationId xmlns:a16="http://schemas.microsoft.com/office/drawing/2014/main" id="{C25D3E24-4191-42A3-9E83-7C3FFFF638D1}"/>
              </a:ext>
            </a:extLst>
          </p:cNvPr>
          <p:cNvSpPr>
            <a:spLocks/>
          </p:cNvSpPr>
          <p:nvPr/>
        </p:nvSpPr>
        <p:spPr bwMode="auto">
          <a:xfrm>
            <a:off x="3232520" y="3009088"/>
            <a:ext cx="474262" cy="390576"/>
          </a:xfrm>
          <a:custGeom>
            <a:avLst/>
            <a:gdLst>
              <a:gd name="T0" fmla="*/ 409045 w 820679"/>
              <a:gd name="T1" fmla="*/ 7359 h 676895"/>
              <a:gd name="T2" fmla="*/ 99476 w 820679"/>
              <a:gd name="T3" fmla="*/ 195078 h 676895"/>
              <a:gd name="T4" fmla="*/ 16413 w 820679"/>
              <a:gd name="T5" fmla="*/ 198603 h 676895"/>
              <a:gd name="T6" fmla="*/ 0 w 820679"/>
              <a:gd name="T7" fmla="*/ 205923 h 676895"/>
              <a:gd name="T8" fmla="*/ 3989 w 820679"/>
              <a:gd name="T9" fmla="*/ 579601 h 676895"/>
              <a:gd name="T10" fmla="*/ 466978 w 820679"/>
              <a:gd name="T11" fmla="*/ 673801 h 676895"/>
              <a:gd name="T12" fmla="*/ 518238 w 820679"/>
              <a:gd name="T13" fmla="*/ 660567 h 676895"/>
              <a:gd name="T14" fmla="*/ 262032 w 820679"/>
              <a:gd name="T15" fmla="*/ 626734 h 676895"/>
              <a:gd name="T16" fmla="*/ 62630 w 820679"/>
              <a:gd name="T17" fmla="*/ 556913 h 676895"/>
              <a:gd name="T18" fmla="*/ 54655 w 820679"/>
              <a:gd name="T19" fmla="*/ 245669 h 676895"/>
              <a:gd name="T20" fmla="*/ 106633 w 820679"/>
              <a:gd name="T21" fmla="*/ 243978 h 676895"/>
              <a:gd name="T22" fmla="*/ 419567 w 820679"/>
              <a:gd name="T23" fmla="*/ 53309 h 676895"/>
              <a:gd name="T24" fmla="*/ 445176 w 820679"/>
              <a:gd name="T25" fmla="*/ 47642 h 676895"/>
              <a:gd name="T26" fmla="*/ 509174 w 820679"/>
              <a:gd name="T27" fmla="*/ 47078 h 676895"/>
              <a:gd name="T28" fmla="*/ 482059 w 820679"/>
              <a:gd name="T29" fmla="*/ 7085 h 676895"/>
              <a:gd name="T30" fmla="*/ 452757 w 820679"/>
              <a:gd name="T31" fmla="*/ 0 h 676895"/>
              <a:gd name="T32" fmla="*/ 533628 w 820679"/>
              <a:gd name="T33" fmla="*/ 511057 h 676895"/>
              <a:gd name="T34" fmla="*/ 444146 w 820679"/>
              <a:gd name="T35" fmla="*/ 517661 h 676895"/>
              <a:gd name="T36" fmla="*/ 427720 w 820679"/>
              <a:gd name="T37" fmla="*/ 524980 h 676895"/>
              <a:gd name="T38" fmla="*/ 435079 w 820679"/>
              <a:gd name="T39" fmla="*/ 564738 h 676895"/>
              <a:gd name="T40" fmla="*/ 497341 w 820679"/>
              <a:gd name="T41" fmla="*/ 613878 h 676895"/>
              <a:gd name="T42" fmla="*/ 542498 w 820679"/>
              <a:gd name="T43" fmla="*/ 626734 h 676895"/>
              <a:gd name="T44" fmla="*/ 544558 w 820679"/>
              <a:gd name="T45" fmla="*/ 615465 h 676895"/>
              <a:gd name="T46" fmla="*/ 560105 w 820679"/>
              <a:gd name="T47" fmla="*/ 550021 h 676895"/>
              <a:gd name="T48" fmla="*/ 585438 w 820679"/>
              <a:gd name="T49" fmla="*/ 507015 h 676895"/>
              <a:gd name="T50" fmla="*/ 538187 w 820679"/>
              <a:gd name="T51" fmla="*/ 505347 h 676895"/>
              <a:gd name="T52" fmla="*/ 587288 w 820679"/>
              <a:gd name="T53" fmla="*/ 327070 h 676895"/>
              <a:gd name="T54" fmla="*/ 584531 w 820679"/>
              <a:gd name="T55" fmla="*/ 392119 h 676895"/>
              <a:gd name="T56" fmla="*/ 557506 w 820679"/>
              <a:gd name="T57" fmla="*/ 405040 h 676895"/>
              <a:gd name="T58" fmla="*/ 480877 w 820679"/>
              <a:gd name="T59" fmla="*/ 405349 h 676895"/>
              <a:gd name="T60" fmla="*/ 473519 w 820679"/>
              <a:gd name="T61" fmla="*/ 445096 h 676895"/>
              <a:gd name="T62" fmla="*/ 538212 w 820679"/>
              <a:gd name="T63" fmla="*/ 452415 h 676895"/>
              <a:gd name="T64" fmla="*/ 585438 w 820679"/>
              <a:gd name="T65" fmla="*/ 507015 h 676895"/>
              <a:gd name="T66" fmla="*/ 601083 w 820679"/>
              <a:gd name="T67" fmla="*/ 439719 h 676895"/>
              <a:gd name="T68" fmla="*/ 634590 w 820679"/>
              <a:gd name="T69" fmla="*/ 389586 h 676895"/>
              <a:gd name="T70" fmla="*/ 814773 w 820679"/>
              <a:gd name="T71" fmla="*/ 206580 h 676895"/>
              <a:gd name="T72" fmla="*/ 759082 w 820679"/>
              <a:gd name="T73" fmla="*/ 207060 h 676895"/>
              <a:gd name="T74" fmla="*/ 769915 w 820679"/>
              <a:gd name="T75" fmla="*/ 220776 h 676895"/>
              <a:gd name="T76" fmla="*/ 772835 w 820679"/>
              <a:gd name="T77" fmla="*/ 250987 h 676895"/>
              <a:gd name="T78" fmla="*/ 480826 w 820679"/>
              <a:gd name="T79" fmla="*/ 280055 h 676895"/>
              <a:gd name="T80" fmla="*/ 473519 w 820679"/>
              <a:gd name="T81" fmla="*/ 319751 h 676895"/>
              <a:gd name="T82" fmla="*/ 752498 w 820679"/>
              <a:gd name="T83" fmla="*/ 327070 h 676895"/>
              <a:gd name="T84" fmla="*/ 797500 w 820679"/>
              <a:gd name="T85" fmla="*/ 308608 h 676895"/>
              <a:gd name="T86" fmla="*/ 757084 w 820679"/>
              <a:gd name="T87" fmla="*/ 280055 h 676895"/>
              <a:gd name="T88" fmla="*/ 816987 w 820679"/>
              <a:gd name="T89" fmla="*/ 275958 h 676895"/>
              <a:gd name="T90" fmla="*/ 820969 w 820679"/>
              <a:gd name="T91" fmla="*/ 250987 h 676895"/>
              <a:gd name="T92" fmla="*/ 818427 w 820679"/>
              <a:gd name="T93" fmla="*/ 220221 h 676895"/>
              <a:gd name="T94" fmla="*/ 814773 w 820679"/>
              <a:gd name="T95" fmla="*/ 206580 h 676895"/>
              <a:gd name="T96" fmla="*/ 458985 w 820679"/>
              <a:gd name="T97" fmla="*/ 47078 h 676895"/>
              <a:gd name="T98" fmla="*/ 464176 w 820679"/>
              <a:gd name="T99" fmla="*/ 56148 h 676895"/>
              <a:gd name="T100" fmla="*/ 464648 w 820679"/>
              <a:gd name="T101" fmla="*/ 81670 h 676895"/>
              <a:gd name="T102" fmla="*/ 435698 w 820679"/>
              <a:gd name="T103" fmla="*/ 124232 h 676895"/>
              <a:gd name="T104" fmla="*/ 395338 w 820679"/>
              <a:gd name="T105" fmla="*/ 159539 h 676895"/>
              <a:gd name="T106" fmla="*/ 343483 w 820679"/>
              <a:gd name="T107" fmla="*/ 160465 h 676895"/>
              <a:gd name="T108" fmla="*/ 318133 w 820679"/>
              <a:gd name="T109" fmla="*/ 174698 h 676895"/>
              <a:gd name="T110" fmla="*/ 330085 w 820679"/>
              <a:gd name="T111" fmla="*/ 202270 h 676895"/>
              <a:gd name="T112" fmla="*/ 354810 w 820679"/>
              <a:gd name="T113" fmla="*/ 206604 h 676895"/>
              <a:gd name="T114" fmla="*/ 782785 w 820679"/>
              <a:gd name="T115" fmla="*/ 167797 h 676895"/>
              <a:gd name="T116" fmla="*/ 478770 w 820679"/>
              <a:gd name="T117" fmla="*/ 147714 h 676895"/>
              <a:gd name="T118" fmla="*/ 513280 w 820679"/>
              <a:gd name="T119" fmla="*/ 81412 h 676895"/>
              <a:gd name="T120" fmla="*/ 509174 w 820679"/>
              <a:gd name="T121" fmla="*/ 47078 h 6768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en-US">
              <a:solidFill>
                <a:srgbClr val="000000"/>
              </a:solidFill>
            </a:endParaRPr>
          </a:p>
        </p:txBody>
      </p:sp>
      <p:sp>
        <p:nvSpPr>
          <p:cNvPr id="45" name="object 33">
            <a:extLst>
              <a:ext uri="{FF2B5EF4-FFF2-40B4-BE49-F238E27FC236}">
                <a16:creationId xmlns:a16="http://schemas.microsoft.com/office/drawing/2014/main" id="{35A72FF6-CD2C-44F4-8309-9A55E29851FE}"/>
              </a:ext>
            </a:extLst>
          </p:cNvPr>
          <p:cNvSpPr>
            <a:spLocks/>
          </p:cNvSpPr>
          <p:nvPr/>
        </p:nvSpPr>
        <p:spPr bwMode="auto">
          <a:xfrm>
            <a:off x="3232520" y="4468704"/>
            <a:ext cx="474262" cy="390576"/>
          </a:xfrm>
          <a:custGeom>
            <a:avLst/>
            <a:gdLst>
              <a:gd name="T0" fmla="*/ 409045 w 820679"/>
              <a:gd name="T1" fmla="*/ 7359 h 676895"/>
              <a:gd name="T2" fmla="*/ 99476 w 820679"/>
              <a:gd name="T3" fmla="*/ 195078 h 676895"/>
              <a:gd name="T4" fmla="*/ 16413 w 820679"/>
              <a:gd name="T5" fmla="*/ 198603 h 676895"/>
              <a:gd name="T6" fmla="*/ 0 w 820679"/>
              <a:gd name="T7" fmla="*/ 205923 h 676895"/>
              <a:gd name="T8" fmla="*/ 3989 w 820679"/>
              <a:gd name="T9" fmla="*/ 579601 h 676895"/>
              <a:gd name="T10" fmla="*/ 466978 w 820679"/>
              <a:gd name="T11" fmla="*/ 673801 h 676895"/>
              <a:gd name="T12" fmla="*/ 518238 w 820679"/>
              <a:gd name="T13" fmla="*/ 660567 h 676895"/>
              <a:gd name="T14" fmla="*/ 262032 w 820679"/>
              <a:gd name="T15" fmla="*/ 626734 h 676895"/>
              <a:gd name="T16" fmla="*/ 62630 w 820679"/>
              <a:gd name="T17" fmla="*/ 556913 h 676895"/>
              <a:gd name="T18" fmla="*/ 54655 w 820679"/>
              <a:gd name="T19" fmla="*/ 245669 h 676895"/>
              <a:gd name="T20" fmla="*/ 106633 w 820679"/>
              <a:gd name="T21" fmla="*/ 243978 h 676895"/>
              <a:gd name="T22" fmla="*/ 419567 w 820679"/>
              <a:gd name="T23" fmla="*/ 53309 h 676895"/>
              <a:gd name="T24" fmla="*/ 445176 w 820679"/>
              <a:gd name="T25" fmla="*/ 47642 h 676895"/>
              <a:gd name="T26" fmla="*/ 509174 w 820679"/>
              <a:gd name="T27" fmla="*/ 47078 h 676895"/>
              <a:gd name="T28" fmla="*/ 482059 w 820679"/>
              <a:gd name="T29" fmla="*/ 7085 h 676895"/>
              <a:gd name="T30" fmla="*/ 452757 w 820679"/>
              <a:gd name="T31" fmla="*/ 0 h 676895"/>
              <a:gd name="T32" fmla="*/ 533628 w 820679"/>
              <a:gd name="T33" fmla="*/ 511057 h 676895"/>
              <a:gd name="T34" fmla="*/ 444146 w 820679"/>
              <a:gd name="T35" fmla="*/ 517661 h 676895"/>
              <a:gd name="T36" fmla="*/ 427720 w 820679"/>
              <a:gd name="T37" fmla="*/ 524980 h 676895"/>
              <a:gd name="T38" fmla="*/ 435079 w 820679"/>
              <a:gd name="T39" fmla="*/ 564738 h 676895"/>
              <a:gd name="T40" fmla="*/ 497341 w 820679"/>
              <a:gd name="T41" fmla="*/ 613878 h 676895"/>
              <a:gd name="T42" fmla="*/ 542498 w 820679"/>
              <a:gd name="T43" fmla="*/ 626734 h 676895"/>
              <a:gd name="T44" fmla="*/ 544558 w 820679"/>
              <a:gd name="T45" fmla="*/ 615465 h 676895"/>
              <a:gd name="T46" fmla="*/ 560105 w 820679"/>
              <a:gd name="T47" fmla="*/ 550021 h 676895"/>
              <a:gd name="T48" fmla="*/ 585438 w 820679"/>
              <a:gd name="T49" fmla="*/ 507015 h 676895"/>
              <a:gd name="T50" fmla="*/ 538187 w 820679"/>
              <a:gd name="T51" fmla="*/ 505347 h 676895"/>
              <a:gd name="T52" fmla="*/ 587288 w 820679"/>
              <a:gd name="T53" fmla="*/ 327070 h 676895"/>
              <a:gd name="T54" fmla="*/ 584531 w 820679"/>
              <a:gd name="T55" fmla="*/ 392119 h 676895"/>
              <a:gd name="T56" fmla="*/ 557506 w 820679"/>
              <a:gd name="T57" fmla="*/ 405040 h 676895"/>
              <a:gd name="T58" fmla="*/ 480877 w 820679"/>
              <a:gd name="T59" fmla="*/ 405349 h 676895"/>
              <a:gd name="T60" fmla="*/ 473519 w 820679"/>
              <a:gd name="T61" fmla="*/ 445096 h 676895"/>
              <a:gd name="T62" fmla="*/ 538212 w 820679"/>
              <a:gd name="T63" fmla="*/ 452415 h 676895"/>
              <a:gd name="T64" fmla="*/ 585438 w 820679"/>
              <a:gd name="T65" fmla="*/ 507015 h 676895"/>
              <a:gd name="T66" fmla="*/ 601083 w 820679"/>
              <a:gd name="T67" fmla="*/ 439719 h 676895"/>
              <a:gd name="T68" fmla="*/ 634590 w 820679"/>
              <a:gd name="T69" fmla="*/ 389586 h 676895"/>
              <a:gd name="T70" fmla="*/ 814773 w 820679"/>
              <a:gd name="T71" fmla="*/ 206580 h 676895"/>
              <a:gd name="T72" fmla="*/ 759082 w 820679"/>
              <a:gd name="T73" fmla="*/ 207060 h 676895"/>
              <a:gd name="T74" fmla="*/ 769915 w 820679"/>
              <a:gd name="T75" fmla="*/ 220776 h 676895"/>
              <a:gd name="T76" fmla="*/ 772835 w 820679"/>
              <a:gd name="T77" fmla="*/ 250987 h 676895"/>
              <a:gd name="T78" fmla="*/ 480826 w 820679"/>
              <a:gd name="T79" fmla="*/ 280055 h 676895"/>
              <a:gd name="T80" fmla="*/ 473519 w 820679"/>
              <a:gd name="T81" fmla="*/ 319751 h 676895"/>
              <a:gd name="T82" fmla="*/ 752498 w 820679"/>
              <a:gd name="T83" fmla="*/ 327070 h 676895"/>
              <a:gd name="T84" fmla="*/ 797500 w 820679"/>
              <a:gd name="T85" fmla="*/ 308608 h 676895"/>
              <a:gd name="T86" fmla="*/ 757084 w 820679"/>
              <a:gd name="T87" fmla="*/ 280055 h 676895"/>
              <a:gd name="T88" fmla="*/ 816987 w 820679"/>
              <a:gd name="T89" fmla="*/ 275958 h 676895"/>
              <a:gd name="T90" fmla="*/ 820969 w 820679"/>
              <a:gd name="T91" fmla="*/ 250987 h 676895"/>
              <a:gd name="T92" fmla="*/ 818427 w 820679"/>
              <a:gd name="T93" fmla="*/ 220221 h 676895"/>
              <a:gd name="T94" fmla="*/ 814773 w 820679"/>
              <a:gd name="T95" fmla="*/ 206580 h 676895"/>
              <a:gd name="T96" fmla="*/ 458985 w 820679"/>
              <a:gd name="T97" fmla="*/ 47078 h 676895"/>
              <a:gd name="T98" fmla="*/ 464176 w 820679"/>
              <a:gd name="T99" fmla="*/ 56148 h 676895"/>
              <a:gd name="T100" fmla="*/ 464648 w 820679"/>
              <a:gd name="T101" fmla="*/ 81670 h 676895"/>
              <a:gd name="T102" fmla="*/ 435698 w 820679"/>
              <a:gd name="T103" fmla="*/ 124232 h 676895"/>
              <a:gd name="T104" fmla="*/ 395338 w 820679"/>
              <a:gd name="T105" fmla="*/ 159539 h 676895"/>
              <a:gd name="T106" fmla="*/ 343483 w 820679"/>
              <a:gd name="T107" fmla="*/ 160465 h 676895"/>
              <a:gd name="T108" fmla="*/ 318133 w 820679"/>
              <a:gd name="T109" fmla="*/ 174698 h 676895"/>
              <a:gd name="T110" fmla="*/ 330085 w 820679"/>
              <a:gd name="T111" fmla="*/ 202270 h 676895"/>
              <a:gd name="T112" fmla="*/ 354810 w 820679"/>
              <a:gd name="T113" fmla="*/ 206604 h 676895"/>
              <a:gd name="T114" fmla="*/ 782785 w 820679"/>
              <a:gd name="T115" fmla="*/ 167797 h 676895"/>
              <a:gd name="T116" fmla="*/ 478770 w 820679"/>
              <a:gd name="T117" fmla="*/ 147714 h 676895"/>
              <a:gd name="T118" fmla="*/ 513280 w 820679"/>
              <a:gd name="T119" fmla="*/ 81412 h 676895"/>
              <a:gd name="T120" fmla="*/ 509174 w 820679"/>
              <a:gd name="T121" fmla="*/ 47078 h 6768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eaLnBrk="0" fontAlgn="base" hangingPunct="0">
              <a:spcBef>
                <a:spcPct val="0"/>
              </a:spcBef>
              <a:spcAft>
                <a:spcPct val="0"/>
              </a:spcAft>
            </a:pPr>
            <a:endParaRPr lang="en-US">
              <a:solidFill>
                <a:srgbClr val="000000"/>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9D164-04BA-4246-A675-AF60A50A870E}"/>
              </a:ext>
            </a:extLst>
          </p:cNvPr>
          <p:cNvSpPr>
            <a:spLocks noGrp="1"/>
          </p:cNvSpPr>
          <p:nvPr>
            <p:ph type="ctrTitle"/>
          </p:nvPr>
        </p:nvSpPr>
        <p:spPr/>
        <p:txBody>
          <a:bodyPr/>
          <a:lstStyle/>
          <a:p>
            <a:r>
              <a:rPr lang="en-US" dirty="0"/>
              <a:t>PFA Action Principles</a:t>
            </a:r>
          </a:p>
        </p:txBody>
      </p:sp>
      <p:sp>
        <p:nvSpPr>
          <p:cNvPr id="3" name="Picture Placeholder 2">
            <a:extLst>
              <a:ext uri="{FF2B5EF4-FFF2-40B4-BE49-F238E27FC236}">
                <a16:creationId xmlns:a16="http://schemas.microsoft.com/office/drawing/2014/main" id="{DEDCE10B-68BB-4ED1-8A22-1378CED288EB}"/>
              </a:ext>
            </a:extLst>
          </p:cNvPr>
          <p:cNvSpPr>
            <a:spLocks noGrp="1"/>
          </p:cNvSpPr>
          <p:nvPr>
            <p:ph type="pic" sz="quarter" idx="10"/>
          </p:nvPr>
        </p:nvSpPr>
        <p:spPr/>
      </p:sp>
      <p:grpSp>
        <p:nvGrpSpPr>
          <p:cNvPr id="5" name="Group 4">
            <a:extLst>
              <a:ext uri="{FF2B5EF4-FFF2-40B4-BE49-F238E27FC236}">
                <a16:creationId xmlns:a16="http://schemas.microsoft.com/office/drawing/2014/main" id="{2DACEE27-F575-4991-9FCB-108AAE8C2D0C}"/>
              </a:ext>
            </a:extLst>
          </p:cNvPr>
          <p:cNvGrpSpPr/>
          <p:nvPr/>
        </p:nvGrpSpPr>
        <p:grpSpPr>
          <a:xfrm>
            <a:off x="529631" y="2927027"/>
            <a:ext cx="2328786" cy="2492901"/>
            <a:chOff x="1064151" y="1680577"/>
            <a:chExt cx="2328786" cy="2492901"/>
          </a:xfrm>
        </p:grpSpPr>
        <p:sp>
          <p:nvSpPr>
            <p:cNvPr id="6" name="object 25">
              <a:extLst>
                <a:ext uri="{FF2B5EF4-FFF2-40B4-BE49-F238E27FC236}">
                  <a16:creationId xmlns:a16="http://schemas.microsoft.com/office/drawing/2014/main" id="{E29D2631-8EA8-4075-9702-D19F2D46C066}"/>
                </a:ext>
              </a:extLst>
            </p:cNvPr>
            <p:cNvSpPr>
              <a:spLocks/>
            </p:cNvSpPr>
            <p:nvPr/>
          </p:nvSpPr>
          <p:spPr bwMode="auto">
            <a:xfrm>
              <a:off x="1064151" y="1680577"/>
              <a:ext cx="2328786" cy="2492901"/>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 name="object 26">
              <a:extLst>
                <a:ext uri="{FF2B5EF4-FFF2-40B4-BE49-F238E27FC236}">
                  <a16:creationId xmlns:a16="http://schemas.microsoft.com/office/drawing/2014/main" id="{F9643472-A723-4417-B316-2AD77D73D16C}"/>
                </a:ext>
              </a:extLst>
            </p:cNvPr>
            <p:cNvSpPr>
              <a:spLocks/>
            </p:cNvSpPr>
            <p:nvPr/>
          </p:nvSpPr>
          <p:spPr bwMode="auto">
            <a:xfrm>
              <a:off x="1694024" y="2073903"/>
              <a:ext cx="1087378" cy="688551"/>
            </a:xfrm>
            <a:custGeom>
              <a:avLst/>
              <a:gdLst>
                <a:gd name="T0" fmla="*/ 794001 w 1882548"/>
                <a:gd name="T1" fmla="*/ 14983 h 1191717"/>
                <a:gd name="T2" fmla="*/ 588851 w 1882548"/>
                <a:gd name="T3" fmla="*/ 83842 h 1191717"/>
                <a:gd name="T4" fmla="*/ 407447 w 1882548"/>
                <a:gd name="T5" fmla="*/ 189536 h 1191717"/>
                <a:gd name="T6" fmla="*/ 255231 w 1882548"/>
                <a:gd name="T7" fmla="*/ 310885 h 1191717"/>
                <a:gd name="T8" fmla="*/ 137642 w 1882548"/>
                <a:gd name="T9" fmla="*/ 426712 h 1191717"/>
                <a:gd name="T10" fmla="*/ 44123 w 1882548"/>
                <a:gd name="T11" fmla="*/ 535953 h 1191717"/>
                <a:gd name="T12" fmla="*/ 28125 w 1882548"/>
                <a:gd name="T13" fmla="*/ 634657 h 1191717"/>
                <a:gd name="T14" fmla="*/ 137650 w 1882548"/>
                <a:gd name="T15" fmla="*/ 765012 h 1191717"/>
                <a:gd name="T16" fmla="*/ 255236 w 1882548"/>
                <a:gd name="T17" fmla="*/ 880835 h 1191717"/>
                <a:gd name="T18" fmla="*/ 407450 w 1882548"/>
                <a:gd name="T19" fmla="*/ 1002182 h 1191717"/>
                <a:gd name="T20" fmla="*/ 588852 w 1882548"/>
                <a:gd name="T21" fmla="*/ 1107875 h 1191717"/>
                <a:gd name="T22" fmla="*/ 794001 w 1882548"/>
                <a:gd name="T23" fmla="*/ 1176733 h 1191717"/>
                <a:gd name="T24" fmla="*/ 1015823 w 1882548"/>
                <a:gd name="T25" fmla="*/ 1187840 h 1191717"/>
                <a:gd name="T26" fmla="*/ 1227674 w 1882548"/>
                <a:gd name="T27" fmla="*/ 1135966 h 1191717"/>
                <a:gd name="T28" fmla="*/ 1384225 w 1882548"/>
                <a:gd name="T29" fmla="*/ 1059764 h 1191717"/>
                <a:gd name="T30" fmla="*/ 834024 w 1882548"/>
                <a:gd name="T31" fmla="*/ 1049956 h 1191717"/>
                <a:gd name="T32" fmla="*/ 680671 w 1882548"/>
                <a:gd name="T33" fmla="*/ 1003847 h 1191717"/>
                <a:gd name="T34" fmla="*/ 539442 w 1882548"/>
                <a:gd name="T35" fmla="*/ 930400 h 1191717"/>
                <a:gd name="T36" fmla="*/ 413823 w 1882548"/>
                <a:gd name="T37" fmla="*/ 841242 h 1191717"/>
                <a:gd name="T38" fmla="*/ 307299 w 1882548"/>
                <a:gd name="T39" fmla="*/ 748003 h 1191717"/>
                <a:gd name="T40" fmla="*/ 200997 w 1882548"/>
                <a:gd name="T41" fmla="*/ 637434 h 1191717"/>
                <a:gd name="T42" fmla="*/ 223258 w 1882548"/>
                <a:gd name="T43" fmla="*/ 529265 h 1191717"/>
                <a:gd name="T44" fmla="*/ 340196 w 1882548"/>
                <a:gd name="T45" fmla="*/ 412778 h 1191717"/>
                <a:gd name="T46" fmla="*/ 453365 w 1882548"/>
                <a:gd name="T47" fmla="*/ 319639 h 1191717"/>
                <a:gd name="T48" fmla="*/ 584537 w 1882548"/>
                <a:gd name="T49" fmla="*/ 234463 h 1191717"/>
                <a:gd name="T50" fmla="*/ 730268 w 1882548"/>
                <a:gd name="T51" fmla="*/ 168868 h 1191717"/>
                <a:gd name="T52" fmla="*/ 887116 w 1882548"/>
                <a:gd name="T53" fmla="*/ 134475 h 1191717"/>
                <a:gd name="T54" fmla="*/ 1357060 w 1882548"/>
                <a:gd name="T55" fmla="*/ 116026 h 1191717"/>
                <a:gd name="T56" fmla="*/ 1159224 w 1882548"/>
                <a:gd name="T57" fmla="*/ 32536 h 1191717"/>
                <a:gd name="T58" fmla="*/ 941274 w 1882548"/>
                <a:gd name="T59" fmla="*/ 0 h 1191717"/>
                <a:gd name="T60" fmla="*/ 995319 w 1882548"/>
                <a:gd name="T61" fmla="*/ 134476 h 1191717"/>
                <a:gd name="T62" fmla="*/ 1151949 w 1882548"/>
                <a:gd name="T63" fmla="*/ 168886 h 1191717"/>
                <a:gd name="T64" fmla="*/ 1297610 w 1882548"/>
                <a:gd name="T65" fmla="*/ 234511 h 1191717"/>
                <a:gd name="T66" fmla="*/ 1428821 w 1882548"/>
                <a:gd name="T67" fmla="*/ 319722 h 1191717"/>
                <a:gd name="T68" fmla="*/ 1542097 w 1882548"/>
                <a:gd name="T69" fmla="*/ 412892 h 1191717"/>
                <a:gd name="T70" fmla="*/ 1633958 w 1882548"/>
                <a:gd name="T71" fmla="*/ 502393 h 1191717"/>
                <a:gd name="T72" fmla="*/ 1700945 w 1882548"/>
                <a:gd name="T73" fmla="*/ 615250 h 1191717"/>
                <a:gd name="T74" fmla="*/ 1575492 w 1882548"/>
                <a:gd name="T75" fmla="*/ 748120 h 1191717"/>
                <a:gd name="T76" fmla="*/ 1469082 w 1882548"/>
                <a:gd name="T77" fmla="*/ 841331 h 1191717"/>
                <a:gd name="T78" fmla="*/ 1343525 w 1882548"/>
                <a:gd name="T79" fmla="*/ 930456 h 1191717"/>
                <a:gd name="T80" fmla="*/ 1202263 w 1882548"/>
                <a:gd name="T81" fmla="*/ 1003873 h 1191717"/>
                <a:gd name="T82" fmla="*/ 1048738 w 1882548"/>
                <a:gd name="T83" fmla="*/ 1049960 h 1191717"/>
                <a:gd name="T84" fmla="*/ 1384225 w 1882548"/>
                <a:gd name="T85" fmla="*/ 1059764 h 1191717"/>
                <a:gd name="T86" fmla="*/ 1529341 w 1882548"/>
                <a:gd name="T87" fmla="*/ 962424 h 1191717"/>
                <a:gd name="T88" fmla="*/ 1670622 w 1882548"/>
                <a:gd name="T89" fmla="*/ 840562 h 1191717"/>
                <a:gd name="T90" fmla="*/ 1775462 w 1882548"/>
                <a:gd name="T91" fmla="*/ 731282 h 1191717"/>
                <a:gd name="T92" fmla="*/ 1882548 w 1882548"/>
                <a:gd name="T93" fmla="*/ 595922 h 1191717"/>
                <a:gd name="T94" fmla="*/ 1822411 w 1882548"/>
                <a:gd name="T95" fmla="*/ 515839 h 1191717"/>
                <a:gd name="T96" fmla="*/ 1709880 w 1882548"/>
                <a:gd name="T97" fmla="*/ 390024 h 1191717"/>
                <a:gd name="T98" fmla="*/ 1580144 w 1882548"/>
                <a:gd name="T99" fmla="*/ 270003 h 1191717"/>
                <a:gd name="T100" fmla="*/ 1417595 w 1882548"/>
                <a:gd name="T101" fmla="*/ 151519 h 119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2548" h="1191717">
                  <a:moveTo>
                    <a:pt x="941274" y="0"/>
                  </a:moveTo>
                  <a:lnTo>
                    <a:pt x="866721" y="3876"/>
                  </a:lnTo>
                  <a:lnTo>
                    <a:pt x="794001" y="14983"/>
                  </a:lnTo>
                  <a:lnTo>
                    <a:pt x="723315" y="32536"/>
                  </a:lnTo>
                  <a:lnTo>
                    <a:pt x="654864" y="55750"/>
                  </a:lnTo>
                  <a:lnTo>
                    <a:pt x="588851" y="83842"/>
                  </a:lnTo>
                  <a:lnTo>
                    <a:pt x="525476" y="116026"/>
                  </a:lnTo>
                  <a:lnTo>
                    <a:pt x="464941" y="151519"/>
                  </a:lnTo>
                  <a:lnTo>
                    <a:pt x="407447" y="189536"/>
                  </a:lnTo>
                  <a:lnTo>
                    <a:pt x="353197" y="229292"/>
                  </a:lnTo>
                  <a:lnTo>
                    <a:pt x="302391" y="270003"/>
                  </a:lnTo>
                  <a:lnTo>
                    <a:pt x="255231" y="310885"/>
                  </a:lnTo>
                  <a:lnTo>
                    <a:pt x="211918" y="351154"/>
                  </a:lnTo>
                  <a:lnTo>
                    <a:pt x="172655" y="390024"/>
                  </a:lnTo>
                  <a:lnTo>
                    <a:pt x="137642" y="426712"/>
                  </a:lnTo>
                  <a:lnTo>
                    <a:pt x="107080" y="460434"/>
                  </a:lnTo>
                  <a:lnTo>
                    <a:pt x="81173" y="490404"/>
                  </a:lnTo>
                  <a:lnTo>
                    <a:pt x="44123" y="535953"/>
                  </a:lnTo>
                  <a:lnTo>
                    <a:pt x="18" y="595795"/>
                  </a:lnTo>
                  <a:lnTo>
                    <a:pt x="0" y="595922"/>
                  </a:lnTo>
                  <a:lnTo>
                    <a:pt x="28125" y="634657"/>
                  </a:lnTo>
                  <a:lnTo>
                    <a:pt x="60133" y="675893"/>
                  </a:lnTo>
                  <a:lnTo>
                    <a:pt x="107090" y="731293"/>
                  </a:lnTo>
                  <a:lnTo>
                    <a:pt x="137650" y="765012"/>
                  </a:lnTo>
                  <a:lnTo>
                    <a:pt x="172662" y="801699"/>
                  </a:lnTo>
                  <a:lnTo>
                    <a:pt x="211924" y="840568"/>
                  </a:lnTo>
                  <a:lnTo>
                    <a:pt x="255236" y="880835"/>
                  </a:lnTo>
                  <a:lnTo>
                    <a:pt x="302395" y="921716"/>
                  </a:lnTo>
                  <a:lnTo>
                    <a:pt x="353200" y="962427"/>
                  </a:lnTo>
                  <a:lnTo>
                    <a:pt x="407450" y="1002182"/>
                  </a:lnTo>
                  <a:lnTo>
                    <a:pt x="464943" y="1040198"/>
                  </a:lnTo>
                  <a:lnTo>
                    <a:pt x="525477" y="1075691"/>
                  </a:lnTo>
                  <a:lnTo>
                    <a:pt x="588852" y="1107875"/>
                  </a:lnTo>
                  <a:lnTo>
                    <a:pt x="654865" y="1135966"/>
                  </a:lnTo>
                  <a:lnTo>
                    <a:pt x="723315" y="1159180"/>
                  </a:lnTo>
                  <a:lnTo>
                    <a:pt x="794001" y="1176733"/>
                  </a:lnTo>
                  <a:lnTo>
                    <a:pt x="866721" y="1187840"/>
                  </a:lnTo>
                  <a:lnTo>
                    <a:pt x="941274" y="1191717"/>
                  </a:lnTo>
                  <a:lnTo>
                    <a:pt x="1015823" y="1187840"/>
                  </a:lnTo>
                  <a:lnTo>
                    <a:pt x="1088541" y="1176733"/>
                  </a:lnTo>
                  <a:lnTo>
                    <a:pt x="1159225" y="1159180"/>
                  </a:lnTo>
                  <a:lnTo>
                    <a:pt x="1227674" y="1135966"/>
                  </a:lnTo>
                  <a:lnTo>
                    <a:pt x="1293687" y="1107874"/>
                  </a:lnTo>
                  <a:lnTo>
                    <a:pt x="1357061" y="1075690"/>
                  </a:lnTo>
                  <a:lnTo>
                    <a:pt x="1384225" y="1059764"/>
                  </a:lnTo>
                  <a:lnTo>
                    <a:pt x="941274" y="1059764"/>
                  </a:lnTo>
                  <a:lnTo>
                    <a:pt x="887234" y="1057240"/>
                  </a:lnTo>
                  <a:lnTo>
                    <a:pt x="834024" y="1049956"/>
                  </a:lnTo>
                  <a:lnTo>
                    <a:pt x="781775" y="1038342"/>
                  </a:lnTo>
                  <a:lnTo>
                    <a:pt x="730614" y="1022829"/>
                  </a:lnTo>
                  <a:lnTo>
                    <a:pt x="680671" y="1003847"/>
                  </a:lnTo>
                  <a:lnTo>
                    <a:pt x="632075" y="981828"/>
                  </a:lnTo>
                  <a:lnTo>
                    <a:pt x="584956" y="957202"/>
                  </a:lnTo>
                  <a:lnTo>
                    <a:pt x="539442" y="930400"/>
                  </a:lnTo>
                  <a:lnTo>
                    <a:pt x="495662" y="901852"/>
                  </a:lnTo>
                  <a:lnTo>
                    <a:pt x="453746" y="871989"/>
                  </a:lnTo>
                  <a:lnTo>
                    <a:pt x="413823" y="841242"/>
                  </a:lnTo>
                  <a:lnTo>
                    <a:pt x="376021" y="810042"/>
                  </a:lnTo>
                  <a:lnTo>
                    <a:pt x="340470" y="778819"/>
                  </a:lnTo>
                  <a:lnTo>
                    <a:pt x="307299" y="748003"/>
                  </a:lnTo>
                  <a:lnTo>
                    <a:pt x="276637" y="718026"/>
                  </a:lnTo>
                  <a:lnTo>
                    <a:pt x="248613" y="689319"/>
                  </a:lnTo>
                  <a:lnTo>
                    <a:pt x="200997" y="637434"/>
                  </a:lnTo>
                  <a:lnTo>
                    <a:pt x="165482" y="595795"/>
                  </a:lnTo>
                  <a:lnTo>
                    <a:pt x="181635" y="576463"/>
                  </a:lnTo>
                  <a:lnTo>
                    <a:pt x="223258" y="529265"/>
                  </a:lnTo>
                  <a:lnTo>
                    <a:pt x="276452" y="473556"/>
                  </a:lnTo>
                  <a:lnTo>
                    <a:pt x="307069" y="443585"/>
                  </a:lnTo>
                  <a:lnTo>
                    <a:pt x="340196" y="412778"/>
                  </a:lnTo>
                  <a:lnTo>
                    <a:pt x="375707" y="381564"/>
                  </a:lnTo>
                  <a:lnTo>
                    <a:pt x="413472" y="350375"/>
                  </a:lnTo>
                  <a:lnTo>
                    <a:pt x="453365" y="319639"/>
                  </a:lnTo>
                  <a:lnTo>
                    <a:pt x="495259" y="289789"/>
                  </a:lnTo>
                  <a:lnTo>
                    <a:pt x="539025" y="261253"/>
                  </a:lnTo>
                  <a:lnTo>
                    <a:pt x="584537" y="234463"/>
                  </a:lnTo>
                  <a:lnTo>
                    <a:pt x="631666" y="209848"/>
                  </a:lnTo>
                  <a:lnTo>
                    <a:pt x="680285" y="187840"/>
                  </a:lnTo>
                  <a:lnTo>
                    <a:pt x="730268" y="168868"/>
                  </a:lnTo>
                  <a:lnTo>
                    <a:pt x="781485" y="153363"/>
                  </a:lnTo>
                  <a:lnTo>
                    <a:pt x="833810" y="141755"/>
                  </a:lnTo>
                  <a:lnTo>
                    <a:pt x="887116" y="134475"/>
                  </a:lnTo>
                  <a:lnTo>
                    <a:pt x="941274" y="131953"/>
                  </a:lnTo>
                  <a:lnTo>
                    <a:pt x="1384223" y="131953"/>
                  </a:lnTo>
                  <a:lnTo>
                    <a:pt x="1357060" y="116026"/>
                  </a:lnTo>
                  <a:lnTo>
                    <a:pt x="1293686" y="83842"/>
                  </a:lnTo>
                  <a:lnTo>
                    <a:pt x="1227673" y="55750"/>
                  </a:lnTo>
                  <a:lnTo>
                    <a:pt x="1159224" y="32536"/>
                  </a:lnTo>
                  <a:lnTo>
                    <a:pt x="1088541" y="14983"/>
                  </a:lnTo>
                  <a:lnTo>
                    <a:pt x="1015823" y="3876"/>
                  </a:lnTo>
                  <a:lnTo>
                    <a:pt x="941274" y="0"/>
                  </a:lnTo>
                  <a:close/>
                </a:path>
                <a:path w="1882548" h="1191717">
                  <a:moveTo>
                    <a:pt x="1384223" y="131953"/>
                  </a:moveTo>
                  <a:lnTo>
                    <a:pt x="941274" y="131953"/>
                  </a:lnTo>
                  <a:lnTo>
                    <a:pt x="995319" y="134476"/>
                  </a:lnTo>
                  <a:lnTo>
                    <a:pt x="1048533" y="141760"/>
                  </a:lnTo>
                  <a:lnTo>
                    <a:pt x="1100786" y="153374"/>
                  </a:lnTo>
                  <a:lnTo>
                    <a:pt x="1151949" y="168886"/>
                  </a:lnTo>
                  <a:lnTo>
                    <a:pt x="1201893" y="187867"/>
                  </a:lnTo>
                  <a:lnTo>
                    <a:pt x="1250490" y="209885"/>
                  </a:lnTo>
                  <a:lnTo>
                    <a:pt x="1297610" y="234511"/>
                  </a:lnTo>
                  <a:lnTo>
                    <a:pt x="1343125" y="261312"/>
                  </a:lnTo>
                  <a:lnTo>
                    <a:pt x="1386904" y="289860"/>
                  </a:lnTo>
                  <a:lnTo>
                    <a:pt x="1428821" y="319722"/>
                  </a:lnTo>
                  <a:lnTo>
                    <a:pt x="1468744" y="350469"/>
                  </a:lnTo>
                  <a:lnTo>
                    <a:pt x="1506546" y="381669"/>
                  </a:lnTo>
                  <a:lnTo>
                    <a:pt x="1542097" y="412892"/>
                  </a:lnTo>
                  <a:lnTo>
                    <a:pt x="1575269" y="443707"/>
                  </a:lnTo>
                  <a:lnTo>
                    <a:pt x="1605932" y="473684"/>
                  </a:lnTo>
                  <a:lnTo>
                    <a:pt x="1633958" y="502393"/>
                  </a:lnTo>
                  <a:lnTo>
                    <a:pt x="1681580" y="554279"/>
                  </a:lnTo>
                  <a:lnTo>
                    <a:pt x="1717104" y="595922"/>
                  </a:lnTo>
                  <a:lnTo>
                    <a:pt x="1700945" y="615250"/>
                  </a:lnTo>
                  <a:lnTo>
                    <a:pt x="1659313" y="662443"/>
                  </a:lnTo>
                  <a:lnTo>
                    <a:pt x="1606112" y="718150"/>
                  </a:lnTo>
                  <a:lnTo>
                    <a:pt x="1575492" y="748120"/>
                  </a:lnTo>
                  <a:lnTo>
                    <a:pt x="1542362" y="778927"/>
                  </a:lnTo>
                  <a:lnTo>
                    <a:pt x="1506850" y="810141"/>
                  </a:lnTo>
                  <a:lnTo>
                    <a:pt x="1469082" y="841331"/>
                  </a:lnTo>
                  <a:lnTo>
                    <a:pt x="1429187" y="872067"/>
                  </a:lnTo>
                  <a:lnTo>
                    <a:pt x="1387292" y="901919"/>
                  </a:lnTo>
                  <a:lnTo>
                    <a:pt x="1343525" y="930456"/>
                  </a:lnTo>
                  <a:lnTo>
                    <a:pt x="1298013" y="957247"/>
                  </a:lnTo>
                  <a:lnTo>
                    <a:pt x="1250883" y="981863"/>
                  </a:lnTo>
                  <a:lnTo>
                    <a:pt x="1202263" y="1003873"/>
                  </a:lnTo>
                  <a:lnTo>
                    <a:pt x="1152281" y="1022846"/>
                  </a:lnTo>
                  <a:lnTo>
                    <a:pt x="1101063" y="1038352"/>
                  </a:lnTo>
                  <a:lnTo>
                    <a:pt x="1048738" y="1049960"/>
                  </a:lnTo>
                  <a:lnTo>
                    <a:pt x="995432" y="1057241"/>
                  </a:lnTo>
                  <a:lnTo>
                    <a:pt x="941274" y="1059764"/>
                  </a:lnTo>
                  <a:lnTo>
                    <a:pt x="1384225" y="1059764"/>
                  </a:lnTo>
                  <a:lnTo>
                    <a:pt x="1417596" y="1040197"/>
                  </a:lnTo>
                  <a:lnTo>
                    <a:pt x="1475090" y="1002181"/>
                  </a:lnTo>
                  <a:lnTo>
                    <a:pt x="1529341" y="962424"/>
                  </a:lnTo>
                  <a:lnTo>
                    <a:pt x="1580148" y="921713"/>
                  </a:lnTo>
                  <a:lnTo>
                    <a:pt x="1627309" y="880831"/>
                  </a:lnTo>
                  <a:lnTo>
                    <a:pt x="1670622" y="840562"/>
                  </a:lnTo>
                  <a:lnTo>
                    <a:pt x="1709887" y="801692"/>
                  </a:lnTo>
                  <a:lnTo>
                    <a:pt x="1744901" y="765004"/>
                  </a:lnTo>
                  <a:lnTo>
                    <a:pt x="1775462" y="731282"/>
                  </a:lnTo>
                  <a:lnTo>
                    <a:pt x="1801371" y="701312"/>
                  </a:lnTo>
                  <a:lnTo>
                    <a:pt x="1838419" y="655763"/>
                  </a:lnTo>
                  <a:lnTo>
                    <a:pt x="1882548" y="595922"/>
                  </a:lnTo>
                  <a:lnTo>
                    <a:pt x="1882530" y="595795"/>
                  </a:lnTo>
                  <a:lnTo>
                    <a:pt x="1854417" y="557085"/>
                  </a:lnTo>
                  <a:lnTo>
                    <a:pt x="1822411" y="515839"/>
                  </a:lnTo>
                  <a:lnTo>
                    <a:pt x="1775453" y="460434"/>
                  </a:lnTo>
                  <a:lnTo>
                    <a:pt x="1744893" y="426712"/>
                  </a:lnTo>
                  <a:lnTo>
                    <a:pt x="1709880" y="390024"/>
                  </a:lnTo>
                  <a:lnTo>
                    <a:pt x="1670617" y="351154"/>
                  </a:lnTo>
                  <a:lnTo>
                    <a:pt x="1627304" y="310885"/>
                  </a:lnTo>
                  <a:lnTo>
                    <a:pt x="1580144" y="270003"/>
                  </a:lnTo>
                  <a:lnTo>
                    <a:pt x="1529338" y="229292"/>
                  </a:lnTo>
                  <a:lnTo>
                    <a:pt x="1475088" y="189536"/>
                  </a:lnTo>
                  <a:lnTo>
                    <a:pt x="1417595" y="151519"/>
                  </a:lnTo>
                  <a:lnTo>
                    <a:pt x="1384223" y="1319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 name="object 27">
              <a:extLst>
                <a:ext uri="{FF2B5EF4-FFF2-40B4-BE49-F238E27FC236}">
                  <a16:creationId xmlns:a16="http://schemas.microsoft.com/office/drawing/2014/main" id="{F13922EC-12BD-418F-94BA-0C3F8863302E}"/>
                </a:ext>
              </a:extLst>
            </p:cNvPr>
            <p:cNvSpPr>
              <a:spLocks/>
            </p:cNvSpPr>
            <p:nvPr/>
          </p:nvSpPr>
          <p:spPr bwMode="auto">
            <a:xfrm>
              <a:off x="2026838" y="2206846"/>
              <a:ext cx="421749" cy="421749"/>
            </a:xfrm>
            <a:custGeom>
              <a:avLst/>
              <a:gdLst>
                <a:gd name="T0" fmla="*/ 364934 w 729869"/>
                <a:gd name="T1" fmla="*/ 0 h 729881"/>
                <a:gd name="T2" fmla="*/ 305739 w 729869"/>
                <a:gd name="T3" fmla="*/ 4776 h 729881"/>
                <a:gd name="T4" fmla="*/ 249586 w 729869"/>
                <a:gd name="T5" fmla="*/ 18604 h 729881"/>
                <a:gd name="T6" fmla="*/ 197225 w 729869"/>
                <a:gd name="T7" fmla="*/ 40733 h 729881"/>
                <a:gd name="T8" fmla="*/ 149408 w 729869"/>
                <a:gd name="T9" fmla="*/ 70410 h 729881"/>
                <a:gd name="T10" fmla="*/ 106886 w 729869"/>
                <a:gd name="T11" fmla="*/ 106886 h 729881"/>
                <a:gd name="T12" fmla="*/ 70410 w 729869"/>
                <a:gd name="T13" fmla="*/ 149408 h 729881"/>
                <a:gd name="T14" fmla="*/ 40733 w 729869"/>
                <a:gd name="T15" fmla="*/ 197225 h 729881"/>
                <a:gd name="T16" fmla="*/ 18604 w 729869"/>
                <a:gd name="T17" fmla="*/ 249586 h 729881"/>
                <a:gd name="T18" fmla="*/ 4776 w 729869"/>
                <a:gd name="T19" fmla="*/ 305739 h 729881"/>
                <a:gd name="T20" fmla="*/ 0 w 729869"/>
                <a:gd name="T21" fmla="*/ 364934 h 729881"/>
                <a:gd name="T22" fmla="*/ 1209 w 729869"/>
                <a:gd name="T23" fmla="*/ 394865 h 729881"/>
                <a:gd name="T24" fmla="*/ 10605 w 729869"/>
                <a:gd name="T25" fmla="*/ 452633 h 729881"/>
                <a:gd name="T26" fmla="*/ 28678 w 729869"/>
                <a:gd name="T27" fmla="*/ 506985 h 729881"/>
                <a:gd name="T28" fmla="*/ 54675 w 729869"/>
                <a:gd name="T29" fmla="*/ 557170 h 729881"/>
                <a:gd name="T30" fmla="*/ 87845 w 729869"/>
                <a:gd name="T31" fmla="*/ 602435 h 729881"/>
                <a:gd name="T32" fmla="*/ 127438 w 729869"/>
                <a:gd name="T33" fmla="*/ 642030 h 729881"/>
                <a:gd name="T34" fmla="*/ 172702 w 729869"/>
                <a:gd name="T35" fmla="*/ 675202 h 729881"/>
                <a:gd name="T36" fmla="*/ 222885 w 729869"/>
                <a:gd name="T37" fmla="*/ 701201 h 729881"/>
                <a:gd name="T38" fmla="*/ 277236 w 729869"/>
                <a:gd name="T39" fmla="*/ 719275 h 729881"/>
                <a:gd name="T40" fmla="*/ 335004 w 729869"/>
                <a:gd name="T41" fmla="*/ 728671 h 729881"/>
                <a:gd name="T42" fmla="*/ 364934 w 729869"/>
                <a:gd name="T43" fmla="*/ 729881 h 729881"/>
                <a:gd name="T44" fmla="*/ 394864 w 729869"/>
                <a:gd name="T45" fmla="*/ 728671 h 729881"/>
                <a:gd name="T46" fmla="*/ 452632 w 729869"/>
                <a:gd name="T47" fmla="*/ 719275 h 729881"/>
                <a:gd name="T48" fmla="*/ 506984 w 729869"/>
                <a:gd name="T49" fmla="*/ 701201 h 729881"/>
                <a:gd name="T50" fmla="*/ 557166 w 729869"/>
                <a:gd name="T51" fmla="*/ 675202 h 729881"/>
                <a:gd name="T52" fmla="*/ 602430 w 729869"/>
                <a:gd name="T53" fmla="*/ 642030 h 729881"/>
                <a:gd name="T54" fmla="*/ 642023 w 729869"/>
                <a:gd name="T55" fmla="*/ 602435 h 729881"/>
                <a:gd name="T56" fmla="*/ 675193 w 729869"/>
                <a:gd name="T57" fmla="*/ 557170 h 729881"/>
                <a:gd name="T58" fmla="*/ 701190 w 729869"/>
                <a:gd name="T59" fmla="*/ 506985 h 729881"/>
                <a:gd name="T60" fmla="*/ 719263 w 729869"/>
                <a:gd name="T61" fmla="*/ 452633 h 729881"/>
                <a:gd name="T62" fmla="*/ 728659 w 729869"/>
                <a:gd name="T63" fmla="*/ 394865 h 729881"/>
                <a:gd name="T64" fmla="*/ 729869 w 729869"/>
                <a:gd name="T65" fmla="*/ 364934 h 729881"/>
                <a:gd name="T66" fmla="*/ 728659 w 729869"/>
                <a:gd name="T67" fmla="*/ 335004 h 729881"/>
                <a:gd name="T68" fmla="*/ 719263 w 729869"/>
                <a:gd name="T69" fmla="*/ 277236 h 729881"/>
                <a:gd name="T70" fmla="*/ 701190 w 729869"/>
                <a:gd name="T71" fmla="*/ 222885 h 729881"/>
                <a:gd name="T72" fmla="*/ 675193 w 729869"/>
                <a:gd name="T73" fmla="*/ 172702 h 729881"/>
                <a:gd name="T74" fmla="*/ 642023 w 729869"/>
                <a:gd name="T75" fmla="*/ 127438 h 729881"/>
                <a:gd name="T76" fmla="*/ 602430 w 729869"/>
                <a:gd name="T77" fmla="*/ 87845 h 729881"/>
                <a:gd name="T78" fmla="*/ 557166 w 729869"/>
                <a:gd name="T79" fmla="*/ 54675 h 729881"/>
                <a:gd name="T80" fmla="*/ 506984 w 729869"/>
                <a:gd name="T81" fmla="*/ 28678 h 729881"/>
                <a:gd name="T82" fmla="*/ 452632 w 729869"/>
                <a:gd name="T83" fmla="*/ 10605 h 729881"/>
                <a:gd name="T84" fmla="*/ 394864 w 729869"/>
                <a:gd name="T85" fmla="*/ 1209 h 729881"/>
                <a:gd name="T86" fmla="*/ 364934 w 729869"/>
                <a:gd name="T87" fmla="*/ 0 h 729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9869" h="729881">
                  <a:moveTo>
                    <a:pt x="364934" y="0"/>
                  </a:moveTo>
                  <a:lnTo>
                    <a:pt x="305739" y="4776"/>
                  </a:lnTo>
                  <a:lnTo>
                    <a:pt x="249586" y="18604"/>
                  </a:lnTo>
                  <a:lnTo>
                    <a:pt x="197225" y="40733"/>
                  </a:lnTo>
                  <a:lnTo>
                    <a:pt x="149408" y="70410"/>
                  </a:lnTo>
                  <a:lnTo>
                    <a:pt x="106886" y="106886"/>
                  </a:lnTo>
                  <a:lnTo>
                    <a:pt x="70410" y="149408"/>
                  </a:lnTo>
                  <a:lnTo>
                    <a:pt x="40733" y="197225"/>
                  </a:lnTo>
                  <a:lnTo>
                    <a:pt x="18604" y="249586"/>
                  </a:lnTo>
                  <a:lnTo>
                    <a:pt x="4776" y="305739"/>
                  </a:lnTo>
                  <a:lnTo>
                    <a:pt x="0" y="364934"/>
                  </a:lnTo>
                  <a:lnTo>
                    <a:pt x="1209" y="394865"/>
                  </a:lnTo>
                  <a:lnTo>
                    <a:pt x="10605" y="452633"/>
                  </a:lnTo>
                  <a:lnTo>
                    <a:pt x="28678" y="506985"/>
                  </a:lnTo>
                  <a:lnTo>
                    <a:pt x="54675" y="557170"/>
                  </a:lnTo>
                  <a:lnTo>
                    <a:pt x="87845" y="602435"/>
                  </a:lnTo>
                  <a:lnTo>
                    <a:pt x="127438" y="642030"/>
                  </a:lnTo>
                  <a:lnTo>
                    <a:pt x="172702" y="675202"/>
                  </a:lnTo>
                  <a:lnTo>
                    <a:pt x="222885" y="701201"/>
                  </a:lnTo>
                  <a:lnTo>
                    <a:pt x="277236" y="719275"/>
                  </a:lnTo>
                  <a:lnTo>
                    <a:pt x="335004" y="728671"/>
                  </a:lnTo>
                  <a:lnTo>
                    <a:pt x="364934" y="729881"/>
                  </a:lnTo>
                  <a:lnTo>
                    <a:pt x="394864" y="728671"/>
                  </a:lnTo>
                  <a:lnTo>
                    <a:pt x="452632" y="719275"/>
                  </a:lnTo>
                  <a:lnTo>
                    <a:pt x="506984" y="701201"/>
                  </a:lnTo>
                  <a:lnTo>
                    <a:pt x="557166" y="675202"/>
                  </a:lnTo>
                  <a:lnTo>
                    <a:pt x="602430" y="642030"/>
                  </a:lnTo>
                  <a:lnTo>
                    <a:pt x="642023" y="602435"/>
                  </a:lnTo>
                  <a:lnTo>
                    <a:pt x="675193" y="557170"/>
                  </a:lnTo>
                  <a:lnTo>
                    <a:pt x="701190" y="506985"/>
                  </a:lnTo>
                  <a:lnTo>
                    <a:pt x="719263" y="452633"/>
                  </a:lnTo>
                  <a:lnTo>
                    <a:pt x="728659" y="394865"/>
                  </a:lnTo>
                  <a:lnTo>
                    <a:pt x="729869" y="364934"/>
                  </a:lnTo>
                  <a:lnTo>
                    <a:pt x="728659" y="335004"/>
                  </a:lnTo>
                  <a:lnTo>
                    <a:pt x="719263" y="277236"/>
                  </a:lnTo>
                  <a:lnTo>
                    <a:pt x="701190" y="222885"/>
                  </a:lnTo>
                  <a:lnTo>
                    <a:pt x="675193" y="172702"/>
                  </a:lnTo>
                  <a:lnTo>
                    <a:pt x="642023" y="127438"/>
                  </a:lnTo>
                  <a:lnTo>
                    <a:pt x="602430" y="87845"/>
                  </a:lnTo>
                  <a:lnTo>
                    <a:pt x="557166" y="54675"/>
                  </a:lnTo>
                  <a:lnTo>
                    <a:pt x="506984" y="28678"/>
                  </a:lnTo>
                  <a:lnTo>
                    <a:pt x="452632" y="10605"/>
                  </a:lnTo>
                  <a:lnTo>
                    <a:pt x="394864" y="1209"/>
                  </a:lnTo>
                  <a:lnTo>
                    <a:pt x="3649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 name="object 28">
              <a:extLst>
                <a:ext uri="{FF2B5EF4-FFF2-40B4-BE49-F238E27FC236}">
                  <a16:creationId xmlns:a16="http://schemas.microsoft.com/office/drawing/2014/main" id="{CE95FC23-EEA5-4744-B125-1B1BC80BC803}"/>
                </a:ext>
              </a:extLst>
            </p:cNvPr>
            <p:cNvSpPr txBox="1">
              <a:spLocks noChangeArrowheads="1"/>
            </p:cNvSpPr>
            <p:nvPr/>
          </p:nvSpPr>
          <p:spPr bwMode="auto">
            <a:xfrm>
              <a:off x="1525120" y="3155781"/>
              <a:ext cx="1468667" cy="70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200" b="1" dirty="0" err="1">
                  <a:solidFill>
                    <a:srgbClr val="FFFFFF"/>
                  </a:solidFill>
                  <a:latin typeface="Gill Sans" pitchFamily="34" charset="0"/>
                  <a:cs typeface="Gill Sans" pitchFamily="34" charset="0"/>
                </a:rPr>
                <a:t>ကြည</a:t>
              </a:r>
              <a:r>
                <a:rPr lang="en-US" altLang="en-US" sz="3200" b="1" dirty="0">
                  <a:solidFill>
                    <a:srgbClr val="FFFFFF"/>
                  </a:solidFill>
                  <a:latin typeface="Gill Sans" pitchFamily="34" charset="0"/>
                  <a:cs typeface="Gill Sans" pitchFamily="34" charset="0"/>
                </a:rPr>
                <a:t>့်ပါ</a:t>
              </a:r>
              <a:endParaRPr lang="en-US" altLang="en-US" sz="3200" dirty="0">
                <a:latin typeface="Gill Sans" pitchFamily="34" charset="0"/>
                <a:cs typeface="Gill Sans" pitchFamily="34" charset="0"/>
              </a:endParaRPr>
            </a:p>
          </p:txBody>
        </p:sp>
      </p:grpSp>
      <p:grpSp>
        <p:nvGrpSpPr>
          <p:cNvPr id="10" name="Group 9">
            <a:extLst>
              <a:ext uri="{FF2B5EF4-FFF2-40B4-BE49-F238E27FC236}">
                <a16:creationId xmlns:a16="http://schemas.microsoft.com/office/drawing/2014/main" id="{E3AE50A7-1996-45F9-83C4-B0BC12E8DB2D}"/>
              </a:ext>
            </a:extLst>
          </p:cNvPr>
          <p:cNvGrpSpPr/>
          <p:nvPr/>
        </p:nvGrpSpPr>
        <p:grpSpPr>
          <a:xfrm>
            <a:off x="6059257" y="2927026"/>
            <a:ext cx="2328786" cy="2492901"/>
            <a:chOff x="1064151" y="1680577"/>
            <a:chExt cx="2328786" cy="2492901"/>
          </a:xfrm>
        </p:grpSpPr>
        <p:sp>
          <p:nvSpPr>
            <p:cNvPr id="11" name="object 24">
              <a:extLst>
                <a:ext uri="{FF2B5EF4-FFF2-40B4-BE49-F238E27FC236}">
                  <a16:creationId xmlns:a16="http://schemas.microsoft.com/office/drawing/2014/main" id="{62AB418D-4831-4BF9-8EFD-80D252AFE45D}"/>
                </a:ext>
              </a:extLst>
            </p:cNvPr>
            <p:cNvSpPr>
              <a:spLocks/>
            </p:cNvSpPr>
            <p:nvPr/>
          </p:nvSpPr>
          <p:spPr bwMode="auto">
            <a:xfrm>
              <a:off x="1064151" y="1680577"/>
              <a:ext cx="2328786" cy="2492901"/>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 name="object 25">
              <a:extLst>
                <a:ext uri="{FF2B5EF4-FFF2-40B4-BE49-F238E27FC236}">
                  <a16:creationId xmlns:a16="http://schemas.microsoft.com/office/drawing/2014/main" id="{A46FCA16-6A6C-4E81-9AB5-7AE30795C980}"/>
                </a:ext>
              </a:extLst>
            </p:cNvPr>
            <p:cNvSpPr txBox="1">
              <a:spLocks noChangeArrowheads="1"/>
            </p:cNvSpPr>
            <p:nvPr/>
          </p:nvSpPr>
          <p:spPr bwMode="auto">
            <a:xfrm>
              <a:off x="1162514" y="3217038"/>
              <a:ext cx="2166865" cy="64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200" b="1" dirty="0" err="1">
                  <a:solidFill>
                    <a:srgbClr val="FFFFFF"/>
                  </a:solidFill>
                  <a:latin typeface="Gill Sans" pitchFamily="34" charset="0"/>
                  <a:cs typeface="Gill Sans" pitchFamily="34" charset="0"/>
                </a:rPr>
                <a:t>ချိတ်ဆက်ပ</a:t>
              </a:r>
              <a:r>
                <a:rPr lang="en-US" altLang="en-US" sz="3200" b="1" dirty="0">
                  <a:solidFill>
                    <a:srgbClr val="FFFFFF"/>
                  </a:solidFill>
                  <a:latin typeface="Gill Sans" pitchFamily="34" charset="0"/>
                  <a:cs typeface="Gill Sans" pitchFamily="34" charset="0"/>
                </a:rPr>
                <a:t>ါ</a:t>
              </a:r>
              <a:endParaRPr lang="en-US" altLang="en-US" sz="3200" dirty="0">
                <a:latin typeface="Gill Sans" pitchFamily="34" charset="0"/>
                <a:cs typeface="Gill Sans" pitchFamily="34" charset="0"/>
              </a:endParaRPr>
            </a:p>
          </p:txBody>
        </p:sp>
        <p:sp>
          <p:nvSpPr>
            <p:cNvPr id="13" name="object 37">
              <a:extLst>
                <a:ext uri="{FF2B5EF4-FFF2-40B4-BE49-F238E27FC236}">
                  <a16:creationId xmlns:a16="http://schemas.microsoft.com/office/drawing/2014/main" id="{55BCB61F-AC4D-4FA3-AACA-2C38CC265C65}"/>
                </a:ext>
              </a:extLst>
            </p:cNvPr>
            <p:cNvSpPr>
              <a:spLocks/>
            </p:cNvSpPr>
            <p:nvPr/>
          </p:nvSpPr>
          <p:spPr bwMode="auto">
            <a:xfrm>
              <a:off x="1792126" y="1933626"/>
              <a:ext cx="871920" cy="968188"/>
            </a:xfrm>
            <a:custGeom>
              <a:avLst/>
              <a:gdLst>
                <a:gd name="T0" fmla="*/ 884468 w 1508594"/>
                <a:gd name="T1" fmla="*/ 1650999 h 1676400"/>
                <a:gd name="T2" fmla="*/ 570326 w 1508594"/>
                <a:gd name="T3" fmla="*/ 1346199 h 1676400"/>
                <a:gd name="T4" fmla="*/ 544842 w 1508594"/>
                <a:gd name="T5" fmla="*/ 1473199 h 1676400"/>
                <a:gd name="T6" fmla="*/ 639665 w 1508594"/>
                <a:gd name="T7" fmla="*/ 1638299 h 1676400"/>
                <a:gd name="T8" fmla="*/ 721808 w 1508594"/>
                <a:gd name="T9" fmla="*/ 1574799 h 1676400"/>
                <a:gd name="T10" fmla="*/ 647025 w 1508594"/>
                <a:gd name="T11" fmla="*/ 1435099 h 1676400"/>
                <a:gd name="T12" fmla="*/ 694559 w 1508594"/>
                <a:gd name="T13" fmla="*/ 1346199 h 1676400"/>
                <a:gd name="T14" fmla="*/ 882383 w 1508594"/>
                <a:gd name="T15" fmla="*/ 1244599 h 1676400"/>
                <a:gd name="T16" fmla="*/ 863513 w 1508594"/>
                <a:gd name="T17" fmla="*/ 1346199 h 1676400"/>
                <a:gd name="T18" fmla="*/ 909482 w 1508594"/>
                <a:gd name="T19" fmla="*/ 1435099 h 1676400"/>
                <a:gd name="T20" fmla="*/ 808325 w 1508594"/>
                <a:gd name="T21" fmla="*/ 1574799 h 1676400"/>
                <a:gd name="T22" fmla="*/ 1003848 w 1508594"/>
                <a:gd name="T23" fmla="*/ 1511299 h 1676400"/>
                <a:gd name="T24" fmla="*/ 987438 w 1508594"/>
                <a:gd name="T25" fmla="*/ 1346199 h 1676400"/>
                <a:gd name="T26" fmla="*/ 1123162 w 1508594"/>
                <a:gd name="T27" fmla="*/ 647699 h 1676400"/>
                <a:gd name="T28" fmla="*/ 1042030 w 1508594"/>
                <a:gd name="T29" fmla="*/ 825499 h 1676400"/>
                <a:gd name="T30" fmla="*/ 1156182 w 1508594"/>
                <a:gd name="T31" fmla="*/ 1028699 h 1676400"/>
                <a:gd name="T32" fmla="*/ 1207442 w 1508594"/>
                <a:gd name="T33" fmla="*/ 939799 h 1676400"/>
                <a:gd name="T34" fmla="*/ 1148342 w 1508594"/>
                <a:gd name="T35" fmla="*/ 800099 h 1676400"/>
                <a:gd name="T36" fmla="*/ 1203179 w 1508594"/>
                <a:gd name="T37" fmla="*/ 711199 h 1676400"/>
                <a:gd name="T38" fmla="*/ 1427046 w 1508594"/>
                <a:gd name="T39" fmla="*/ 647699 h 1676400"/>
                <a:gd name="T40" fmla="*/ 1249858 w 1508594"/>
                <a:gd name="T41" fmla="*/ 596899 h 1676400"/>
                <a:gd name="T42" fmla="*/ 271090 w 1508594"/>
                <a:gd name="T43" fmla="*/ 1054099 h 1676400"/>
                <a:gd name="T44" fmla="*/ 1265498 w 1508594"/>
                <a:gd name="T45" fmla="*/ 1066799 h 1676400"/>
                <a:gd name="T46" fmla="*/ 1379063 w 1508594"/>
                <a:gd name="T47" fmla="*/ 1028699 h 1676400"/>
                <a:gd name="T48" fmla="*/ 1379063 w 1508594"/>
                <a:gd name="T49" fmla="*/ 1028699 h 1676400"/>
                <a:gd name="T50" fmla="*/ 555980 w 1508594"/>
                <a:gd name="T51" fmla="*/ 165099 h 1676400"/>
                <a:gd name="T52" fmla="*/ 547352 w 1508594"/>
                <a:gd name="T53" fmla="*/ 279399 h 1676400"/>
                <a:gd name="T54" fmla="*/ 97573 w 1508594"/>
                <a:gd name="T55" fmla="*/ 634999 h 1676400"/>
                <a:gd name="T56" fmla="*/ 3068 w 1508594"/>
                <a:gd name="T57" fmla="*/ 787399 h 1676400"/>
                <a:gd name="T58" fmla="*/ 18363 w 1508594"/>
                <a:gd name="T59" fmla="*/ 914399 h 1676400"/>
                <a:gd name="T60" fmla="*/ 410361 w 1508594"/>
                <a:gd name="T61" fmla="*/ 977899 h 1676400"/>
                <a:gd name="T62" fmla="*/ 124909 w 1508594"/>
                <a:gd name="T63" fmla="*/ 901699 h 1676400"/>
                <a:gd name="T64" fmla="*/ 116768 w 1508594"/>
                <a:gd name="T65" fmla="*/ 761999 h 1676400"/>
                <a:gd name="T66" fmla="*/ 184696 w 1508594"/>
                <a:gd name="T67" fmla="*/ 698499 h 1676400"/>
                <a:gd name="T68" fmla="*/ 376887 w 1508594"/>
                <a:gd name="T69" fmla="*/ 647699 h 1676400"/>
                <a:gd name="T70" fmla="*/ 709485 w 1508594"/>
                <a:gd name="T71" fmla="*/ 355599 h 1676400"/>
                <a:gd name="T72" fmla="*/ 650387 w 1508594"/>
                <a:gd name="T73" fmla="*/ 203199 h 1676400"/>
                <a:gd name="T74" fmla="*/ 754696 w 1508594"/>
                <a:gd name="T75" fmla="*/ 101599 h 1676400"/>
                <a:gd name="T76" fmla="*/ 429230 w 1508594"/>
                <a:gd name="T77" fmla="*/ 698499 h 1676400"/>
                <a:gd name="T78" fmla="*/ 353081 w 1508594"/>
                <a:gd name="T79" fmla="*/ 774699 h 1676400"/>
                <a:gd name="T80" fmla="*/ 302214 w 1508594"/>
                <a:gd name="T81" fmla="*/ 939799 h 1676400"/>
                <a:gd name="T82" fmla="*/ 448224 w 1508594"/>
                <a:gd name="T83" fmla="*/ 914399 h 1676400"/>
                <a:gd name="T84" fmla="*/ 464967 w 1508594"/>
                <a:gd name="T85" fmla="*/ 800099 h 1676400"/>
                <a:gd name="T86" fmla="*/ 1325487 w 1508594"/>
                <a:gd name="T87" fmla="*/ 711199 h 1676400"/>
                <a:gd name="T88" fmla="*/ 1408767 w 1508594"/>
                <a:gd name="T89" fmla="*/ 825499 h 1676400"/>
                <a:gd name="T90" fmla="*/ 1306306 w 1508594"/>
                <a:gd name="T91" fmla="*/ 952499 h 1676400"/>
                <a:gd name="T92" fmla="*/ 1501770 w 1508594"/>
                <a:gd name="T93" fmla="*/ 888999 h 1676400"/>
                <a:gd name="T94" fmla="*/ 1496682 w 1508594"/>
                <a:gd name="T95" fmla="*/ 749299 h 1676400"/>
                <a:gd name="T96" fmla="*/ 720781 w 1508594"/>
                <a:gd name="T97" fmla="*/ 469899 h 1676400"/>
                <a:gd name="T98" fmla="*/ 878473 w 1508594"/>
                <a:gd name="T99" fmla="*/ 444499 h 1676400"/>
                <a:gd name="T100" fmla="*/ 592772 w 1508594"/>
                <a:gd name="T101" fmla="*/ 380999 h 1676400"/>
                <a:gd name="T102" fmla="*/ 921747 w 1508594"/>
                <a:gd name="T103" fmla="*/ 419099 h 1676400"/>
                <a:gd name="T104" fmla="*/ 784191 w 1508594"/>
                <a:gd name="T105" fmla="*/ 101599 h 1676400"/>
                <a:gd name="T106" fmla="*/ 882565 w 1508594"/>
                <a:gd name="T107" fmla="*/ 152399 h 1676400"/>
                <a:gd name="T108" fmla="*/ 857499 w 1508594"/>
                <a:gd name="T109" fmla="*/ 342899 h 1676400"/>
                <a:gd name="T110" fmla="*/ 1008501 w 1508594"/>
                <a:gd name="T111" fmla="*/ 266699 h 1676400"/>
                <a:gd name="T112" fmla="*/ 992253 w 1508594"/>
                <a:gd name="T113" fmla="*/ 152399 h 1676400"/>
                <a:gd name="T114" fmla="*/ 670234 w 1508594"/>
                <a:gd name="T115" fmla="*/ 38099 h 1676400"/>
                <a:gd name="T116" fmla="*/ 777354 w 1508594"/>
                <a:gd name="T117" fmla="*/ 0 h 167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8594" h="1676400">
                  <a:moveTo>
                    <a:pt x="884468" y="1650999"/>
                  </a:moveTo>
                  <a:lnTo>
                    <a:pt x="670234" y="1650999"/>
                  </a:lnTo>
                  <a:lnTo>
                    <a:pt x="686634" y="1663699"/>
                  </a:lnTo>
                  <a:lnTo>
                    <a:pt x="703695" y="1676399"/>
                  </a:lnTo>
                  <a:lnTo>
                    <a:pt x="851008" y="1676399"/>
                  </a:lnTo>
                  <a:lnTo>
                    <a:pt x="868069" y="1663699"/>
                  </a:lnTo>
                  <a:lnTo>
                    <a:pt x="884468" y="1650999"/>
                  </a:lnTo>
                  <a:close/>
                </a:path>
                <a:path w="1508594" h="1676400">
                  <a:moveTo>
                    <a:pt x="871071" y="1231899"/>
                  </a:moveTo>
                  <a:lnTo>
                    <a:pt x="689469" y="1231899"/>
                  </a:lnTo>
                  <a:lnTo>
                    <a:pt x="672540" y="1244599"/>
                  </a:lnTo>
                  <a:lnTo>
                    <a:pt x="656404" y="1257299"/>
                  </a:lnTo>
                  <a:lnTo>
                    <a:pt x="641117" y="1257299"/>
                  </a:lnTo>
                  <a:lnTo>
                    <a:pt x="600904" y="1295399"/>
                  </a:lnTo>
                  <a:lnTo>
                    <a:pt x="570326" y="1346199"/>
                  </a:lnTo>
                  <a:lnTo>
                    <a:pt x="562534" y="1358899"/>
                  </a:lnTo>
                  <a:lnTo>
                    <a:pt x="556034" y="1371599"/>
                  </a:lnTo>
                  <a:lnTo>
                    <a:pt x="550882" y="1396999"/>
                  </a:lnTo>
                  <a:lnTo>
                    <a:pt x="547133" y="1409699"/>
                  </a:lnTo>
                  <a:lnTo>
                    <a:pt x="544843" y="1435099"/>
                  </a:lnTo>
                  <a:lnTo>
                    <a:pt x="544068" y="1447799"/>
                  </a:lnTo>
                  <a:lnTo>
                    <a:pt x="544842" y="1473199"/>
                  </a:lnTo>
                  <a:lnTo>
                    <a:pt x="547126" y="1485899"/>
                  </a:lnTo>
                  <a:lnTo>
                    <a:pt x="550859" y="1511299"/>
                  </a:lnTo>
                  <a:lnTo>
                    <a:pt x="555980" y="1523999"/>
                  </a:lnTo>
                  <a:lnTo>
                    <a:pt x="562429" y="1536699"/>
                  </a:lnTo>
                  <a:lnTo>
                    <a:pt x="570145" y="1562099"/>
                  </a:lnTo>
                  <a:lnTo>
                    <a:pt x="600291" y="1600199"/>
                  </a:lnTo>
                  <a:lnTo>
                    <a:pt x="639665" y="1638299"/>
                  </a:lnTo>
                  <a:lnTo>
                    <a:pt x="654558" y="1650999"/>
                  </a:lnTo>
                  <a:lnTo>
                    <a:pt x="900144" y="1650999"/>
                  </a:lnTo>
                  <a:lnTo>
                    <a:pt x="929086" y="1625599"/>
                  </a:lnTo>
                  <a:lnTo>
                    <a:pt x="965567" y="1587499"/>
                  </a:lnTo>
                  <a:lnTo>
                    <a:pt x="762698" y="1587499"/>
                  </a:lnTo>
                  <a:lnTo>
                    <a:pt x="748499" y="1574799"/>
                  </a:lnTo>
                  <a:lnTo>
                    <a:pt x="721808" y="1574799"/>
                  </a:lnTo>
                  <a:lnTo>
                    <a:pt x="709485" y="1562099"/>
                  </a:lnTo>
                  <a:lnTo>
                    <a:pt x="697955" y="1562099"/>
                  </a:lnTo>
                  <a:lnTo>
                    <a:pt x="668969" y="1523999"/>
                  </a:lnTo>
                  <a:lnTo>
                    <a:pt x="650156" y="1485899"/>
                  </a:lnTo>
                  <a:lnTo>
                    <a:pt x="644387" y="1460499"/>
                  </a:lnTo>
                  <a:lnTo>
                    <a:pt x="645000" y="1447799"/>
                  </a:lnTo>
                  <a:lnTo>
                    <a:pt x="647025" y="1435099"/>
                  </a:lnTo>
                  <a:lnTo>
                    <a:pt x="650388" y="1409699"/>
                  </a:lnTo>
                  <a:lnTo>
                    <a:pt x="655016" y="1396999"/>
                  </a:lnTo>
                  <a:lnTo>
                    <a:pt x="660835" y="1384299"/>
                  </a:lnTo>
                  <a:lnTo>
                    <a:pt x="667773" y="1371599"/>
                  </a:lnTo>
                  <a:lnTo>
                    <a:pt x="675755" y="1358899"/>
                  </a:lnTo>
                  <a:lnTo>
                    <a:pt x="684708" y="1358899"/>
                  </a:lnTo>
                  <a:lnTo>
                    <a:pt x="694559" y="1346199"/>
                  </a:lnTo>
                  <a:lnTo>
                    <a:pt x="705235" y="1333499"/>
                  </a:lnTo>
                  <a:lnTo>
                    <a:pt x="716662" y="1333499"/>
                  </a:lnTo>
                  <a:lnTo>
                    <a:pt x="728766" y="1320799"/>
                  </a:lnTo>
                  <a:lnTo>
                    <a:pt x="968105" y="1320799"/>
                  </a:lnTo>
                  <a:lnTo>
                    <a:pt x="960548" y="1308099"/>
                  </a:lnTo>
                  <a:lnTo>
                    <a:pt x="1005010" y="1244599"/>
                  </a:lnTo>
                  <a:lnTo>
                    <a:pt x="882383" y="1244599"/>
                  </a:lnTo>
                  <a:lnTo>
                    <a:pt x="871071" y="1231899"/>
                  </a:lnTo>
                  <a:close/>
                </a:path>
                <a:path w="1508594" h="1676400">
                  <a:moveTo>
                    <a:pt x="975121" y="1320799"/>
                  </a:moveTo>
                  <a:lnTo>
                    <a:pt x="813839" y="1320799"/>
                  </a:lnTo>
                  <a:lnTo>
                    <a:pt x="827547" y="1333499"/>
                  </a:lnTo>
                  <a:lnTo>
                    <a:pt x="840436" y="1333499"/>
                  </a:lnTo>
                  <a:lnTo>
                    <a:pt x="852446" y="1346199"/>
                  </a:lnTo>
                  <a:lnTo>
                    <a:pt x="863513" y="1346199"/>
                  </a:lnTo>
                  <a:lnTo>
                    <a:pt x="873578" y="1358899"/>
                  </a:lnTo>
                  <a:lnTo>
                    <a:pt x="882579" y="1371599"/>
                  </a:lnTo>
                  <a:lnTo>
                    <a:pt x="890455" y="1384299"/>
                  </a:lnTo>
                  <a:lnTo>
                    <a:pt x="897144" y="1396999"/>
                  </a:lnTo>
                  <a:lnTo>
                    <a:pt x="902586" y="1396999"/>
                  </a:lnTo>
                  <a:lnTo>
                    <a:pt x="906719" y="1422399"/>
                  </a:lnTo>
                  <a:lnTo>
                    <a:pt x="909482" y="1435099"/>
                  </a:lnTo>
                  <a:lnTo>
                    <a:pt x="910814" y="1447799"/>
                  </a:lnTo>
                  <a:lnTo>
                    <a:pt x="904223" y="1485899"/>
                  </a:lnTo>
                  <a:lnTo>
                    <a:pt x="885735" y="1523999"/>
                  </a:lnTo>
                  <a:lnTo>
                    <a:pt x="857485" y="1562099"/>
                  </a:lnTo>
                  <a:lnTo>
                    <a:pt x="846268" y="1562099"/>
                  </a:lnTo>
                  <a:lnTo>
                    <a:pt x="834283" y="1574799"/>
                  </a:lnTo>
                  <a:lnTo>
                    <a:pt x="808325" y="1574799"/>
                  </a:lnTo>
                  <a:lnTo>
                    <a:pt x="794510" y="1587499"/>
                  </a:lnTo>
                  <a:lnTo>
                    <a:pt x="965567" y="1587499"/>
                  </a:lnTo>
                  <a:lnTo>
                    <a:pt x="975637" y="1574799"/>
                  </a:lnTo>
                  <a:lnTo>
                    <a:pt x="984560" y="1562099"/>
                  </a:lnTo>
                  <a:lnTo>
                    <a:pt x="992277" y="1536699"/>
                  </a:lnTo>
                  <a:lnTo>
                    <a:pt x="998726" y="1523999"/>
                  </a:lnTo>
                  <a:lnTo>
                    <a:pt x="1003848" y="1511299"/>
                  </a:lnTo>
                  <a:lnTo>
                    <a:pt x="1007581" y="1485899"/>
                  </a:lnTo>
                  <a:lnTo>
                    <a:pt x="1009865" y="1473199"/>
                  </a:lnTo>
                  <a:lnTo>
                    <a:pt x="1010640" y="1447799"/>
                  </a:lnTo>
                  <a:lnTo>
                    <a:pt x="1010252" y="1435099"/>
                  </a:lnTo>
                  <a:lnTo>
                    <a:pt x="1009102" y="1422399"/>
                  </a:lnTo>
                  <a:lnTo>
                    <a:pt x="1001302" y="1384299"/>
                  </a:lnTo>
                  <a:lnTo>
                    <a:pt x="987438" y="1346199"/>
                  </a:lnTo>
                  <a:lnTo>
                    <a:pt x="981572" y="1333499"/>
                  </a:lnTo>
                  <a:lnTo>
                    <a:pt x="975121" y="1320799"/>
                  </a:lnTo>
                  <a:close/>
                </a:path>
                <a:path w="1508594" h="1676400">
                  <a:moveTo>
                    <a:pt x="1085791" y="393699"/>
                  </a:moveTo>
                  <a:lnTo>
                    <a:pt x="949529" y="393699"/>
                  </a:lnTo>
                  <a:lnTo>
                    <a:pt x="1143749" y="634999"/>
                  </a:lnTo>
                  <a:lnTo>
                    <a:pt x="1133230" y="647699"/>
                  </a:lnTo>
                  <a:lnTo>
                    <a:pt x="1123162" y="647699"/>
                  </a:lnTo>
                  <a:lnTo>
                    <a:pt x="1113569" y="660399"/>
                  </a:lnTo>
                  <a:lnTo>
                    <a:pt x="1104474" y="673099"/>
                  </a:lnTo>
                  <a:lnTo>
                    <a:pt x="1095899" y="673099"/>
                  </a:lnTo>
                  <a:lnTo>
                    <a:pt x="1073531" y="711199"/>
                  </a:lnTo>
                  <a:lnTo>
                    <a:pt x="1056681" y="749299"/>
                  </a:lnTo>
                  <a:lnTo>
                    <a:pt x="1045973" y="787399"/>
                  </a:lnTo>
                  <a:lnTo>
                    <a:pt x="1042030" y="825499"/>
                  </a:lnTo>
                  <a:lnTo>
                    <a:pt x="1042399" y="838199"/>
                  </a:lnTo>
                  <a:lnTo>
                    <a:pt x="1047799" y="876299"/>
                  </a:lnTo>
                  <a:lnTo>
                    <a:pt x="1059214" y="914399"/>
                  </a:lnTo>
                  <a:lnTo>
                    <a:pt x="1076095" y="952499"/>
                  </a:lnTo>
                  <a:lnTo>
                    <a:pt x="882383" y="1244599"/>
                  </a:lnTo>
                  <a:lnTo>
                    <a:pt x="1005010" y="1244599"/>
                  </a:lnTo>
                  <a:lnTo>
                    <a:pt x="1156182" y="1028699"/>
                  </a:lnTo>
                  <a:lnTo>
                    <a:pt x="1395410" y="1028699"/>
                  </a:lnTo>
                  <a:lnTo>
                    <a:pt x="1425414" y="1003299"/>
                  </a:lnTo>
                  <a:lnTo>
                    <a:pt x="1462898" y="965199"/>
                  </a:lnTo>
                  <a:lnTo>
                    <a:pt x="1260653" y="965199"/>
                  </a:lnTo>
                  <a:lnTo>
                    <a:pt x="1246455" y="952499"/>
                  </a:lnTo>
                  <a:lnTo>
                    <a:pt x="1219765" y="952499"/>
                  </a:lnTo>
                  <a:lnTo>
                    <a:pt x="1207442" y="939799"/>
                  </a:lnTo>
                  <a:lnTo>
                    <a:pt x="1195913" y="939799"/>
                  </a:lnTo>
                  <a:lnTo>
                    <a:pt x="1166927" y="901699"/>
                  </a:lnTo>
                  <a:lnTo>
                    <a:pt x="1148112" y="863599"/>
                  </a:lnTo>
                  <a:lnTo>
                    <a:pt x="1142343" y="838199"/>
                  </a:lnTo>
                  <a:lnTo>
                    <a:pt x="1142955" y="825499"/>
                  </a:lnTo>
                  <a:lnTo>
                    <a:pt x="1144979" y="812799"/>
                  </a:lnTo>
                  <a:lnTo>
                    <a:pt x="1148342" y="800099"/>
                  </a:lnTo>
                  <a:lnTo>
                    <a:pt x="1152968" y="774699"/>
                  </a:lnTo>
                  <a:lnTo>
                    <a:pt x="1158787" y="761999"/>
                  </a:lnTo>
                  <a:lnTo>
                    <a:pt x="1165723" y="749299"/>
                  </a:lnTo>
                  <a:lnTo>
                    <a:pt x="1173704" y="749299"/>
                  </a:lnTo>
                  <a:lnTo>
                    <a:pt x="1182655" y="736599"/>
                  </a:lnTo>
                  <a:lnTo>
                    <a:pt x="1192505" y="723899"/>
                  </a:lnTo>
                  <a:lnTo>
                    <a:pt x="1203179" y="711199"/>
                  </a:lnTo>
                  <a:lnTo>
                    <a:pt x="1214604" y="711199"/>
                  </a:lnTo>
                  <a:lnTo>
                    <a:pt x="1226707" y="698499"/>
                  </a:lnTo>
                  <a:lnTo>
                    <a:pt x="1468560" y="698499"/>
                  </a:lnTo>
                  <a:lnTo>
                    <a:pt x="1463525" y="685799"/>
                  </a:lnTo>
                  <a:lnTo>
                    <a:pt x="1452371" y="673099"/>
                  </a:lnTo>
                  <a:lnTo>
                    <a:pt x="1440191" y="660399"/>
                  </a:lnTo>
                  <a:lnTo>
                    <a:pt x="1427046" y="647699"/>
                  </a:lnTo>
                  <a:lnTo>
                    <a:pt x="1412997" y="634999"/>
                  </a:lnTo>
                  <a:lnTo>
                    <a:pt x="1398104" y="634999"/>
                  </a:lnTo>
                  <a:lnTo>
                    <a:pt x="1382427" y="622299"/>
                  </a:lnTo>
                  <a:lnTo>
                    <a:pt x="1366028" y="609599"/>
                  </a:lnTo>
                  <a:lnTo>
                    <a:pt x="1348967" y="609599"/>
                  </a:lnTo>
                  <a:lnTo>
                    <a:pt x="1331304" y="596899"/>
                  </a:lnTo>
                  <a:lnTo>
                    <a:pt x="1249858" y="596899"/>
                  </a:lnTo>
                  <a:lnTo>
                    <a:pt x="1085791" y="393699"/>
                  </a:lnTo>
                  <a:close/>
                </a:path>
                <a:path w="1508594" h="1676400">
                  <a:moveTo>
                    <a:pt x="835320" y="1219199"/>
                  </a:moveTo>
                  <a:lnTo>
                    <a:pt x="725486" y="1219199"/>
                  </a:lnTo>
                  <a:lnTo>
                    <a:pt x="707136" y="1231899"/>
                  </a:lnTo>
                  <a:lnTo>
                    <a:pt x="847522" y="1231899"/>
                  </a:lnTo>
                  <a:lnTo>
                    <a:pt x="835320" y="1219199"/>
                  </a:lnTo>
                  <a:close/>
                </a:path>
                <a:path w="1508594" h="1676400">
                  <a:moveTo>
                    <a:pt x="271090" y="1054099"/>
                  </a:moveTo>
                  <a:lnTo>
                    <a:pt x="195507" y="1054099"/>
                  </a:lnTo>
                  <a:lnTo>
                    <a:pt x="214193" y="1066799"/>
                  </a:lnTo>
                  <a:lnTo>
                    <a:pt x="252404" y="1066799"/>
                  </a:lnTo>
                  <a:lnTo>
                    <a:pt x="271090" y="1054099"/>
                  </a:lnTo>
                  <a:close/>
                </a:path>
                <a:path w="1508594" h="1676400">
                  <a:moveTo>
                    <a:pt x="1286003" y="1054099"/>
                  </a:moveTo>
                  <a:lnTo>
                    <a:pt x="1252319" y="1054099"/>
                  </a:lnTo>
                  <a:lnTo>
                    <a:pt x="1265498" y="1066799"/>
                  </a:lnTo>
                  <a:lnTo>
                    <a:pt x="1286003" y="1054099"/>
                  </a:lnTo>
                  <a:close/>
                </a:path>
                <a:path w="1508594" h="1676400">
                  <a:moveTo>
                    <a:pt x="324019" y="1041399"/>
                  </a:moveTo>
                  <a:lnTo>
                    <a:pt x="142576" y="1041399"/>
                  </a:lnTo>
                  <a:lnTo>
                    <a:pt x="159638" y="1054099"/>
                  </a:lnTo>
                  <a:lnTo>
                    <a:pt x="306957" y="1054099"/>
                  </a:lnTo>
                  <a:lnTo>
                    <a:pt x="324019" y="1041399"/>
                  </a:lnTo>
                  <a:close/>
                </a:path>
                <a:path w="1508594" h="1676400">
                  <a:moveTo>
                    <a:pt x="1379063" y="1028699"/>
                  </a:moveTo>
                  <a:lnTo>
                    <a:pt x="1167123" y="1028699"/>
                  </a:lnTo>
                  <a:lnTo>
                    <a:pt x="1178409" y="1041399"/>
                  </a:lnTo>
                  <a:lnTo>
                    <a:pt x="1190020" y="1041399"/>
                  </a:lnTo>
                  <a:lnTo>
                    <a:pt x="1201939" y="1054099"/>
                  </a:lnTo>
                  <a:lnTo>
                    <a:pt x="1343944" y="1054099"/>
                  </a:lnTo>
                  <a:lnTo>
                    <a:pt x="1361890" y="1041399"/>
                  </a:lnTo>
                  <a:lnTo>
                    <a:pt x="1379063" y="1028699"/>
                  </a:lnTo>
                  <a:close/>
                </a:path>
                <a:path w="1508594" h="1676400">
                  <a:moveTo>
                    <a:pt x="900141" y="38099"/>
                  </a:moveTo>
                  <a:lnTo>
                    <a:pt x="654558" y="38099"/>
                  </a:lnTo>
                  <a:lnTo>
                    <a:pt x="639665" y="50799"/>
                  </a:lnTo>
                  <a:lnTo>
                    <a:pt x="600291" y="88899"/>
                  </a:lnTo>
                  <a:lnTo>
                    <a:pt x="570145" y="126999"/>
                  </a:lnTo>
                  <a:lnTo>
                    <a:pt x="562429" y="152399"/>
                  </a:lnTo>
                  <a:lnTo>
                    <a:pt x="555980" y="165099"/>
                  </a:lnTo>
                  <a:lnTo>
                    <a:pt x="550859" y="177799"/>
                  </a:lnTo>
                  <a:lnTo>
                    <a:pt x="547126" y="203199"/>
                  </a:lnTo>
                  <a:lnTo>
                    <a:pt x="544842" y="215899"/>
                  </a:lnTo>
                  <a:lnTo>
                    <a:pt x="544068" y="241299"/>
                  </a:lnTo>
                  <a:lnTo>
                    <a:pt x="544458" y="253999"/>
                  </a:lnTo>
                  <a:lnTo>
                    <a:pt x="545579" y="266699"/>
                  </a:lnTo>
                  <a:lnTo>
                    <a:pt x="547352" y="279399"/>
                  </a:lnTo>
                  <a:lnTo>
                    <a:pt x="267589" y="596899"/>
                  </a:lnTo>
                  <a:lnTo>
                    <a:pt x="182896" y="596899"/>
                  </a:lnTo>
                  <a:lnTo>
                    <a:pt x="164302" y="609599"/>
                  </a:lnTo>
                  <a:lnTo>
                    <a:pt x="146419" y="609599"/>
                  </a:lnTo>
                  <a:lnTo>
                    <a:pt x="129301" y="622299"/>
                  </a:lnTo>
                  <a:lnTo>
                    <a:pt x="113001" y="634999"/>
                  </a:lnTo>
                  <a:lnTo>
                    <a:pt x="97573" y="634999"/>
                  </a:lnTo>
                  <a:lnTo>
                    <a:pt x="57059" y="673099"/>
                  </a:lnTo>
                  <a:lnTo>
                    <a:pt x="35394" y="711199"/>
                  </a:lnTo>
                  <a:lnTo>
                    <a:pt x="26325" y="723899"/>
                  </a:lnTo>
                  <a:lnTo>
                    <a:pt x="18505" y="736599"/>
                  </a:lnTo>
                  <a:lnTo>
                    <a:pt x="11986" y="749299"/>
                  </a:lnTo>
                  <a:lnTo>
                    <a:pt x="6823" y="774699"/>
                  </a:lnTo>
                  <a:lnTo>
                    <a:pt x="3068" y="787399"/>
                  </a:lnTo>
                  <a:lnTo>
                    <a:pt x="776" y="812799"/>
                  </a:lnTo>
                  <a:lnTo>
                    <a:pt x="0" y="825499"/>
                  </a:lnTo>
                  <a:lnTo>
                    <a:pt x="774" y="850899"/>
                  </a:lnTo>
                  <a:lnTo>
                    <a:pt x="3059" y="863599"/>
                  </a:lnTo>
                  <a:lnTo>
                    <a:pt x="6792" y="888999"/>
                  </a:lnTo>
                  <a:lnTo>
                    <a:pt x="11913" y="901699"/>
                  </a:lnTo>
                  <a:lnTo>
                    <a:pt x="18363" y="914399"/>
                  </a:lnTo>
                  <a:lnTo>
                    <a:pt x="26079" y="939799"/>
                  </a:lnTo>
                  <a:lnTo>
                    <a:pt x="56229" y="977899"/>
                  </a:lnTo>
                  <a:lnTo>
                    <a:pt x="95606" y="1015999"/>
                  </a:lnTo>
                  <a:lnTo>
                    <a:pt x="126176" y="1041399"/>
                  </a:lnTo>
                  <a:lnTo>
                    <a:pt x="340418" y="1041399"/>
                  </a:lnTo>
                  <a:lnTo>
                    <a:pt x="370987" y="1015999"/>
                  </a:lnTo>
                  <a:lnTo>
                    <a:pt x="410361" y="977899"/>
                  </a:lnTo>
                  <a:lnTo>
                    <a:pt x="421516" y="965199"/>
                  </a:lnTo>
                  <a:lnTo>
                    <a:pt x="204445" y="965199"/>
                  </a:lnTo>
                  <a:lnTo>
                    <a:pt x="190786" y="952499"/>
                  </a:lnTo>
                  <a:lnTo>
                    <a:pt x="177753" y="952499"/>
                  </a:lnTo>
                  <a:lnTo>
                    <a:pt x="165429" y="939799"/>
                  </a:lnTo>
                  <a:lnTo>
                    <a:pt x="153899" y="939799"/>
                  </a:lnTo>
                  <a:lnTo>
                    <a:pt x="124909" y="901699"/>
                  </a:lnTo>
                  <a:lnTo>
                    <a:pt x="106091" y="863599"/>
                  </a:lnTo>
                  <a:lnTo>
                    <a:pt x="100320" y="838199"/>
                  </a:lnTo>
                  <a:lnTo>
                    <a:pt x="100933" y="825499"/>
                  </a:lnTo>
                  <a:lnTo>
                    <a:pt x="102958" y="812799"/>
                  </a:lnTo>
                  <a:lnTo>
                    <a:pt x="106321" y="800099"/>
                  </a:lnTo>
                  <a:lnTo>
                    <a:pt x="110948" y="774699"/>
                  </a:lnTo>
                  <a:lnTo>
                    <a:pt x="116768" y="761999"/>
                  </a:lnTo>
                  <a:lnTo>
                    <a:pt x="123705" y="749299"/>
                  </a:lnTo>
                  <a:lnTo>
                    <a:pt x="131687" y="749299"/>
                  </a:lnTo>
                  <a:lnTo>
                    <a:pt x="140640" y="736599"/>
                  </a:lnTo>
                  <a:lnTo>
                    <a:pt x="150491" y="723899"/>
                  </a:lnTo>
                  <a:lnTo>
                    <a:pt x="161166" y="711199"/>
                  </a:lnTo>
                  <a:lnTo>
                    <a:pt x="172592" y="711199"/>
                  </a:lnTo>
                  <a:lnTo>
                    <a:pt x="184696" y="698499"/>
                  </a:lnTo>
                  <a:lnTo>
                    <a:pt x="429230" y="698499"/>
                  </a:lnTo>
                  <a:lnTo>
                    <a:pt x="421853" y="685799"/>
                  </a:lnTo>
                  <a:lnTo>
                    <a:pt x="413906" y="685799"/>
                  </a:lnTo>
                  <a:lnTo>
                    <a:pt x="405413" y="673099"/>
                  </a:lnTo>
                  <a:lnTo>
                    <a:pt x="396397" y="660399"/>
                  </a:lnTo>
                  <a:lnTo>
                    <a:pt x="386880" y="647699"/>
                  </a:lnTo>
                  <a:lnTo>
                    <a:pt x="376887" y="647699"/>
                  </a:lnTo>
                  <a:lnTo>
                    <a:pt x="366440" y="634999"/>
                  </a:lnTo>
                  <a:lnTo>
                    <a:pt x="592772" y="380999"/>
                  </a:lnTo>
                  <a:lnTo>
                    <a:pt x="1075536" y="380999"/>
                  </a:lnTo>
                  <a:lnTo>
                    <a:pt x="1065282" y="368299"/>
                  </a:lnTo>
                  <a:lnTo>
                    <a:pt x="734841" y="368299"/>
                  </a:lnTo>
                  <a:lnTo>
                    <a:pt x="721808" y="355599"/>
                  </a:lnTo>
                  <a:lnTo>
                    <a:pt x="709485" y="355599"/>
                  </a:lnTo>
                  <a:lnTo>
                    <a:pt x="697955" y="342899"/>
                  </a:lnTo>
                  <a:lnTo>
                    <a:pt x="687303" y="342899"/>
                  </a:lnTo>
                  <a:lnTo>
                    <a:pt x="677613" y="330199"/>
                  </a:lnTo>
                  <a:lnTo>
                    <a:pt x="655156" y="292099"/>
                  </a:lnTo>
                  <a:lnTo>
                    <a:pt x="644387" y="253999"/>
                  </a:lnTo>
                  <a:lnTo>
                    <a:pt x="645000" y="241299"/>
                  </a:lnTo>
                  <a:lnTo>
                    <a:pt x="650387" y="203199"/>
                  </a:lnTo>
                  <a:lnTo>
                    <a:pt x="667768" y="165099"/>
                  </a:lnTo>
                  <a:lnTo>
                    <a:pt x="684701" y="139699"/>
                  </a:lnTo>
                  <a:lnTo>
                    <a:pt x="694551" y="139699"/>
                  </a:lnTo>
                  <a:lnTo>
                    <a:pt x="705225" y="126999"/>
                  </a:lnTo>
                  <a:lnTo>
                    <a:pt x="716650" y="114299"/>
                  </a:lnTo>
                  <a:lnTo>
                    <a:pt x="741459" y="114299"/>
                  </a:lnTo>
                  <a:lnTo>
                    <a:pt x="754696" y="101599"/>
                  </a:lnTo>
                  <a:lnTo>
                    <a:pt x="965555" y="101599"/>
                  </a:lnTo>
                  <a:lnTo>
                    <a:pt x="954403" y="88899"/>
                  </a:lnTo>
                  <a:lnTo>
                    <a:pt x="942224" y="76199"/>
                  </a:lnTo>
                  <a:lnTo>
                    <a:pt x="929081" y="63499"/>
                  </a:lnTo>
                  <a:lnTo>
                    <a:pt x="915033" y="50799"/>
                  </a:lnTo>
                  <a:lnTo>
                    <a:pt x="900141" y="38099"/>
                  </a:lnTo>
                  <a:close/>
                </a:path>
                <a:path w="1508594" h="1676400">
                  <a:moveTo>
                    <a:pt x="429230" y="698499"/>
                  </a:moveTo>
                  <a:lnTo>
                    <a:pt x="269765" y="698499"/>
                  </a:lnTo>
                  <a:lnTo>
                    <a:pt x="283475" y="711199"/>
                  </a:lnTo>
                  <a:lnTo>
                    <a:pt x="296365" y="711199"/>
                  </a:lnTo>
                  <a:lnTo>
                    <a:pt x="308375" y="723899"/>
                  </a:lnTo>
                  <a:lnTo>
                    <a:pt x="319444" y="723899"/>
                  </a:lnTo>
                  <a:lnTo>
                    <a:pt x="329510" y="736599"/>
                  </a:lnTo>
                  <a:lnTo>
                    <a:pt x="353081" y="774699"/>
                  </a:lnTo>
                  <a:lnTo>
                    <a:pt x="365425" y="812799"/>
                  </a:lnTo>
                  <a:lnTo>
                    <a:pt x="366758" y="825499"/>
                  </a:lnTo>
                  <a:lnTo>
                    <a:pt x="366015" y="838199"/>
                  </a:lnTo>
                  <a:lnTo>
                    <a:pt x="355221" y="876299"/>
                  </a:lnTo>
                  <a:lnTo>
                    <a:pt x="333242" y="914399"/>
                  </a:lnTo>
                  <a:lnTo>
                    <a:pt x="313430" y="939799"/>
                  </a:lnTo>
                  <a:lnTo>
                    <a:pt x="302214" y="939799"/>
                  </a:lnTo>
                  <a:lnTo>
                    <a:pt x="290231" y="952499"/>
                  </a:lnTo>
                  <a:lnTo>
                    <a:pt x="264277" y="952499"/>
                  </a:lnTo>
                  <a:lnTo>
                    <a:pt x="250464" y="965199"/>
                  </a:lnTo>
                  <a:lnTo>
                    <a:pt x="421516" y="965199"/>
                  </a:lnTo>
                  <a:lnTo>
                    <a:pt x="431585" y="952499"/>
                  </a:lnTo>
                  <a:lnTo>
                    <a:pt x="440508" y="939799"/>
                  </a:lnTo>
                  <a:lnTo>
                    <a:pt x="448224" y="914399"/>
                  </a:lnTo>
                  <a:lnTo>
                    <a:pt x="454672" y="901699"/>
                  </a:lnTo>
                  <a:lnTo>
                    <a:pt x="459793" y="888999"/>
                  </a:lnTo>
                  <a:lnTo>
                    <a:pt x="463526" y="863599"/>
                  </a:lnTo>
                  <a:lnTo>
                    <a:pt x="465810" y="850899"/>
                  </a:lnTo>
                  <a:lnTo>
                    <a:pt x="466585" y="825499"/>
                  </a:lnTo>
                  <a:lnTo>
                    <a:pt x="466177" y="812799"/>
                  </a:lnTo>
                  <a:lnTo>
                    <a:pt x="464967" y="800099"/>
                  </a:lnTo>
                  <a:lnTo>
                    <a:pt x="456764" y="761999"/>
                  </a:lnTo>
                  <a:lnTo>
                    <a:pt x="442184" y="723899"/>
                  </a:lnTo>
                  <a:lnTo>
                    <a:pt x="436015" y="711199"/>
                  </a:lnTo>
                  <a:lnTo>
                    <a:pt x="429230" y="698499"/>
                  </a:lnTo>
                  <a:close/>
                </a:path>
                <a:path w="1508594" h="1676400">
                  <a:moveTo>
                    <a:pt x="1468560" y="698499"/>
                  </a:moveTo>
                  <a:lnTo>
                    <a:pt x="1311777" y="698499"/>
                  </a:lnTo>
                  <a:lnTo>
                    <a:pt x="1325487" y="711199"/>
                  </a:lnTo>
                  <a:lnTo>
                    <a:pt x="1338377" y="711199"/>
                  </a:lnTo>
                  <a:lnTo>
                    <a:pt x="1350387" y="723899"/>
                  </a:lnTo>
                  <a:lnTo>
                    <a:pt x="1361455" y="723899"/>
                  </a:lnTo>
                  <a:lnTo>
                    <a:pt x="1371521" y="736599"/>
                  </a:lnTo>
                  <a:lnTo>
                    <a:pt x="1395090" y="774699"/>
                  </a:lnTo>
                  <a:lnTo>
                    <a:pt x="1407433" y="812799"/>
                  </a:lnTo>
                  <a:lnTo>
                    <a:pt x="1408767" y="825499"/>
                  </a:lnTo>
                  <a:lnTo>
                    <a:pt x="1408025" y="838199"/>
                  </a:lnTo>
                  <a:lnTo>
                    <a:pt x="1397234" y="876299"/>
                  </a:lnTo>
                  <a:lnTo>
                    <a:pt x="1375261" y="914399"/>
                  </a:lnTo>
                  <a:lnTo>
                    <a:pt x="1355454" y="939799"/>
                  </a:lnTo>
                  <a:lnTo>
                    <a:pt x="1344240" y="939799"/>
                  </a:lnTo>
                  <a:lnTo>
                    <a:pt x="1332258" y="952499"/>
                  </a:lnTo>
                  <a:lnTo>
                    <a:pt x="1306306" y="952499"/>
                  </a:lnTo>
                  <a:lnTo>
                    <a:pt x="1292494" y="965199"/>
                  </a:lnTo>
                  <a:lnTo>
                    <a:pt x="1462898" y="965199"/>
                  </a:lnTo>
                  <a:lnTo>
                    <a:pt x="1473174" y="952499"/>
                  </a:lnTo>
                  <a:lnTo>
                    <a:pt x="1482252" y="939799"/>
                  </a:lnTo>
                  <a:lnTo>
                    <a:pt x="1490080" y="914399"/>
                  </a:lnTo>
                  <a:lnTo>
                    <a:pt x="1496603" y="901699"/>
                  </a:lnTo>
                  <a:lnTo>
                    <a:pt x="1501770" y="888999"/>
                  </a:lnTo>
                  <a:lnTo>
                    <a:pt x="1505526" y="863599"/>
                  </a:lnTo>
                  <a:lnTo>
                    <a:pt x="1507818" y="850899"/>
                  </a:lnTo>
                  <a:lnTo>
                    <a:pt x="1508594" y="825499"/>
                  </a:lnTo>
                  <a:lnTo>
                    <a:pt x="1507820" y="812799"/>
                  </a:lnTo>
                  <a:lnTo>
                    <a:pt x="1505536" y="787399"/>
                  </a:lnTo>
                  <a:lnTo>
                    <a:pt x="1501803" y="774699"/>
                  </a:lnTo>
                  <a:lnTo>
                    <a:pt x="1496682" y="749299"/>
                  </a:lnTo>
                  <a:lnTo>
                    <a:pt x="1490233" y="736599"/>
                  </a:lnTo>
                  <a:lnTo>
                    <a:pt x="1482517" y="723899"/>
                  </a:lnTo>
                  <a:lnTo>
                    <a:pt x="1473594" y="711199"/>
                  </a:lnTo>
                  <a:lnTo>
                    <a:pt x="1468560" y="698499"/>
                  </a:lnTo>
                  <a:close/>
                </a:path>
                <a:path w="1508594" h="1676400">
                  <a:moveTo>
                    <a:pt x="841909" y="457199"/>
                  </a:moveTo>
                  <a:lnTo>
                    <a:pt x="708024" y="457199"/>
                  </a:lnTo>
                  <a:lnTo>
                    <a:pt x="720781" y="469899"/>
                  </a:lnTo>
                  <a:lnTo>
                    <a:pt x="829025" y="469899"/>
                  </a:lnTo>
                  <a:lnTo>
                    <a:pt x="841909" y="457199"/>
                  </a:lnTo>
                  <a:close/>
                </a:path>
                <a:path w="1508594" h="1676400">
                  <a:moveTo>
                    <a:pt x="878473" y="444499"/>
                  </a:moveTo>
                  <a:lnTo>
                    <a:pt x="671679" y="444499"/>
                  </a:lnTo>
                  <a:lnTo>
                    <a:pt x="683450" y="457199"/>
                  </a:lnTo>
                  <a:lnTo>
                    <a:pt x="866650" y="457199"/>
                  </a:lnTo>
                  <a:lnTo>
                    <a:pt x="878473" y="444499"/>
                  </a:lnTo>
                  <a:close/>
                </a:path>
                <a:path w="1508594" h="1676400">
                  <a:moveTo>
                    <a:pt x="900947" y="431799"/>
                  </a:moveTo>
                  <a:lnTo>
                    <a:pt x="649275" y="431799"/>
                  </a:lnTo>
                  <a:lnTo>
                    <a:pt x="660279" y="444499"/>
                  </a:lnTo>
                  <a:lnTo>
                    <a:pt x="889911" y="444499"/>
                  </a:lnTo>
                  <a:lnTo>
                    <a:pt x="900947" y="431799"/>
                  </a:lnTo>
                  <a:close/>
                </a:path>
                <a:path w="1508594" h="1676400">
                  <a:moveTo>
                    <a:pt x="1075536" y="380999"/>
                  </a:moveTo>
                  <a:lnTo>
                    <a:pt x="592772" y="380999"/>
                  </a:lnTo>
                  <a:lnTo>
                    <a:pt x="600945" y="393699"/>
                  </a:lnTo>
                  <a:lnTo>
                    <a:pt x="609645" y="406399"/>
                  </a:lnTo>
                  <a:lnTo>
                    <a:pt x="618850" y="406399"/>
                  </a:lnTo>
                  <a:lnTo>
                    <a:pt x="628538" y="419099"/>
                  </a:lnTo>
                  <a:lnTo>
                    <a:pt x="638687" y="431799"/>
                  </a:lnTo>
                  <a:lnTo>
                    <a:pt x="911564" y="431799"/>
                  </a:lnTo>
                  <a:lnTo>
                    <a:pt x="921747" y="419099"/>
                  </a:lnTo>
                  <a:lnTo>
                    <a:pt x="931480" y="419099"/>
                  </a:lnTo>
                  <a:lnTo>
                    <a:pt x="940746" y="406399"/>
                  </a:lnTo>
                  <a:lnTo>
                    <a:pt x="949529" y="393699"/>
                  </a:lnTo>
                  <a:lnTo>
                    <a:pt x="1085791" y="393699"/>
                  </a:lnTo>
                  <a:lnTo>
                    <a:pt x="1075536" y="380999"/>
                  </a:lnTo>
                  <a:close/>
                </a:path>
                <a:path w="1508594" h="1676400">
                  <a:moveTo>
                    <a:pt x="965555" y="101599"/>
                  </a:moveTo>
                  <a:lnTo>
                    <a:pt x="784191" y="101599"/>
                  </a:lnTo>
                  <a:lnTo>
                    <a:pt x="799354" y="114299"/>
                  </a:lnTo>
                  <a:lnTo>
                    <a:pt x="827530" y="114299"/>
                  </a:lnTo>
                  <a:lnTo>
                    <a:pt x="840420" y="126999"/>
                  </a:lnTo>
                  <a:lnTo>
                    <a:pt x="852430" y="126999"/>
                  </a:lnTo>
                  <a:lnTo>
                    <a:pt x="863498" y="139699"/>
                  </a:lnTo>
                  <a:lnTo>
                    <a:pt x="873563" y="152399"/>
                  </a:lnTo>
                  <a:lnTo>
                    <a:pt x="882565" y="152399"/>
                  </a:lnTo>
                  <a:lnTo>
                    <a:pt x="902576" y="190499"/>
                  </a:lnTo>
                  <a:lnTo>
                    <a:pt x="910813" y="228599"/>
                  </a:lnTo>
                  <a:lnTo>
                    <a:pt x="910070" y="253999"/>
                  </a:lnTo>
                  <a:lnTo>
                    <a:pt x="899280" y="292099"/>
                  </a:lnTo>
                  <a:lnTo>
                    <a:pt x="877306" y="330199"/>
                  </a:lnTo>
                  <a:lnTo>
                    <a:pt x="867866" y="342899"/>
                  </a:lnTo>
                  <a:lnTo>
                    <a:pt x="857499" y="342899"/>
                  </a:lnTo>
                  <a:lnTo>
                    <a:pt x="846285" y="355599"/>
                  </a:lnTo>
                  <a:lnTo>
                    <a:pt x="834303" y="355599"/>
                  </a:lnTo>
                  <a:lnTo>
                    <a:pt x="821632" y="368299"/>
                  </a:lnTo>
                  <a:lnTo>
                    <a:pt x="1065282" y="368299"/>
                  </a:lnTo>
                  <a:lnTo>
                    <a:pt x="1003757" y="292099"/>
                  </a:lnTo>
                  <a:lnTo>
                    <a:pt x="1006434" y="279399"/>
                  </a:lnTo>
                  <a:lnTo>
                    <a:pt x="1008501" y="266699"/>
                  </a:lnTo>
                  <a:lnTo>
                    <a:pt x="1009902" y="253999"/>
                  </a:lnTo>
                  <a:lnTo>
                    <a:pt x="1010582" y="241299"/>
                  </a:lnTo>
                  <a:lnTo>
                    <a:pt x="1009816" y="228599"/>
                  </a:lnTo>
                  <a:lnTo>
                    <a:pt x="1007539" y="203199"/>
                  </a:lnTo>
                  <a:lnTo>
                    <a:pt x="1003812" y="190499"/>
                  </a:lnTo>
                  <a:lnTo>
                    <a:pt x="998697" y="165099"/>
                  </a:lnTo>
                  <a:lnTo>
                    <a:pt x="992253" y="152399"/>
                  </a:lnTo>
                  <a:lnTo>
                    <a:pt x="984541" y="139699"/>
                  </a:lnTo>
                  <a:lnTo>
                    <a:pt x="975621" y="114299"/>
                  </a:lnTo>
                  <a:lnTo>
                    <a:pt x="965555" y="101599"/>
                  </a:lnTo>
                  <a:close/>
                </a:path>
                <a:path w="1508594" h="1676400">
                  <a:moveTo>
                    <a:pt x="851007" y="12699"/>
                  </a:moveTo>
                  <a:lnTo>
                    <a:pt x="703695" y="12699"/>
                  </a:lnTo>
                  <a:lnTo>
                    <a:pt x="686634" y="25399"/>
                  </a:lnTo>
                  <a:lnTo>
                    <a:pt x="670234" y="38099"/>
                  </a:lnTo>
                  <a:lnTo>
                    <a:pt x="884466" y="38099"/>
                  </a:lnTo>
                  <a:lnTo>
                    <a:pt x="868068" y="25399"/>
                  </a:lnTo>
                  <a:lnTo>
                    <a:pt x="851007" y="12699"/>
                  </a:lnTo>
                  <a:close/>
                </a:path>
                <a:path w="1508594" h="1676400">
                  <a:moveTo>
                    <a:pt x="777354" y="0"/>
                  </a:moveTo>
                  <a:lnTo>
                    <a:pt x="758248" y="12699"/>
                  </a:lnTo>
                  <a:lnTo>
                    <a:pt x="796458" y="12699"/>
                  </a:lnTo>
                  <a:lnTo>
                    <a:pt x="7773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grpSp>
      <p:grpSp>
        <p:nvGrpSpPr>
          <p:cNvPr id="14" name="Group 13">
            <a:extLst>
              <a:ext uri="{FF2B5EF4-FFF2-40B4-BE49-F238E27FC236}">
                <a16:creationId xmlns:a16="http://schemas.microsoft.com/office/drawing/2014/main" id="{3FE9B003-6E4F-4739-9406-ACEA343AB143}"/>
              </a:ext>
            </a:extLst>
          </p:cNvPr>
          <p:cNvGrpSpPr/>
          <p:nvPr/>
        </p:nvGrpSpPr>
        <p:grpSpPr>
          <a:xfrm>
            <a:off x="3249128" y="2927027"/>
            <a:ext cx="2499146" cy="2492901"/>
            <a:chOff x="541550" y="790321"/>
            <a:chExt cx="1280833" cy="1370683"/>
          </a:xfrm>
        </p:grpSpPr>
        <p:sp>
          <p:nvSpPr>
            <p:cNvPr id="15" name="object 24">
              <a:extLst>
                <a:ext uri="{FF2B5EF4-FFF2-40B4-BE49-F238E27FC236}">
                  <a16:creationId xmlns:a16="http://schemas.microsoft.com/office/drawing/2014/main" id="{DCE68249-B3E6-4899-8173-353CFAAEB2A3}"/>
                </a:ext>
              </a:extLst>
            </p:cNvPr>
            <p:cNvSpPr>
              <a:spLocks/>
            </p:cNvSpPr>
            <p:nvPr/>
          </p:nvSpPr>
          <p:spPr bwMode="auto">
            <a:xfrm>
              <a:off x="541550" y="790321"/>
              <a:ext cx="1280833" cy="1370683"/>
            </a:xfrm>
            <a:custGeom>
              <a:avLst/>
              <a:gdLst>
                <a:gd name="T0" fmla="*/ 2217597 w 2217597"/>
                <a:gd name="T1" fmla="*/ 0 h 2373960"/>
                <a:gd name="T2" fmla="*/ 0 w 2217597"/>
                <a:gd name="T3" fmla="*/ 0 h 2373960"/>
                <a:gd name="T4" fmla="*/ 0 w 2217597"/>
                <a:gd name="T5" fmla="*/ 2373960 h 2373960"/>
                <a:gd name="T6" fmla="*/ 1784577 w 2217597"/>
                <a:gd name="T7" fmla="*/ 2373366 h 2373960"/>
                <a:gd name="T8" fmla="*/ 1852812 w 2217597"/>
                <a:gd name="T9" fmla="*/ 2371955 h 2373960"/>
                <a:gd name="T10" fmla="*/ 1913474 w 2217597"/>
                <a:gd name="T11" fmla="*/ 2369208 h 2373960"/>
                <a:gd name="T12" fmla="*/ 1967007 w 2217597"/>
                <a:gd name="T13" fmla="*/ 2364678 h 2373960"/>
                <a:gd name="T14" fmla="*/ 2013858 w 2217597"/>
                <a:gd name="T15" fmla="*/ 2357922 h 2373960"/>
                <a:gd name="T16" fmla="*/ 2054472 w 2217597"/>
                <a:gd name="T17" fmla="*/ 2348492 h 2373960"/>
                <a:gd name="T18" fmla="*/ 2118772 w 2217597"/>
                <a:gd name="T19" fmla="*/ 2319831 h 2373960"/>
                <a:gd name="T20" fmla="*/ 2163470 w 2217597"/>
                <a:gd name="T21" fmla="*/ 2275132 h 2373960"/>
                <a:gd name="T22" fmla="*/ 2192130 w 2217597"/>
                <a:gd name="T23" fmla="*/ 2210831 h 2373960"/>
                <a:gd name="T24" fmla="*/ 2201560 w 2217597"/>
                <a:gd name="T25" fmla="*/ 2170216 h 2373960"/>
                <a:gd name="T26" fmla="*/ 2208316 w 2217597"/>
                <a:gd name="T27" fmla="*/ 2123364 h 2373960"/>
                <a:gd name="T28" fmla="*/ 2212845 w 2217597"/>
                <a:gd name="T29" fmla="*/ 2069829 h 2373960"/>
                <a:gd name="T30" fmla="*/ 2215593 w 2217597"/>
                <a:gd name="T31" fmla="*/ 2009167 h 2373960"/>
                <a:gd name="T32" fmla="*/ 2217003 w 2217597"/>
                <a:gd name="T33" fmla="*/ 1940930 h 2373960"/>
                <a:gd name="T34" fmla="*/ 2217523 w 2217597"/>
                <a:gd name="T35" fmla="*/ 1864675 h 2373960"/>
                <a:gd name="T36" fmla="*/ 2217597 w 2217597"/>
                <a:gd name="T37" fmla="*/ 0 h 2373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7597" h="2373960">
                  <a:moveTo>
                    <a:pt x="2217597" y="0"/>
                  </a:moveTo>
                  <a:lnTo>
                    <a:pt x="0" y="0"/>
                  </a:lnTo>
                  <a:lnTo>
                    <a:pt x="0" y="2373960"/>
                  </a:lnTo>
                  <a:lnTo>
                    <a:pt x="1784577" y="2373366"/>
                  </a:lnTo>
                  <a:lnTo>
                    <a:pt x="1852812" y="2371955"/>
                  </a:lnTo>
                  <a:lnTo>
                    <a:pt x="1913474" y="2369208"/>
                  </a:lnTo>
                  <a:lnTo>
                    <a:pt x="1967007" y="2364678"/>
                  </a:lnTo>
                  <a:lnTo>
                    <a:pt x="2013858" y="2357922"/>
                  </a:lnTo>
                  <a:lnTo>
                    <a:pt x="2054472" y="2348492"/>
                  </a:lnTo>
                  <a:lnTo>
                    <a:pt x="2118772" y="2319831"/>
                  </a:lnTo>
                  <a:lnTo>
                    <a:pt x="2163470" y="2275132"/>
                  </a:lnTo>
                  <a:lnTo>
                    <a:pt x="2192130" y="2210831"/>
                  </a:lnTo>
                  <a:lnTo>
                    <a:pt x="2201560" y="2170216"/>
                  </a:lnTo>
                  <a:lnTo>
                    <a:pt x="2208316" y="2123364"/>
                  </a:lnTo>
                  <a:lnTo>
                    <a:pt x="2212845" y="2069829"/>
                  </a:lnTo>
                  <a:lnTo>
                    <a:pt x="2215593" y="2009167"/>
                  </a:lnTo>
                  <a:lnTo>
                    <a:pt x="2217003" y="1940930"/>
                  </a:lnTo>
                  <a:lnTo>
                    <a:pt x="2217523" y="1864675"/>
                  </a:lnTo>
                  <a:lnTo>
                    <a:pt x="2217597"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528066" eaLnBrk="0" fontAlgn="base" hangingPunct="0">
                <a:spcBef>
                  <a:spcPct val="0"/>
                </a:spcBef>
                <a:spcAft>
                  <a:spcPct val="0"/>
                </a:spcAft>
              </a:pPr>
              <a:endParaRPr lang="en-US">
                <a:solidFill>
                  <a:srgbClr val="000000"/>
                </a:solidFill>
                <a:latin typeface="Gill Sans MT" panose="020B0502020104020203" pitchFamily="34" charset="0"/>
                <a:cs typeface="Arial" panose="020B0604020202020204" pitchFamily="34" charset="0"/>
              </a:endParaRPr>
            </a:p>
          </p:txBody>
        </p:sp>
        <p:sp>
          <p:nvSpPr>
            <p:cNvPr id="16" name="object 25">
              <a:extLst>
                <a:ext uri="{FF2B5EF4-FFF2-40B4-BE49-F238E27FC236}">
                  <a16:creationId xmlns:a16="http://schemas.microsoft.com/office/drawing/2014/main" id="{8E54BBB7-4507-4E74-9455-E55910217ADF}"/>
                </a:ext>
              </a:extLst>
            </p:cNvPr>
            <p:cNvSpPr txBox="1"/>
            <p:nvPr/>
          </p:nvSpPr>
          <p:spPr>
            <a:xfrm>
              <a:off x="633580" y="1607229"/>
              <a:ext cx="1101492" cy="355736"/>
            </a:xfrm>
            <a:prstGeom prst="rect">
              <a:avLst/>
            </a:prstGeom>
          </p:spPr>
          <p:txBody>
            <a:bodyPr lIns="0" tIns="0" rIns="0" bIns="0"/>
            <a:lstStyle/>
            <a:p>
              <a:pPr marL="7334" defTabSz="528066">
                <a:defRPr/>
              </a:pPr>
              <a:r>
                <a:rPr lang="en-US" sz="3200" b="1" dirty="0" err="1">
                  <a:solidFill>
                    <a:srgbClr val="FFFFFF"/>
                  </a:solidFill>
                  <a:latin typeface="Gill Sans"/>
                  <a:cs typeface="Gill Sans"/>
                </a:rPr>
                <a:t>နားထောင်ပ</a:t>
              </a:r>
              <a:r>
                <a:rPr lang="en-US" sz="3200" b="1" dirty="0">
                  <a:solidFill>
                    <a:srgbClr val="FFFFFF"/>
                  </a:solidFill>
                  <a:latin typeface="Gill Sans"/>
                  <a:cs typeface="Gill Sans"/>
                </a:rPr>
                <a:t>ါ</a:t>
              </a:r>
              <a:endParaRPr sz="3200" dirty="0">
                <a:solidFill>
                  <a:srgbClr val="000000"/>
                </a:solidFill>
                <a:latin typeface="Gill Sans"/>
                <a:cs typeface="Gill Sans"/>
              </a:endParaRPr>
            </a:p>
          </p:txBody>
        </p:sp>
        <p:sp>
          <p:nvSpPr>
            <p:cNvPr id="17" name="object 27">
              <a:extLst>
                <a:ext uri="{FF2B5EF4-FFF2-40B4-BE49-F238E27FC236}">
                  <a16:creationId xmlns:a16="http://schemas.microsoft.com/office/drawing/2014/main" id="{5D5E90CC-6E6B-4A28-BDA1-12FFA8A7E969}"/>
                </a:ext>
              </a:extLst>
            </p:cNvPr>
            <p:cNvSpPr>
              <a:spLocks/>
            </p:cNvSpPr>
            <p:nvPr/>
          </p:nvSpPr>
          <p:spPr bwMode="auto">
            <a:xfrm>
              <a:off x="961465" y="934265"/>
              <a:ext cx="339233" cy="522602"/>
            </a:xfrm>
            <a:custGeom>
              <a:avLst/>
              <a:gdLst>
                <a:gd name="T0" fmla="*/ 25037 w 588121"/>
                <a:gd name="T1" fmla="*/ 651246 h 904763"/>
                <a:gd name="T2" fmla="*/ 39 w 588121"/>
                <a:gd name="T3" fmla="*/ 737359 h 904763"/>
                <a:gd name="T4" fmla="*/ 226 w 588121"/>
                <a:gd name="T5" fmla="*/ 753721 h 904763"/>
                <a:gd name="T6" fmla="*/ 23455 w 588121"/>
                <a:gd name="T7" fmla="*/ 829713 h 904763"/>
                <a:gd name="T8" fmla="*/ 81141 w 588121"/>
                <a:gd name="T9" fmla="*/ 884092 h 904763"/>
                <a:gd name="T10" fmla="*/ 170337 w 588121"/>
                <a:gd name="T11" fmla="*/ 904763 h 904763"/>
                <a:gd name="T12" fmla="*/ 235627 w 588121"/>
                <a:gd name="T13" fmla="*/ 886010 h 904763"/>
                <a:gd name="T14" fmla="*/ 271899 w 588121"/>
                <a:gd name="T15" fmla="*/ 852281 h 904763"/>
                <a:gd name="T16" fmla="*/ 142431 w 588121"/>
                <a:gd name="T17" fmla="*/ 850650 h 904763"/>
                <a:gd name="T18" fmla="*/ 77464 w 588121"/>
                <a:gd name="T19" fmla="*/ 812008 h 904763"/>
                <a:gd name="T20" fmla="*/ 49489 w 588121"/>
                <a:gd name="T21" fmla="*/ 746670 h 904763"/>
                <a:gd name="T22" fmla="*/ 68819 w 588121"/>
                <a:gd name="T23" fmla="*/ 696304 h 904763"/>
                <a:gd name="T24" fmla="*/ 77373 w 588121"/>
                <a:gd name="T25" fmla="*/ 681600 h 904763"/>
                <a:gd name="T26" fmla="*/ 83841 w 588121"/>
                <a:gd name="T27" fmla="*/ 667328 h 904763"/>
                <a:gd name="T28" fmla="*/ 86339 w 588121"/>
                <a:gd name="T29" fmla="*/ 653126 h 904763"/>
                <a:gd name="T30" fmla="*/ 82982 w 588121"/>
                <a:gd name="T31" fmla="*/ 638627 h 904763"/>
                <a:gd name="T32" fmla="*/ 72321 w 588121"/>
                <a:gd name="T33" fmla="*/ 626220 h 904763"/>
                <a:gd name="T34" fmla="*/ 58914 w 588121"/>
                <a:gd name="T35" fmla="*/ 623560 h 904763"/>
                <a:gd name="T36" fmla="*/ 311884 w 588121"/>
                <a:gd name="T37" fmla="*/ 69997 h 904763"/>
                <a:gd name="T38" fmla="*/ 355939 w 588121"/>
                <a:gd name="T39" fmla="*/ 74522 h 904763"/>
                <a:gd name="T40" fmla="*/ 442815 w 588121"/>
                <a:gd name="T41" fmla="*/ 113620 h 904763"/>
                <a:gd name="T42" fmla="*/ 504205 w 588121"/>
                <a:gd name="T43" fmla="*/ 200183 h 904763"/>
                <a:gd name="T44" fmla="*/ 520676 w 588121"/>
                <a:gd name="T45" fmla="*/ 292282 h 904763"/>
                <a:gd name="T46" fmla="*/ 512403 w 588121"/>
                <a:gd name="T47" fmla="*/ 361500 h 904763"/>
                <a:gd name="T48" fmla="*/ 471246 w 588121"/>
                <a:gd name="T49" fmla="*/ 457380 h 904763"/>
                <a:gd name="T50" fmla="*/ 410099 w 588121"/>
                <a:gd name="T51" fmla="*/ 545243 h 904763"/>
                <a:gd name="T52" fmla="*/ 330978 w 588121"/>
                <a:gd name="T53" fmla="*/ 637671 h 904763"/>
                <a:gd name="T54" fmla="*/ 285869 w 588121"/>
                <a:gd name="T55" fmla="*/ 692791 h 904763"/>
                <a:gd name="T56" fmla="*/ 261794 w 588121"/>
                <a:gd name="T57" fmla="*/ 759834 h 904763"/>
                <a:gd name="T58" fmla="*/ 217839 w 588121"/>
                <a:gd name="T59" fmla="*/ 832532 h 904763"/>
                <a:gd name="T60" fmla="*/ 156135 w 588121"/>
                <a:gd name="T61" fmla="*/ 852281 h 904763"/>
                <a:gd name="T62" fmla="*/ 292256 w 588121"/>
                <a:gd name="T63" fmla="*/ 818496 h 904763"/>
                <a:gd name="T64" fmla="*/ 320736 w 588121"/>
                <a:gd name="T65" fmla="*/ 724913 h 904763"/>
                <a:gd name="T66" fmla="*/ 345937 w 588121"/>
                <a:gd name="T67" fmla="*/ 680529 h 904763"/>
                <a:gd name="T68" fmla="*/ 420024 w 588121"/>
                <a:gd name="T69" fmla="*/ 605126 h 904763"/>
                <a:gd name="T70" fmla="*/ 464248 w 588121"/>
                <a:gd name="T71" fmla="*/ 560270 h 904763"/>
                <a:gd name="T72" fmla="*/ 519916 w 588121"/>
                <a:gd name="T73" fmla="*/ 494855 h 904763"/>
                <a:gd name="T74" fmla="*/ 563113 w 588121"/>
                <a:gd name="T75" fmla="*/ 420553 h 904763"/>
                <a:gd name="T76" fmla="*/ 586995 w 588121"/>
                <a:gd name="T77" fmla="*/ 315666 h 904763"/>
                <a:gd name="T78" fmla="*/ 587100 w 588121"/>
                <a:gd name="T79" fmla="*/ 257905 h 904763"/>
                <a:gd name="T80" fmla="*/ 558236 w 588121"/>
                <a:gd name="T81" fmla="*/ 144959 h 904763"/>
                <a:gd name="T82" fmla="*/ 506900 w 588121"/>
                <a:gd name="T83" fmla="*/ 72909 h 904763"/>
                <a:gd name="T84" fmla="*/ 312091 w 588121"/>
                <a:gd name="T85" fmla="*/ 0 h 904763"/>
                <a:gd name="T86" fmla="*/ 219636 w 588121"/>
                <a:gd name="T87" fmla="*/ 12370 h 904763"/>
                <a:gd name="T88" fmla="*/ 137752 w 588121"/>
                <a:gd name="T89" fmla="*/ 59023 h 904763"/>
                <a:gd name="T90" fmla="*/ 82668 w 588121"/>
                <a:gd name="T91" fmla="*/ 125500 h 904763"/>
                <a:gd name="T92" fmla="*/ 48062 w 588121"/>
                <a:gd name="T93" fmla="*/ 208452 h 904763"/>
                <a:gd name="T94" fmla="*/ 40792 w 588121"/>
                <a:gd name="T95" fmla="*/ 270941 h 904763"/>
                <a:gd name="T96" fmla="*/ 44311 w 588121"/>
                <a:gd name="T97" fmla="*/ 328775 h 904763"/>
                <a:gd name="T98" fmla="*/ 74900 w 588121"/>
                <a:gd name="T99" fmla="*/ 388478 h 904763"/>
                <a:gd name="T100" fmla="*/ 92076 w 588121"/>
                <a:gd name="T101" fmla="*/ 336326 h 904763"/>
                <a:gd name="T102" fmla="*/ 90817 w 588121"/>
                <a:gd name="T103" fmla="*/ 305421 h 904763"/>
                <a:gd name="T104" fmla="*/ 102663 w 588121"/>
                <a:gd name="T105" fmla="*/ 214458 h 904763"/>
                <a:gd name="T106" fmla="*/ 142640 w 588121"/>
                <a:gd name="T107" fmla="*/ 138007 h 904763"/>
                <a:gd name="T108" fmla="*/ 225604 w 588121"/>
                <a:gd name="T109" fmla="*/ 81887 h 904763"/>
                <a:gd name="T110" fmla="*/ 311884 w 588121"/>
                <a:gd name="T111" fmla="*/ 69997 h 904763"/>
                <a:gd name="T112" fmla="*/ 483412 w 588121"/>
                <a:gd name="T113" fmla="*/ 53064 h 904763"/>
                <a:gd name="T114" fmla="*/ 426066 w 588121"/>
                <a:gd name="T115" fmla="*/ 21616 h 904763"/>
                <a:gd name="T116" fmla="*/ 353990 w 588121"/>
                <a:gd name="T117" fmla="*/ 3357 h 904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528066" eaLnBrk="0" fontAlgn="base" hangingPunct="0">
                <a:spcBef>
                  <a:spcPct val="0"/>
                </a:spcBef>
                <a:spcAft>
                  <a:spcPct val="0"/>
                </a:spcAft>
              </a:pPr>
              <a:endParaRPr lang="en-US">
                <a:solidFill>
                  <a:srgbClr val="000000"/>
                </a:solidFill>
                <a:latin typeface="Gill Sans MT" panose="020B0502020104020203" pitchFamily="34" charset="0"/>
                <a:cs typeface="Arial" panose="020B0604020202020204" pitchFamily="34" charset="0"/>
              </a:endParaRPr>
            </a:p>
          </p:txBody>
        </p:sp>
        <p:sp>
          <p:nvSpPr>
            <p:cNvPr id="18" name="object 28">
              <a:extLst>
                <a:ext uri="{FF2B5EF4-FFF2-40B4-BE49-F238E27FC236}">
                  <a16:creationId xmlns:a16="http://schemas.microsoft.com/office/drawing/2014/main" id="{B53E388B-4DB5-4536-8392-41F3EE0F4394}"/>
                </a:ext>
              </a:extLst>
            </p:cNvPr>
            <p:cNvSpPr>
              <a:spLocks/>
            </p:cNvSpPr>
            <p:nvPr/>
          </p:nvSpPr>
          <p:spPr bwMode="auto">
            <a:xfrm>
              <a:off x="1032062" y="1003946"/>
              <a:ext cx="182452" cy="297974"/>
            </a:xfrm>
            <a:custGeom>
              <a:avLst/>
              <a:gdLst>
                <a:gd name="T0" fmla="*/ 116302 w 316928"/>
                <a:gd name="T1" fmla="*/ 6558 h 516362"/>
                <a:gd name="T2" fmla="*/ 40650 w 316928"/>
                <a:gd name="T3" fmla="*/ 59292 h 516362"/>
                <a:gd name="T4" fmla="*/ 5735 w 316928"/>
                <a:gd name="T5" fmla="*/ 153385 h 516362"/>
                <a:gd name="T6" fmla="*/ 6850 w 316928"/>
                <a:gd name="T7" fmla="*/ 183410 h 516362"/>
                <a:gd name="T8" fmla="*/ 50383 w 316928"/>
                <a:gd name="T9" fmla="*/ 256760 h 516362"/>
                <a:gd name="T10" fmla="*/ 75399 w 316928"/>
                <a:gd name="T11" fmla="*/ 301663 h 516362"/>
                <a:gd name="T12" fmla="*/ 56504 w 316928"/>
                <a:gd name="T13" fmla="*/ 354950 h 516362"/>
                <a:gd name="T14" fmla="*/ 21746 w 316928"/>
                <a:gd name="T15" fmla="*/ 396796 h 516362"/>
                <a:gd name="T16" fmla="*/ 0 w 316928"/>
                <a:gd name="T17" fmla="*/ 457668 h 516362"/>
                <a:gd name="T18" fmla="*/ 23904 w 316928"/>
                <a:gd name="T19" fmla="*/ 505926 h 516362"/>
                <a:gd name="T20" fmla="*/ 66855 w 316928"/>
                <a:gd name="T21" fmla="*/ 516148 h 516362"/>
                <a:gd name="T22" fmla="*/ 135018 w 316928"/>
                <a:gd name="T23" fmla="*/ 472237 h 516362"/>
                <a:gd name="T24" fmla="*/ 173394 w 316928"/>
                <a:gd name="T25" fmla="*/ 391952 h 516362"/>
                <a:gd name="T26" fmla="*/ 181435 w 316928"/>
                <a:gd name="T27" fmla="*/ 329399 h 516362"/>
                <a:gd name="T28" fmla="*/ 164823 w 316928"/>
                <a:gd name="T29" fmla="*/ 280356 h 516362"/>
                <a:gd name="T30" fmla="*/ 113805 w 316928"/>
                <a:gd name="T31" fmla="*/ 221310 h 516362"/>
                <a:gd name="T32" fmla="*/ 77246 w 316928"/>
                <a:gd name="T33" fmla="*/ 175233 h 516362"/>
                <a:gd name="T34" fmla="*/ 72350 w 316928"/>
                <a:gd name="T35" fmla="*/ 130695 h 516362"/>
                <a:gd name="T36" fmla="*/ 123508 w 316928"/>
                <a:gd name="T37" fmla="*/ 62141 h 516362"/>
                <a:gd name="T38" fmla="*/ 270522 w 316928"/>
                <a:gd name="T39" fmla="*/ 43427 h 516362"/>
                <a:gd name="T40" fmla="*/ 178968 w 316928"/>
                <a:gd name="T41" fmla="*/ 1160 h 516362"/>
                <a:gd name="T42" fmla="*/ 279719 w 316928"/>
                <a:gd name="T43" fmla="*/ 52434 h 516362"/>
                <a:gd name="T44" fmla="*/ 185681 w 316928"/>
                <a:gd name="T45" fmla="*/ 54007 h 516362"/>
                <a:gd name="T46" fmla="*/ 235994 w 316928"/>
                <a:gd name="T47" fmla="*/ 83205 h 516362"/>
                <a:gd name="T48" fmla="*/ 272545 w 316928"/>
                <a:gd name="T49" fmla="*/ 169243 h 516362"/>
                <a:gd name="T50" fmla="*/ 271587 w 316928"/>
                <a:gd name="T51" fmla="*/ 196507 h 516362"/>
                <a:gd name="T52" fmla="*/ 241764 w 316928"/>
                <a:gd name="T53" fmla="*/ 271203 h 516362"/>
                <a:gd name="T54" fmla="*/ 233594 w 316928"/>
                <a:gd name="T55" fmla="*/ 291147 h 516362"/>
                <a:gd name="T56" fmla="*/ 236431 w 316928"/>
                <a:gd name="T57" fmla="*/ 305369 h 516362"/>
                <a:gd name="T58" fmla="*/ 247970 w 316928"/>
                <a:gd name="T59" fmla="*/ 309990 h 516362"/>
                <a:gd name="T60" fmla="*/ 284064 w 316928"/>
                <a:gd name="T61" fmla="*/ 276912 h 516362"/>
                <a:gd name="T62" fmla="*/ 313905 w 316928"/>
                <a:gd name="T63" fmla="*/ 193989 h 516362"/>
                <a:gd name="T64" fmla="*/ 316454 w 316928"/>
                <a:gd name="T65" fmla="*/ 140912 h 516362"/>
                <a:gd name="T66" fmla="*/ 287917 w 316928"/>
                <a:gd name="T67" fmla="*/ 62043 h 516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528066" eaLnBrk="0" fontAlgn="base" hangingPunct="0">
                <a:spcBef>
                  <a:spcPct val="0"/>
                </a:spcBef>
                <a:spcAft>
                  <a:spcPct val="0"/>
                </a:spcAft>
              </a:pPr>
              <a:endParaRPr lang="en-US">
                <a:solidFill>
                  <a:srgbClr val="000000"/>
                </a:solidFill>
                <a:latin typeface="Gill Sans MT" panose="020B0502020104020203" pitchFamily="34" charset="0"/>
                <a:cs typeface="Arial" panose="020B0604020202020204" pitchFamily="34" charset="0"/>
              </a:endParaRPr>
            </a:p>
          </p:txBody>
        </p:sp>
        <p:sp>
          <p:nvSpPr>
            <p:cNvPr id="19" name="object 29">
              <a:extLst>
                <a:ext uri="{FF2B5EF4-FFF2-40B4-BE49-F238E27FC236}">
                  <a16:creationId xmlns:a16="http://schemas.microsoft.com/office/drawing/2014/main" id="{7DDDB4BC-BD9C-43E9-9315-E64B7DB6554E}"/>
                </a:ext>
              </a:extLst>
            </p:cNvPr>
            <p:cNvSpPr>
              <a:spLocks/>
            </p:cNvSpPr>
            <p:nvPr/>
          </p:nvSpPr>
          <p:spPr bwMode="auto">
            <a:xfrm>
              <a:off x="1319952" y="940683"/>
              <a:ext cx="148529" cy="67847"/>
            </a:xfrm>
            <a:custGeom>
              <a:avLst/>
              <a:gdLst>
                <a:gd name="T0" fmla="*/ 242299 w 257462"/>
                <a:gd name="T1" fmla="*/ 0 h 117510"/>
                <a:gd name="T2" fmla="*/ 229923 w 257462"/>
                <a:gd name="T3" fmla="*/ 606 h 117510"/>
                <a:gd name="T4" fmla="*/ 5264 w 257462"/>
                <a:gd name="T5" fmla="*/ 79689 h 117510"/>
                <a:gd name="T6" fmla="*/ 0 w 257462"/>
                <a:gd name="T7" fmla="*/ 90374 h 117510"/>
                <a:gd name="T8" fmla="*/ 950 w 257462"/>
                <a:gd name="T9" fmla="*/ 103161 h 117510"/>
                <a:gd name="T10" fmla="*/ 9370 w 257462"/>
                <a:gd name="T11" fmla="*/ 113649 h 117510"/>
                <a:gd name="T12" fmla="*/ 21999 w 257462"/>
                <a:gd name="T13" fmla="*/ 117510 h 117510"/>
                <a:gd name="T14" fmla="*/ 24412 w 257462"/>
                <a:gd name="T15" fmla="*/ 117510 h 117510"/>
                <a:gd name="T16" fmla="*/ 26850 w 257462"/>
                <a:gd name="T17" fmla="*/ 117116 h 117510"/>
                <a:gd name="T18" fmla="*/ 250449 w 257462"/>
                <a:gd name="T19" fmla="*/ 40281 h 117510"/>
                <a:gd name="T20" fmla="*/ 256229 w 257462"/>
                <a:gd name="T21" fmla="*/ 32460 h 117510"/>
                <a:gd name="T22" fmla="*/ 257462 w 257462"/>
                <a:gd name="T23" fmla="*/ 20918 h 117510"/>
                <a:gd name="T24" fmla="*/ 252890 w 257462"/>
                <a:gd name="T25" fmla="*/ 5755 h 117510"/>
                <a:gd name="T26" fmla="*/ 242299 w 257462"/>
                <a:gd name="T27" fmla="*/ 0 h 117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528066" eaLnBrk="0" fontAlgn="base" hangingPunct="0">
                <a:spcBef>
                  <a:spcPct val="0"/>
                </a:spcBef>
                <a:spcAft>
                  <a:spcPct val="0"/>
                </a:spcAft>
              </a:pPr>
              <a:endParaRPr lang="en-US">
                <a:solidFill>
                  <a:srgbClr val="000000"/>
                </a:solidFill>
                <a:latin typeface="Gill Sans MT" panose="020B0502020104020203" pitchFamily="34" charset="0"/>
                <a:cs typeface="Arial" panose="020B0604020202020204" pitchFamily="34" charset="0"/>
              </a:endParaRPr>
            </a:p>
          </p:txBody>
        </p:sp>
        <p:sp>
          <p:nvSpPr>
            <p:cNvPr id="20" name="object 30">
              <a:extLst>
                <a:ext uri="{FF2B5EF4-FFF2-40B4-BE49-F238E27FC236}">
                  <a16:creationId xmlns:a16="http://schemas.microsoft.com/office/drawing/2014/main" id="{CDA2A5E8-345B-4905-9BA3-8DE2E1AD7B14}"/>
                </a:ext>
              </a:extLst>
            </p:cNvPr>
            <p:cNvSpPr>
              <a:spLocks/>
            </p:cNvSpPr>
            <p:nvPr/>
          </p:nvSpPr>
          <p:spPr bwMode="auto">
            <a:xfrm>
              <a:off x="1329120" y="1107549"/>
              <a:ext cx="155864" cy="32090"/>
            </a:xfrm>
            <a:custGeom>
              <a:avLst/>
              <a:gdLst>
                <a:gd name="T0" fmla="*/ 21684 w 269961"/>
                <a:gd name="T1" fmla="*/ 0 h 55455"/>
                <a:gd name="T2" fmla="*/ 10604 w 269961"/>
                <a:gd name="T3" fmla="*/ 3125 h 55455"/>
                <a:gd name="T4" fmla="*/ 2724 w 269961"/>
                <a:gd name="T5" fmla="*/ 12997 h 55455"/>
                <a:gd name="T6" fmla="*/ 0 w 269961"/>
                <a:gd name="T7" fmla="*/ 29649 h 55455"/>
                <a:gd name="T8" fmla="*/ 7686 w 269961"/>
                <a:gd name="T9" fmla="*/ 40539 h 55455"/>
                <a:gd name="T10" fmla="*/ 20500 w 269961"/>
                <a:gd name="T11" fmla="*/ 45232 h 55455"/>
                <a:gd name="T12" fmla="*/ 247437 w 269961"/>
                <a:gd name="T13" fmla="*/ 55430 h 55455"/>
                <a:gd name="T14" fmla="*/ 248465 w 269961"/>
                <a:gd name="T15" fmla="*/ 55455 h 55455"/>
                <a:gd name="T16" fmla="*/ 259063 w 269961"/>
                <a:gd name="T17" fmla="*/ 52535 h 55455"/>
                <a:gd name="T18" fmla="*/ 267175 w 269961"/>
                <a:gd name="T19" fmla="*/ 42754 h 55455"/>
                <a:gd name="T20" fmla="*/ 269961 w 269961"/>
                <a:gd name="T21" fmla="*/ 25807 h 55455"/>
                <a:gd name="T22" fmla="*/ 262280 w 269961"/>
                <a:gd name="T23" fmla="*/ 14922 h 55455"/>
                <a:gd name="T24" fmla="*/ 249469 w 269961"/>
                <a:gd name="T25" fmla="*/ 10231 h 55455"/>
                <a:gd name="T26" fmla="*/ 21684 w 269961"/>
                <a:gd name="T27" fmla="*/ 0 h 55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528066" eaLnBrk="0" fontAlgn="base" hangingPunct="0">
                <a:spcBef>
                  <a:spcPct val="0"/>
                </a:spcBef>
                <a:spcAft>
                  <a:spcPct val="0"/>
                </a:spcAft>
              </a:pPr>
              <a:endParaRPr lang="en-US">
                <a:solidFill>
                  <a:srgbClr val="000000"/>
                </a:solidFill>
                <a:latin typeface="Gill Sans MT" panose="020B0502020104020203" pitchFamily="34" charset="0"/>
                <a:cs typeface="Arial" panose="020B0604020202020204" pitchFamily="34" charset="0"/>
              </a:endParaRPr>
            </a:p>
          </p:txBody>
        </p:sp>
        <p:sp>
          <p:nvSpPr>
            <p:cNvPr id="21" name="object 31">
              <a:extLst>
                <a:ext uri="{FF2B5EF4-FFF2-40B4-BE49-F238E27FC236}">
                  <a16:creationId xmlns:a16="http://schemas.microsoft.com/office/drawing/2014/main" id="{F2121E1E-18EA-4D57-92CA-660A6F098AE7}"/>
                </a:ext>
              </a:extLst>
            </p:cNvPr>
            <p:cNvSpPr>
              <a:spLocks/>
            </p:cNvSpPr>
            <p:nvPr/>
          </p:nvSpPr>
          <p:spPr bwMode="auto">
            <a:xfrm>
              <a:off x="1287862" y="1227656"/>
              <a:ext cx="137527" cy="94435"/>
            </a:xfrm>
            <a:custGeom>
              <a:avLst/>
              <a:gdLst>
                <a:gd name="T0" fmla="*/ 28484 w 237860"/>
                <a:gd name="T1" fmla="*/ 0 h 164749"/>
                <a:gd name="T2" fmla="*/ 18713 w 237860"/>
                <a:gd name="T3" fmla="*/ 454 h 164749"/>
                <a:gd name="T4" fmla="*/ 8922 w 237860"/>
                <a:gd name="T5" fmla="*/ 6983 h 164749"/>
                <a:gd name="T6" fmla="*/ 0 w 237860"/>
                <a:gd name="T7" fmla="*/ 20598 h 164749"/>
                <a:gd name="T8" fmla="*/ 2448 w 237860"/>
                <a:gd name="T9" fmla="*/ 32066 h 164749"/>
                <a:gd name="T10" fmla="*/ 10620 w 237860"/>
                <a:gd name="T11" fmla="*/ 40962 h 164749"/>
                <a:gd name="T12" fmla="*/ 207000 w 237860"/>
                <a:gd name="T13" fmla="*/ 163644 h 164749"/>
                <a:gd name="T14" fmla="*/ 211153 w 237860"/>
                <a:gd name="T15" fmla="*/ 164749 h 164749"/>
                <a:gd name="T16" fmla="*/ 215242 w 237860"/>
                <a:gd name="T17" fmla="*/ 164749 h 164749"/>
                <a:gd name="T18" fmla="*/ 219418 w 237860"/>
                <a:gd name="T19" fmla="*/ 164298 h 164749"/>
                <a:gd name="T20" fmla="*/ 228579 w 237860"/>
                <a:gd name="T21" fmla="*/ 158673 h 164749"/>
                <a:gd name="T22" fmla="*/ 237860 w 237860"/>
                <a:gd name="T23" fmla="*/ 143301 h 164749"/>
                <a:gd name="T24" fmla="*/ 235414 w 237860"/>
                <a:gd name="T25" fmla="*/ 131835 h 164749"/>
                <a:gd name="T26" fmla="*/ 227244 w 237860"/>
                <a:gd name="T27" fmla="*/ 122941 h 164749"/>
                <a:gd name="T28" fmla="*/ 28484 w 237860"/>
                <a:gd name="T29" fmla="*/ 0 h 164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defTabSz="528066" eaLnBrk="0" fontAlgn="base" hangingPunct="0">
                <a:spcBef>
                  <a:spcPct val="0"/>
                </a:spcBef>
                <a:spcAft>
                  <a:spcPct val="0"/>
                </a:spcAft>
              </a:pPr>
              <a:endParaRPr lang="en-US">
                <a:solidFill>
                  <a:srgbClr val="000000"/>
                </a:solidFill>
                <a:latin typeface="Gill Sans MT" panose="020B0502020104020203" pitchFamily="34" charset="0"/>
                <a:cs typeface="Arial" panose="020B0604020202020204" pitchFamily="34" charset="0"/>
              </a:endParaRPr>
            </a:p>
          </p:txBody>
        </p:sp>
      </p:grpSp>
      <p:sp>
        <p:nvSpPr>
          <p:cNvPr id="22" name="object 6">
            <a:extLst>
              <a:ext uri="{FF2B5EF4-FFF2-40B4-BE49-F238E27FC236}">
                <a16:creationId xmlns:a16="http://schemas.microsoft.com/office/drawing/2014/main" id="{77E8FFB7-5D1E-4A71-B600-B16D3355B66D}"/>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 name="object 7">
            <a:extLst>
              <a:ext uri="{FF2B5EF4-FFF2-40B4-BE49-F238E27FC236}">
                <a16:creationId xmlns:a16="http://schemas.microsoft.com/office/drawing/2014/main" id="{96E841B4-9571-4C4B-B750-0A93028CA730}"/>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0</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30072667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object 2">
            <a:extLst>
              <a:ext uri="{FF2B5EF4-FFF2-40B4-BE49-F238E27FC236}">
                <a16:creationId xmlns:a16="http://schemas.microsoft.com/office/drawing/2014/main" id="{634A40BB-3FD8-40FA-91B6-56328C36A930}"/>
              </a:ext>
            </a:extLst>
          </p:cNvPr>
          <p:cNvSpPr>
            <a:spLocks/>
          </p:cNvSpPr>
          <p:nvPr/>
        </p:nvSpPr>
        <p:spPr bwMode="auto">
          <a:xfrm>
            <a:off x="2445" y="5795377"/>
            <a:ext cx="9140027" cy="118273"/>
          </a:xfrm>
          <a:custGeom>
            <a:avLst/>
            <a:gdLst>
              <a:gd name="T0" fmla="*/ 0 w 15825596"/>
              <a:gd name="T1" fmla="*/ 0 h 204177"/>
              <a:gd name="T2" fmla="*/ 0 w 15825596"/>
              <a:gd name="T3" fmla="*/ 209733 h 204177"/>
              <a:gd name="T4" fmla="*/ 15827324 w 15825596"/>
              <a:gd name="T5" fmla="*/ 209733 h 204177"/>
              <a:gd name="T6" fmla="*/ 15827324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1747" name="object 3">
            <a:extLst>
              <a:ext uri="{FF2B5EF4-FFF2-40B4-BE49-F238E27FC236}">
                <a16:creationId xmlns:a16="http://schemas.microsoft.com/office/drawing/2014/main" id="{533020A0-28D1-47AA-AE61-0C87F8C97268}"/>
              </a:ext>
            </a:extLst>
          </p:cNvPr>
          <p:cNvSpPr>
            <a:spLocks/>
          </p:cNvSpPr>
          <p:nvPr/>
        </p:nvSpPr>
        <p:spPr bwMode="auto">
          <a:xfrm>
            <a:off x="2445" y="5603756"/>
            <a:ext cx="1435779" cy="191621"/>
          </a:xfrm>
          <a:custGeom>
            <a:avLst/>
            <a:gdLst>
              <a:gd name="T0" fmla="*/ 0 w 2486525"/>
              <a:gd name="T1" fmla="*/ 325066 h 332638"/>
              <a:gd name="T2" fmla="*/ 2434591 w 2486525"/>
              <a:gd name="T3" fmla="*/ 325066 h 332638"/>
              <a:gd name="T4" fmla="*/ 2456721 w 2486525"/>
              <a:gd name="T5" fmla="*/ 324752 h 332638"/>
              <a:gd name="T6" fmla="*/ 2482021 w 2486525"/>
              <a:gd name="T7" fmla="*/ 285895 h 332638"/>
              <a:gd name="T8" fmla="*/ 2482029 w 2486525"/>
              <a:gd name="T9" fmla="*/ 46441 h 332638"/>
              <a:gd name="T10" fmla="*/ 2481708 w 2486525"/>
              <a:gd name="T11" fmla="*/ 24775 h 332638"/>
              <a:gd name="T12" fmla="*/ 2442018 w 2486525"/>
              <a:gd name="T13" fmla="*/ 7 h 332638"/>
              <a:gd name="T14" fmla="*/ 0 w 2486525"/>
              <a:gd name="T15" fmla="*/ 0 h 332638"/>
              <a:gd name="T16" fmla="*/ 0 w 2486525"/>
              <a:gd name="T17" fmla="*/ 325066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1748" name="object 4">
            <a:extLst>
              <a:ext uri="{FF2B5EF4-FFF2-40B4-BE49-F238E27FC236}">
                <a16:creationId xmlns:a16="http://schemas.microsoft.com/office/drawing/2014/main" id="{4D6A32FB-BC62-4BB9-9D7F-8EF642046659}"/>
              </a:ext>
            </a:extLst>
          </p:cNvPr>
          <p:cNvSpPr>
            <a:spLocks/>
          </p:cNvSpPr>
          <p:nvPr/>
        </p:nvSpPr>
        <p:spPr bwMode="auto">
          <a:xfrm>
            <a:off x="2445" y="0"/>
            <a:ext cx="9140027" cy="118273"/>
          </a:xfrm>
          <a:custGeom>
            <a:avLst/>
            <a:gdLst>
              <a:gd name="T0" fmla="*/ 0 w 15825596"/>
              <a:gd name="T1" fmla="*/ 209743 h 204177"/>
              <a:gd name="T2" fmla="*/ 15827324 w 15825596"/>
              <a:gd name="T3" fmla="*/ 209743 h 204177"/>
              <a:gd name="T4" fmla="*/ 15827324 w 15825596"/>
              <a:gd name="T5" fmla="*/ 0 h 204177"/>
              <a:gd name="T6" fmla="*/ 0 w 15825596"/>
              <a:gd name="T7" fmla="*/ 0 h 204177"/>
              <a:gd name="T8" fmla="*/ 0 w 15825596"/>
              <a:gd name="T9" fmla="*/ 20974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005286"/>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1749" name="object 5">
            <a:extLst>
              <a:ext uri="{FF2B5EF4-FFF2-40B4-BE49-F238E27FC236}">
                <a16:creationId xmlns:a16="http://schemas.microsoft.com/office/drawing/2014/main" id="{F963625E-C6AF-4A71-B96E-83D019C90DC0}"/>
              </a:ext>
            </a:extLst>
          </p:cNvPr>
          <p:cNvSpPr>
            <a:spLocks/>
          </p:cNvSpPr>
          <p:nvPr/>
        </p:nvSpPr>
        <p:spPr bwMode="auto">
          <a:xfrm>
            <a:off x="8426416" y="219984"/>
            <a:ext cx="716056" cy="358487"/>
          </a:xfrm>
          <a:custGeom>
            <a:avLst/>
            <a:gdLst>
              <a:gd name="T0" fmla="*/ 1237233 w 1240164"/>
              <a:gd name="T1" fmla="*/ 0 h 621360"/>
              <a:gd name="T2" fmla="*/ 104347 w 1240164"/>
              <a:gd name="T3" fmla="*/ 249 h 621360"/>
              <a:gd name="T4" fmla="*/ 53331 w 1240164"/>
              <a:gd name="T5" fmla="*/ 3861 h 621360"/>
              <a:gd name="T6" fmla="*/ 15724 w 1240164"/>
              <a:gd name="T7" fmla="*/ 22517 h 621360"/>
              <a:gd name="T8" fmla="*/ 1914 w 1240164"/>
              <a:gd name="T9" fmla="*/ 67866 h 621360"/>
              <a:gd name="T10" fmla="*/ 0 w 1240164"/>
              <a:gd name="T11" fmla="*/ 126527 h 621360"/>
              <a:gd name="T12" fmla="*/ 2 w 1240164"/>
              <a:gd name="T13" fmla="*/ 489730 h 621360"/>
              <a:gd name="T14" fmla="*/ 813 w 1240164"/>
              <a:gd name="T15" fmla="*/ 531331 h 621360"/>
              <a:gd name="T16" fmla="*/ 6688 w 1240164"/>
              <a:gd name="T17" fmla="*/ 574775 h 621360"/>
              <a:gd name="T18" fmla="*/ 31080 w 1240164"/>
              <a:gd name="T19" fmla="*/ 605099 h 621360"/>
              <a:gd name="T20" fmla="*/ 68315 w 1240164"/>
              <a:gd name="T21" fmla="*/ 613627 h 621360"/>
              <a:gd name="T22" fmla="*/ 1237233 w 1240164"/>
              <a:gd name="T23" fmla="*/ 615561 h 621360"/>
              <a:gd name="T24" fmla="*/ 1237233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1752" name="object 25">
            <a:extLst>
              <a:ext uri="{FF2B5EF4-FFF2-40B4-BE49-F238E27FC236}">
                <a16:creationId xmlns:a16="http://schemas.microsoft.com/office/drawing/2014/main" id="{619A59D5-1382-4973-82F5-F7ED2833C2CF}"/>
              </a:ext>
            </a:extLst>
          </p:cNvPr>
          <p:cNvSpPr>
            <a:spLocks/>
          </p:cNvSpPr>
          <p:nvPr/>
        </p:nvSpPr>
        <p:spPr bwMode="auto">
          <a:xfrm>
            <a:off x="888117" y="1005779"/>
            <a:ext cx="598700" cy="378657"/>
          </a:xfrm>
          <a:custGeom>
            <a:avLst/>
            <a:gdLst>
              <a:gd name="T0" fmla="*/ 481873 w 1035394"/>
              <a:gd name="T1" fmla="*/ 2141 h 655447"/>
              <a:gd name="T2" fmla="*/ 402144 w 1035394"/>
              <a:gd name="T3" fmla="*/ 17940 h 655447"/>
              <a:gd name="T4" fmla="*/ 327386 w 1035394"/>
              <a:gd name="T5" fmla="*/ 46231 h 655447"/>
              <a:gd name="T6" fmla="*/ 258495 w 1035394"/>
              <a:gd name="T7" fmla="*/ 83553 h 655447"/>
              <a:gd name="T8" fmla="*/ 141902 w 1035394"/>
              <a:gd name="T9" fmla="*/ 171439 h 655447"/>
              <a:gd name="T10" fmla="*/ 59534 w 1035394"/>
              <a:gd name="T11" fmla="*/ 253903 h 655447"/>
              <a:gd name="T12" fmla="*/ 18 w 1035394"/>
              <a:gd name="T13" fmla="*/ 328540 h 655447"/>
              <a:gd name="T14" fmla="*/ 45137 w 1035394"/>
              <a:gd name="T15" fmla="*/ 386735 h 655447"/>
              <a:gd name="T16" fmla="*/ 117824 w 1035394"/>
              <a:gd name="T17" fmla="*/ 463518 h 655447"/>
              <a:gd name="T18" fmla="*/ 226533 w 1035394"/>
              <a:gd name="T19" fmla="*/ 552641 h 655447"/>
              <a:gd name="T20" fmla="*/ 327386 w 1035394"/>
              <a:gd name="T21" fmla="*/ 610926 h 655447"/>
              <a:gd name="T22" fmla="*/ 402145 w 1035394"/>
              <a:gd name="T23" fmla="*/ 639216 h 655447"/>
              <a:gd name="T24" fmla="*/ 481873 w 1035394"/>
              <a:gd name="T25" fmla="*/ 655021 h 655447"/>
              <a:gd name="T26" fmla="*/ 564770 w 1035394"/>
              <a:gd name="T27" fmla="*/ 655021 h 655447"/>
              <a:gd name="T28" fmla="*/ 644500 w 1035394"/>
              <a:gd name="T29" fmla="*/ 639216 h 655447"/>
              <a:gd name="T30" fmla="*/ 719258 w 1035394"/>
              <a:gd name="T31" fmla="*/ 610925 h 655447"/>
              <a:gd name="T32" fmla="*/ 769603 w 1035394"/>
              <a:gd name="T33" fmla="*/ 584387 h 655447"/>
              <a:gd name="T34" fmla="*/ 493276 w 1035394"/>
              <a:gd name="T35" fmla="*/ 582999 h 655447"/>
              <a:gd name="T36" fmla="*/ 378431 w 1035394"/>
              <a:gd name="T37" fmla="*/ 553553 h 655447"/>
              <a:gd name="T38" fmla="*/ 275575 w 1035394"/>
              <a:gd name="T39" fmla="*/ 497313 h 655447"/>
              <a:gd name="T40" fmla="*/ 189293 w 1035394"/>
              <a:gd name="T41" fmla="*/ 429466 h 655447"/>
              <a:gd name="T42" fmla="*/ 124182 w 1035394"/>
              <a:gd name="T43" fmla="*/ 365224 h 655447"/>
              <a:gd name="T44" fmla="*/ 100984 w 1035394"/>
              <a:gd name="T45" fmla="*/ 317881 h 655447"/>
              <a:gd name="T46" fmla="*/ 170722 w 1035394"/>
              <a:gd name="T47" fmla="*/ 244613 h 655447"/>
              <a:gd name="T48" fmla="*/ 252058 w 1035394"/>
              <a:gd name="T49" fmla="*/ 176265 h 655447"/>
              <a:gd name="T50" fmla="*/ 351186 w 1035394"/>
              <a:gd name="T51" fmla="*/ 115723 h 655447"/>
              <a:gd name="T52" fmla="*/ 463575 w 1035394"/>
              <a:gd name="T53" fmla="*/ 78178 h 655447"/>
              <a:gd name="T54" fmla="*/ 769603 w 1035394"/>
              <a:gd name="T55" fmla="*/ 72769 h 655447"/>
              <a:gd name="T56" fmla="*/ 719257 w 1035394"/>
              <a:gd name="T57" fmla="*/ 46231 h 655447"/>
              <a:gd name="T58" fmla="*/ 644500 w 1035394"/>
              <a:gd name="T59" fmla="*/ 17940 h 655447"/>
              <a:gd name="T60" fmla="*/ 564770 w 1035394"/>
              <a:gd name="T61" fmla="*/ 2141 h 655447"/>
              <a:gd name="T62" fmla="*/ 769603 w 1035394"/>
              <a:gd name="T63" fmla="*/ 72769 h 655447"/>
              <a:gd name="T64" fmla="*/ 553369 w 1035394"/>
              <a:gd name="T65" fmla="*/ 74157 h 655447"/>
              <a:gd name="T66" fmla="*/ 640451 w 1035394"/>
              <a:gd name="T67" fmla="*/ 93137 h 655447"/>
              <a:gd name="T68" fmla="*/ 746738 w 1035394"/>
              <a:gd name="T69" fmla="*/ 144106 h 655447"/>
              <a:gd name="T70" fmla="*/ 837596 w 1035394"/>
              <a:gd name="T71" fmla="*/ 210473 h 655447"/>
              <a:gd name="T72" fmla="*/ 908434 w 1035394"/>
              <a:gd name="T73" fmla="*/ 277041 h 655447"/>
              <a:gd name="T74" fmla="*/ 954666 w 1035394"/>
              <a:gd name="T75" fmla="*/ 328616 h 655447"/>
              <a:gd name="T76" fmla="*/ 908512 w 1035394"/>
              <a:gd name="T77" fmla="*/ 380188 h 655447"/>
              <a:gd name="T78" fmla="*/ 837767 w 1035394"/>
              <a:gd name="T79" fmla="*/ 446738 h 655447"/>
              <a:gd name="T80" fmla="*/ 746962 w 1035394"/>
              <a:gd name="T81" fmla="*/ 513085 h 655447"/>
              <a:gd name="T82" fmla="*/ 640635 w 1035394"/>
              <a:gd name="T83" fmla="*/ 564029 h 655447"/>
              <a:gd name="T84" fmla="*/ 523321 w 1035394"/>
              <a:gd name="T85" fmla="*/ 584387 h 655447"/>
              <a:gd name="T86" fmla="*/ 820114 w 1035394"/>
              <a:gd name="T87" fmla="*/ 552640 h 655447"/>
              <a:gd name="T88" fmla="*/ 928825 w 1035394"/>
              <a:gd name="T89" fmla="*/ 463515 h 655447"/>
              <a:gd name="T90" fmla="*/ 1001518 w 1035394"/>
              <a:gd name="T91" fmla="*/ 386728 h 655447"/>
              <a:gd name="T92" fmla="*/ 1046642 w 1035394"/>
              <a:gd name="T93" fmla="*/ 328616 h 655447"/>
              <a:gd name="T94" fmla="*/ 987109 w 1035394"/>
              <a:gd name="T95" fmla="*/ 253903 h 655447"/>
              <a:gd name="T96" fmla="*/ 904742 w 1035394"/>
              <a:gd name="T97" fmla="*/ 171439 h 655447"/>
              <a:gd name="T98" fmla="*/ 788148 w 1035394"/>
              <a:gd name="T99" fmla="*/ 83553 h 65544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035394" h="655447">
                <a:moveTo>
                  <a:pt x="517697" y="0"/>
                </a:moveTo>
                <a:lnTo>
                  <a:pt x="476694" y="2132"/>
                </a:lnTo>
                <a:lnTo>
                  <a:pt x="436698" y="8241"/>
                </a:lnTo>
                <a:lnTo>
                  <a:pt x="397821" y="17895"/>
                </a:lnTo>
                <a:lnTo>
                  <a:pt x="360174" y="30663"/>
                </a:lnTo>
                <a:lnTo>
                  <a:pt x="323867" y="46114"/>
                </a:lnTo>
                <a:lnTo>
                  <a:pt x="289011" y="63815"/>
                </a:lnTo>
                <a:lnTo>
                  <a:pt x="255717" y="83337"/>
                </a:lnTo>
                <a:lnTo>
                  <a:pt x="194258" y="126112"/>
                </a:lnTo>
                <a:lnTo>
                  <a:pt x="140377" y="170989"/>
                </a:lnTo>
                <a:lnTo>
                  <a:pt x="94960" y="214516"/>
                </a:lnTo>
                <a:lnTo>
                  <a:pt x="58895" y="253242"/>
                </a:lnTo>
                <a:lnTo>
                  <a:pt x="33067" y="283715"/>
                </a:lnTo>
                <a:lnTo>
                  <a:pt x="18" y="327685"/>
                </a:lnTo>
                <a:lnTo>
                  <a:pt x="15472" y="349059"/>
                </a:lnTo>
                <a:lnTo>
                  <a:pt x="44651" y="385727"/>
                </a:lnTo>
                <a:lnTo>
                  <a:pt x="75707" y="420755"/>
                </a:lnTo>
                <a:lnTo>
                  <a:pt x="116558" y="462312"/>
                </a:lnTo>
                <a:lnTo>
                  <a:pt x="166317" y="506944"/>
                </a:lnTo>
                <a:lnTo>
                  <a:pt x="224097" y="551201"/>
                </a:lnTo>
                <a:lnTo>
                  <a:pt x="289012" y="591631"/>
                </a:lnTo>
                <a:lnTo>
                  <a:pt x="323867" y="609333"/>
                </a:lnTo>
                <a:lnTo>
                  <a:pt x="360174" y="624783"/>
                </a:lnTo>
                <a:lnTo>
                  <a:pt x="397822" y="637551"/>
                </a:lnTo>
                <a:lnTo>
                  <a:pt x="436698" y="647205"/>
                </a:lnTo>
                <a:lnTo>
                  <a:pt x="476694" y="653314"/>
                </a:lnTo>
                <a:lnTo>
                  <a:pt x="517697" y="655447"/>
                </a:lnTo>
                <a:lnTo>
                  <a:pt x="558700" y="653314"/>
                </a:lnTo>
                <a:lnTo>
                  <a:pt x="598695" y="647205"/>
                </a:lnTo>
                <a:lnTo>
                  <a:pt x="637572" y="637551"/>
                </a:lnTo>
                <a:lnTo>
                  <a:pt x="675219" y="624783"/>
                </a:lnTo>
                <a:lnTo>
                  <a:pt x="711527" y="609332"/>
                </a:lnTo>
                <a:lnTo>
                  <a:pt x="746383" y="591631"/>
                </a:lnTo>
                <a:lnTo>
                  <a:pt x="761331" y="582866"/>
                </a:lnTo>
                <a:lnTo>
                  <a:pt x="517697" y="582866"/>
                </a:lnTo>
                <a:lnTo>
                  <a:pt x="487974" y="581478"/>
                </a:lnTo>
                <a:lnTo>
                  <a:pt x="429971" y="571084"/>
                </a:lnTo>
                <a:lnTo>
                  <a:pt x="374364" y="552113"/>
                </a:lnTo>
                <a:lnTo>
                  <a:pt x="321722" y="526459"/>
                </a:lnTo>
                <a:lnTo>
                  <a:pt x="272612" y="496017"/>
                </a:lnTo>
                <a:lnTo>
                  <a:pt x="227601" y="462682"/>
                </a:lnTo>
                <a:lnTo>
                  <a:pt x="187258" y="428350"/>
                </a:lnTo>
                <a:lnTo>
                  <a:pt x="152151" y="394914"/>
                </a:lnTo>
                <a:lnTo>
                  <a:pt x="122847" y="364270"/>
                </a:lnTo>
                <a:lnTo>
                  <a:pt x="91015" y="327685"/>
                </a:lnTo>
                <a:lnTo>
                  <a:pt x="99899" y="317053"/>
                </a:lnTo>
                <a:lnTo>
                  <a:pt x="136659" y="276243"/>
                </a:lnTo>
                <a:lnTo>
                  <a:pt x="168887" y="243974"/>
                </a:lnTo>
                <a:lnTo>
                  <a:pt x="206637" y="209863"/>
                </a:lnTo>
                <a:lnTo>
                  <a:pt x="249349" y="175806"/>
                </a:lnTo>
                <a:lnTo>
                  <a:pt x="296461" y="143694"/>
                </a:lnTo>
                <a:lnTo>
                  <a:pt x="347413" y="115422"/>
                </a:lnTo>
                <a:lnTo>
                  <a:pt x="401644" y="92883"/>
                </a:lnTo>
                <a:lnTo>
                  <a:pt x="458592" y="77971"/>
                </a:lnTo>
                <a:lnTo>
                  <a:pt x="517697" y="72580"/>
                </a:lnTo>
                <a:lnTo>
                  <a:pt x="761331" y="72580"/>
                </a:lnTo>
                <a:lnTo>
                  <a:pt x="746382" y="63815"/>
                </a:lnTo>
                <a:lnTo>
                  <a:pt x="711526" y="46114"/>
                </a:lnTo>
                <a:lnTo>
                  <a:pt x="675219" y="30663"/>
                </a:lnTo>
                <a:lnTo>
                  <a:pt x="637572" y="17895"/>
                </a:lnTo>
                <a:lnTo>
                  <a:pt x="598695" y="8241"/>
                </a:lnTo>
                <a:lnTo>
                  <a:pt x="558700" y="2132"/>
                </a:lnTo>
                <a:lnTo>
                  <a:pt x="517697" y="0"/>
                </a:lnTo>
                <a:close/>
              </a:path>
              <a:path w="1035394" h="655447">
                <a:moveTo>
                  <a:pt x="761331" y="72580"/>
                </a:moveTo>
                <a:lnTo>
                  <a:pt x="517697" y="72580"/>
                </a:lnTo>
                <a:lnTo>
                  <a:pt x="547421" y="73968"/>
                </a:lnTo>
                <a:lnTo>
                  <a:pt x="576688" y="77974"/>
                </a:lnTo>
                <a:lnTo>
                  <a:pt x="633566" y="92894"/>
                </a:lnTo>
                <a:lnTo>
                  <a:pt x="687762" y="115443"/>
                </a:lnTo>
                <a:lnTo>
                  <a:pt x="738710" y="143728"/>
                </a:lnTo>
                <a:lnTo>
                  <a:pt x="785843" y="175853"/>
                </a:lnTo>
                <a:lnTo>
                  <a:pt x="828592" y="209924"/>
                </a:lnTo>
                <a:lnTo>
                  <a:pt x="866390" y="244045"/>
                </a:lnTo>
                <a:lnTo>
                  <a:pt x="898669" y="276321"/>
                </a:lnTo>
                <a:lnTo>
                  <a:pt x="924863" y="304858"/>
                </a:lnTo>
                <a:lnTo>
                  <a:pt x="944404" y="327761"/>
                </a:lnTo>
                <a:lnTo>
                  <a:pt x="935516" y="338391"/>
                </a:lnTo>
                <a:lnTo>
                  <a:pt x="898747" y="379198"/>
                </a:lnTo>
                <a:lnTo>
                  <a:pt x="866515" y="411467"/>
                </a:lnTo>
                <a:lnTo>
                  <a:pt x="828762" y="445577"/>
                </a:lnTo>
                <a:lnTo>
                  <a:pt x="786048" y="479636"/>
                </a:lnTo>
                <a:lnTo>
                  <a:pt x="738934" y="511748"/>
                </a:lnTo>
                <a:lnTo>
                  <a:pt x="687981" y="540022"/>
                </a:lnTo>
                <a:lnTo>
                  <a:pt x="633750" y="562562"/>
                </a:lnTo>
                <a:lnTo>
                  <a:pt x="576801" y="577474"/>
                </a:lnTo>
                <a:lnTo>
                  <a:pt x="517697" y="582866"/>
                </a:lnTo>
                <a:lnTo>
                  <a:pt x="761331" y="582866"/>
                </a:lnTo>
                <a:lnTo>
                  <a:pt x="811299" y="551200"/>
                </a:lnTo>
                <a:lnTo>
                  <a:pt x="869080" y="506942"/>
                </a:lnTo>
                <a:lnTo>
                  <a:pt x="918841" y="462309"/>
                </a:lnTo>
                <a:lnTo>
                  <a:pt x="959694" y="420751"/>
                </a:lnTo>
                <a:lnTo>
                  <a:pt x="990753" y="385720"/>
                </a:lnTo>
                <a:lnTo>
                  <a:pt x="1017036" y="352963"/>
                </a:lnTo>
                <a:lnTo>
                  <a:pt x="1035394" y="327761"/>
                </a:lnTo>
                <a:lnTo>
                  <a:pt x="1011123" y="294778"/>
                </a:lnTo>
                <a:lnTo>
                  <a:pt x="976499" y="253242"/>
                </a:lnTo>
                <a:lnTo>
                  <a:pt x="940433" y="214516"/>
                </a:lnTo>
                <a:lnTo>
                  <a:pt x="895017" y="170989"/>
                </a:lnTo>
                <a:lnTo>
                  <a:pt x="841135" y="126112"/>
                </a:lnTo>
                <a:lnTo>
                  <a:pt x="779676" y="83337"/>
                </a:lnTo>
                <a:lnTo>
                  <a:pt x="761331" y="725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1753" name="object 26">
            <a:extLst>
              <a:ext uri="{FF2B5EF4-FFF2-40B4-BE49-F238E27FC236}">
                <a16:creationId xmlns:a16="http://schemas.microsoft.com/office/drawing/2014/main" id="{D20DA851-6157-4C64-8630-E3BD76167D2B}"/>
              </a:ext>
            </a:extLst>
          </p:cNvPr>
          <p:cNvSpPr>
            <a:spLocks/>
          </p:cNvSpPr>
          <p:nvPr/>
        </p:nvSpPr>
        <p:spPr bwMode="auto">
          <a:xfrm>
            <a:off x="1071486" y="1079127"/>
            <a:ext cx="231962" cy="231961"/>
          </a:xfrm>
          <a:custGeom>
            <a:avLst/>
            <a:gdLst>
              <a:gd name="T0" fmla="*/ 201628 w 401434"/>
              <a:gd name="T1" fmla="*/ 0 h 401434"/>
              <a:gd name="T2" fmla="*/ 153175 w 401434"/>
              <a:gd name="T3" fmla="*/ 5860 h 401434"/>
              <a:gd name="T4" fmla="*/ 108963 w 401434"/>
              <a:gd name="T5" fmla="*/ 22503 h 401434"/>
              <a:gd name="T6" fmla="*/ 70410 w 401434"/>
              <a:gd name="T7" fmla="*/ 48536 h 401434"/>
              <a:gd name="T8" fmla="*/ 38903 w 401434"/>
              <a:gd name="T9" fmla="*/ 82556 h 401434"/>
              <a:gd name="T10" fmla="*/ 15843 w 401434"/>
              <a:gd name="T11" fmla="*/ 123150 h 401434"/>
              <a:gd name="T12" fmla="*/ 2635 w 401434"/>
              <a:gd name="T13" fmla="*/ 168929 h 401434"/>
              <a:gd name="T14" fmla="*/ 0 w 401434"/>
              <a:gd name="T15" fmla="*/ 201641 h 401434"/>
              <a:gd name="T16" fmla="*/ 665 w 401434"/>
              <a:gd name="T17" fmla="*/ 218174 h 401434"/>
              <a:gd name="T18" fmla="*/ 10276 w 401434"/>
              <a:gd name="T19" fmla="*/ 265368 h 401434"/>
              <a:gd name="T20" fmla="*/ 30203 w 401434"/>
              <a:gd name="T21" fmla="*/ 307844 h 401434"/>
              <a:gd name="T22" fmla="*/ 59053 w 401434"/>
              <a:gd name="T23" fmla="*/ 344209 h 401434"/>
              <a:gd name="T24" fmla="*/ 95413 w 401434"/>
              <a:gd name="T25" fmla="*/ 373055 h 401434"/>
              <a:gd name="T26" fmla="*/ 137897 w 401434"/>
              <a:gd name="T27" fmla="*/ 392985 h 401434"/>
              <a:gd name="T28" fmla="*/ 185094 w 401434"/>
              <a:gd name="T29" fmla="*/ 402595 h 401434"/>
              <a:gd name="T30" fmla="*/ 201628 w 401434"/>
              <a:gd name="T31" fmla="*/ 403265 h 401434"/>
              <a:gd name="T32" fmla="*/ 218169 w 401434"/>
              <a:gd name="T33" fmla="*/ 402595 h 401434"/>
              <a:gd name="T34" fmla="*/ 265366 w 401434"/>
              <a:gd name="T35" fmla="*/ 392985 h 401434"/>
              <a:gd name="T36" fmla="*/ 307848 w 401434"/>
              <a:gd name="T37" fmla="*/ 373055 h 401434"/>
              <a:gd name="T38" fmla="*/ 344214 w 401434"/>
              <a:gd name="T39" fmla="*/ 344209 h 401434"/>
              <a:gd name="T40" fmla="*/ 373062 w 401434"/>
              <a:gd name="T41" fmla="*/ 307844 h 401434"/>
              <a:gd name="T42" fmla="*/ 392994 w 401434"/>
              <a:gd name="T43" fmla="*/ 265368 h 401434"/>
              <a:gd name="T44" fmla="*/ 402604 w 401434"/>
              <a:gd name="T45" fmla="*/ 218174 h 401434"/>
              <a:gd name="T46" fmla="*/ 403274 w 401434"/>
              <a:gd name="T47" fmla="*/ 201641 h 401434"/>
              <a:gd name="T48" fmla="*/ 402604 w 401434"/>
              <a:gd name="T49" fmla="*/ 185099 h 401434"/>
              <a:gd name="T50" fmla="*/ 392994 w 401434"/>
              <a:gd name="T51" fmla="*/ 137905 h 401434"/>
              <a:gd name="T52" fmla="*/ 373062 w 401434"/>
              <a:gd name="T53" fmla="*/ 95422 h 401434"/>
              <a:gd name="T54" fmla="*/ 344214 w 401434"/>
              <a:gd name="T55" fmla="*/ 59059 h 401434"/>
              <a:gd name="T56" fmla="*/ 307848 w 401434"/>
              <a:gd name="T57" fmla="*/ 30207 h 401434"/>
              <a:gd name="T58" fmla="*/ 265366 w 401434"/>
              <a:gd name="T59" fmla="*/ 10277 h 401434"/>
              <a:gd name="T60" fmla="*/ 218169 w 401434"/>
              <a:gd name="T61" fmla="*/ 665 h 401434"/>
              <a:gd name="T62" fmla="*/ 201628 w 401434"/>
              <a:gd name="T63" fmla="*/ 0 h 4014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01434" h="401434">
                <a:moveTo>
                  <a:pt x="200710" y="0"/>
                </a:moveTo>
                <a:lnTo>
                  <a:pt x="152474" y="5833"/>
                </a:lnTo>
                <a:lnTo>
                  <a:pt x="108468" y="22404"/>
                </a:lnTo>
                <a:lnTo>
                  <a:pt x="70086" y="48317"/>
                </a:lnTo>
                <a:lnTo>
                  <a:pt x="38723" y="82178"/>
                </a:lnTo>
                <a:lnTo>
                  <a:pt x="15771" y="122592"/>
                </a:lnTo>
                <a:lnTo>
                  <a:pt x="2626" y="168164"/>
                </a:lnTo>
                <a:lnTo>
                  <a:pt x="0" y="200723"/>
                </a:lnTo>
                <a:lnTo>
                  <a:pt x="665" y="217184"/>
                </a:lnTo>
                <a:lnTo>
                  <a:pt x="10231" y="264162"/>
                </a:lnTo>
                <a:lnTo>
                  <a:pt x="30068" y="306447"/>
                </a:lnTo>
                <a:lnTo>
                  <a:pt x="58783" y="342646"/>
                </a:lnTo>
                <a:lnTo>
                  <a:pt x="94981" y="371362"/>
                </a:lnTo>
                <a:lnTo>
                  <a:pt x="137267" y="391201"/>
                </a:lnTo>
                <a:lnTo>
                  <a:pt x="184248" y="400768"/>
                </a:lnTo>
                <a:lnTo>
                  <a:pt x="200710" y="401434"/>
                </a:lnTo>
                <a:lnTo>
                  <a:pt x="217173" y="400768"/>
                </a:lnTo>
                <a:lnTo>
                  <a:pt x="264155" y="391201"/>
                </a:lnTo>
                <a:lnTo>
                  <a:pt x="306444" y="371362"/>
                </a:lnTo>
                <a:lnTo>
                  <a:pt x="342644" y="342646"/>
                </a:lnTo>
                <a:lnTo>
                  <a:pt x="371361" y="306447"/>
                </a:lnTo>
                <a:lnTo>
                  <a:pt x="391201" y="264162"/>
                </a:lnTo>
                <a:lnTo>
                  <a:pt x="400768" y="217184"/>
                </a:lnTo>
                <a:lnTo>
                  <a:pt x="401434" y="200723"/>
                </a:lnTo>
                <a:lnTo>
                  <a:pt x="400768" y="184260"/>
                </a:lnTo>
                <a:lnTo>
                  <a:pt x="391201" y="137278"/>
                </a:lnTo>
                <a:lnTo>
                  <a:pt x="371361" y="94990"/>
                </a:lnTo>
                <a:lnTo>
                  <a:pt x="342644" y="58789"/>
                </a:lnTo>
                <a:lnTo>
                  <a:pt x="306444" y="30072"/>
                </a:lnTo>
                <a:lnTo>
                  <a:pt x="264155" y="10232"/>
                </a:lnTo>
                <a:lnTo>
                  <a:pt x="217173" y="665"/>
                </a:lnTo>
                <a:lnTo>
                  <a:pt x="2007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1755" name="object 28">
            <a:extLst>
              <a:ext uri="{FF2B5EF4-FFF2-40B4-BE49-F238E27FC236}">
                <a16:creationId xmlns:a16="http://schemas.microsoft.com/office/drawing/2014/main" id="{B1D42CD7-6909-4394-9C50-D0D06BC15E90}"/>
              </a:ext>
            </a:extLst>
          </p:cNvPr>
          <p:cNvSpPr txBox="1">
            <a:spLocks noChangeArrowheads="1"/>
          </p:cNvSpPr>
          <p:nvPr/>
        </p:nvSpPr>
        <p:spPr bwMode="auto">
          <a:xfrm>
            <a:off x="1017167" y="376823"/>
            <a:ext cx="7238715" cy="934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200" dirty="0" err="1">
                <a:solidFill>
                  <a:srgbClr val="ED1C24"/>
                </a:solidFill>
                <a:latin typeface="zawgyi1"/>
                <a:ea typeface="Gill Sans Light"/>
                <a:cs typeface="Gill Sans Light"/>
              </a:rPr>
              <a:t>ကလေးနှင</a:t>
            </a:r>
            <a:r>
              <a:rPr lang="en-US" altLang="en-US" sz="3200" dirty="0">
                <a:solidFill>
                  <a:srgbClr val="ED1C24"/>
                </a:solidFill>
                <a:latin typeface="zawgyi1"/>
                <a:ea typeface="Gill Sans Light"/>
                <a:cs typeface="Gill Sans Light"/>
              </a:rPr>
              <a:t>့် </a:t>
            </a:r>
            <a:r>
              <a:rPr lang="en-US" altLang="en-US" sz="3200" dirty="0" err="1">
                <a:solidFill>
                  <a:srgbClr val="ED1C24"/>
                </a:solidFill>
                <a:latin typeface="zawgyi1"/>
                <a:ea typeface="Gill Sans Light"/>
                <a:cs typeface="Gill Sans Light"/>
              </a:rPr>
              <a:t>မိသားစုများကို</a:t>
            </a:r>
            <a:r>
              <a:rPr lang="en-US" altLang="en-US" sz="3200" dirty="0">
                <a:solidFill>
                  <a:srgbClr val="ED1C24"/>
                </a:solidFill>
                <a:latin typeface="zawgyi1"/>
                <a:ea typeface="Gill Sans Light"/>
                <a:cs typeface="Gill Sans Light"/>
              </a:rPr>
              <a:t> </a:t>
            </a:r>
            <a:r>
              <a:rPr lang="en-US" altLang="en-US" sz="3200" dirty="0" err="1">
                <a:solidFill>
                  <a:srgbClr val="ED1C24"/>
                </a:solidFill>
                <a:latin typeface="zawgyi1"/>
                <a:ea typeface="Gill Sans Light"/>
                <a:cs typeface="Gill Sans Light"/>
              </a:rPr>
              <a:t>ချဉ်းကပ</a:t>
            </a:r>
            <a:r>
              <a:rPr lang="en-US" altLang="en-US" sz="3200" dirty="0" err="1">
                <a:solidFill>
                  <a:srgbClr val="ED1C24"/>
                </a:solidFill>
                <a:latin typeface="Gill Sans Light"/>
                <a:ea typeface="Gill Sans Light"/>
                <a:cs typeface="Gill Sans Light"/>
              </a:rPr>
              <a:t>်ခြင်း</a:t>
            </a:r>
            <a:endParaRPr lang="en-US" altLang="en-US" sz="3200" dirty="0">
              <a:latin typeface="Gill Sans Light"/>
              <a:ea typeface="Gill Sans Light"/>
              <a:cs typeface="Gill Sans Light"/>
            </a:endParaRPr>
          </a:p>
        </p:txBody>
      </p:sp>
      <p:sp>
        <p:nvSpPr>
          <p:cNvPr id="3" name="Content Placeholder 2">
            <a:extLst>
              <a:ext uri="{FF2B5EF4-FFF2-40B4-BE49-F238E27FC236}">
                <a16:creationId xmlns:a16="http://schemas.microsoft.com/office/drawing/2014/main" id="{4B099AF7-15AE-422F-B653-710E1D9176A2}"/>
              </a:ext>
            </a:extLst>
          </p:cNvPr>
          <p:cNvSpPr>
            <a:spLocks noGrp="1"/>
          </p:cNvSpPr>
          <p:nvPr>
            <p:ph idx="1"/>
          </p:nvPr>
        </p:nvSpPr>
        <p:spPr>
          <a:xfrm>
            <a:off x="431147" y="1243242"/>
            <a:ext cx="3997571" cy="4706938"/>
          </a:xfrm>
        </p:spPr>
        <p:txBody>
          <a:bodyPr/>
          <a:lstStyle/>
          <a:p>
            <a:pPr marL="348758" marR="0" lvl="0" indent="-342900" algn="l"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င္ကဘာလို႔ဒီမွာရွိေနတယ</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ဘာလုပ္တယ</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င္ဘယ္သူဆိုတာ</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င</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သင</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မိတ္ဆက္ပ</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17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9210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လး</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င့္</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တန္းတူျဖစ္ရန</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ထိုင္ပ</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႔)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လးအနားမွာကပ</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ထိုင္ခ်လိုက္ပ</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p>
          <a:p>
            <a:pPr marL="292100" indent="-285750">
              <a:lnSpc>
                <a:spcPct val="150000"/>
              </a:lnSpc>
              <a:buFont typeface="Arial" panose="020B0604020202020204" pitchFamily="34" charset="0"/>
              <a:buChar char="•"/>
              <a:defRPr/>
            </a:pP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တယ္လို႔သင</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ယာဥ္ေက်းမ</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ရအဆင္ေျပတယ္ဆိုရင</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စကားေျပာေနခ်ိန္မွာ</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လက</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႔)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ခုံး</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ဖည္းညွင္းစြာ</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7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ပြတ္ေပးပ</a:t>
            </a:r>
            <a:r>
              <a:rPr kumimoji="0" lang="en-US" altLang="en-US" sz="17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1700" b="0" i="0" u="none" strike="noStrike" kern="1200" cap="none" spc="0" normalizeH="0" baseline="0" noProof="0" dirty="0">
              <a:ln>
                <a:noFill/>
              </a:ln>
              <a:solidFill>
                <a:srgbClr val="075109"/>
              </a:solidFill>
              <a:effectLst/>
              <a:uLnTx/>
              <a:uFillTx/>
              <a:latin typeface="Zawgyi-One" panose="020B0604030504040204" pitchFamily="34" charset="0"/>
              <a:ea typeface="SimHei" panose="02010609060101010101" pitchFamily="49" charset="-122"/>
              <a:cs typeface="Zawgyi-One" panose="020B0604030504040204" pitchFamily="34" charset="0"/>
            </a:endParaRPr>
          </a:p>
          <a:p>
            <a:endParaRPr lang="en-US" sz="1700" dirty="0"/>
          </a:p>
        </p:txBody>
      </p:sp>
      <p:sp>
        <p:nvSpPr>
          <p:cNvPr id="31763" name="object 36">
            <a:extLst>
              <a:ext uri="{FF2B5EF4-FFF2-40B4-BE49-F238E27FC236}">
                <a16:creationId xmlns:a16="http://schemas.microsoft.com/office/drawing/2014/main" id="{5D3D2ADF-1220-4995-8DB1-18FC8D399AED}"/>
              </a:ext>
            </a:extLst>
          </p:cNvPr>
          <p:cNvSpPr>
            <a:spLocks noGrp="1"/>
          </p:cNvSpPr>
          <p:nvPr>
            <p:ph type="ftr" sz="quarter" idx="11"/>
          </p:nvPr>
        </p:nvSpPr>
        <p:spPr>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457200" rtl="0" eaLnBrk="1" latinLnBrk="0" hangingPunct="1">
              <a:defRPr sz="899"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altLang="en-US" sz="1213">
              <a:solidFill>
                <a:srgbClr val="000000"/>
              </a:solidFill>
              <a:latin typeface="Gill Sans"/>
              <a:ea typeface="Gill Sans"/>
              <a:cs typeface="Gill Sans"/>
            </a:endParaRPr>
          </a:p>
        </p:txBody>
      </p:sp>
      <p:sp>
        <p:nvSpPr>
          <p:cNvPr id="5" name="Content Placeholder 4">
            <a:extLst>
              <a:ext uri="{FF2B5EF4-FFF2-40B4-BE49-F238E27FC236}">
                <a16:creationId xmlns:a16="http://schemas.microsoft.com/office/drawing/2014/main" id="{2F508561-3A61-473A-A431-F231EA8C169F}"/>
              </a:ext>
            </a:extLst>
          </p:cNvPr>
          <p:cNvSpPr>
            <a:spLocks noGrp="1"/>
          </p:cNvSpPr>
          <p:nvPr>
            <p:ph idx="14"/>
          </p:nvPr>
        </p:nvSpPr>
        <p:spPr>
          <a:xfrm>
            <a:off x="4709703" y="1143000"/>
            <a:ext cx="3997571" cy="4706938"/>
          </a:xfrm>
        </p:spPr>
        <p:txBody>
          <a:bodyPr/>
          <a:lstStyle/>
          <a:p>
            <a:pPr marL="291608" marR="0" lvl="0" indent="-285750" algn="l"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မတၱာရားထားျပီး</a:t>
            </a:r>
            <a:r>
              <a:rPr kumimoji="0" lang="en-US" altLang="en-US" sz="18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8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လးစားပ</a:t>
            </a:r>
            <a:r>
              <a:rPr kumimoji="0" lang="en-US" altLang="en-US" sz="18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p>
          <a:p>
            <a:pPr marL="291608" marR="0" lvl="0" indent="-285750" algn="l"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altLang="en-US" sz="18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မိသားစုကို</a:t>
            </a:r>
            <a:r>
              <a:rPr kumimoji="0" lang="en-US" altLang="en-US" sz="18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8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ယံုယံုၾကည</a:t>
            </a:r>
            <a:r>
              <a:rPr kumimoji="0" lang="en-US" altLang="en-US" sz="18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ၾ</a:t>
            </a:r>
            <a:r>
              <a:rPr kumimoji="0" lang="en-US" altLang="en-US" sz="18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ကည္ေတ</a:t>
            </a:r>
            <a:r>
              <a:rPr kumimoji="0" lang="en-US" altLang="en-US" sz="18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႔</a:t>
            </a:r>
            <a:r>
              <a:rPr kumimoji="0" lang="en-US" altLang="en-US" sz="1800" b="0" i="0" u="none" strike="noStrike" kern="1200" cap="none" spc="0" normalizeH="0" baseline="0" noProof="0" dirty="0" err="1">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ဆံုပ</a:t>
            </a:r>
            <a:r>
              <a:rPr kumimoji="0" lang="en-US" altLang="en-US" sz="1800" b="0" i="0" u="none" strike="noStrike" kern="1200" cap="none" spc="0" normalizeH="0" baseline="0" noProof="0" dirty="0">
                <a:ln>
                  <a:noFill/>
                </a:ln>
                <a:solidFill>
                  <a:schemeClr val="tx1"/>
                </a:solidFill>
                <a:effectLst/>
                <a:uLnTx/>
                <a:uFillTx/>
                <a:latin typeface="Zawgyi-One" panose="020B0604030504040204" pitchFamily="34" charset="0"/>
                <a:ea typeface="SimHei" panose="02010609060101010101" pitchFamily="49" charset="-122"/>
                <a:cs typeface="Zawgyi-One" panose="020B0604030504040204" pitchFamily="34" charset="0"/>
              </a:rPr>
              <a:t>ါ</a:t>
            </a:r>
          </a:p>
          <a:p>
            <a:pPr marL="292515" marR="0" lvl="0" indent="-285750" algn="l"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schemeClr val="tx1"/>
                </a:solidFill>
                <a:effectLst/>
                <a:uLnTx/>
                <a:uFillTx/>
                <a:latin typeface="Zawgyi-One" pitchFamily="34" charset="0"/>
                <a:ea typeface="SimHei" panose="02010609060101010101" pitchFamily="49" charset="-122"/>
                <a:cs typeface="Zawgyi-One" pitchFamily="34" charset="0"/>
              </a:rPr>
              <a:t>အေျခအေန</a:t>
            </a:r>
            <a:r>
              <a:rPr kumimoji="0" lang="en-US" sz="1800" b="0" i="0" u="none" strike="noStrike" kern="1200" cap="none" spc="0" normalizeH="0" baseline="0" noProof="0" dirty="0">
                <a:ln>
                  <a:noFill/>
                </a:ln>
                <a:solidFill>
                  <a:schemeClr val="tx1"/>
                </a:solidFill>
                <a:effectLst/>
                <a:uLnTx/>
                <a:uFillTx/>
                <a:latin typeface="Zawgyi-One" pitchFamily="34" charset="0"/>
                <a:ea typeface="SimHei" panose="02010609060101010101" pitchFamily="49" charset="-122"/>
                <a:cs typeface="Zawgyi-One" pitchFamily="34" charset="0"/>
              </a:rPr>
              <a:t>ႏွင့္ </a:t>
            </a:r>
            <a:r>
              <a:rPr kumimoji="0" lang="en-US" sz="1800" b="0" i="0" u="none" strike="noStrike" kern="1200" cap="none" spc="0" normalizeH="0" baseline="0" noProof="0" dirty="0" err="1">
                <a:ln>
                  <a:noFill/>
                </a:ln>
                <a:solidFill>
                  <a:schemeClr val="tx1"/>
                </a:solidFill>
                <a:effectLst/>
                <a:uLnTx/>
                <a:uFillTx/>
                <a:latin typeface="Zawgyi-One" pitchFamily="34" charset="0"/>
                <a:ea typeface="SimHei" panose="02010609060101010101" pitchFamily="49" charset="-122"/>
                <a:cs typeface="Zawgyi-One" pitchFamily="34" charset="0"/>
              </a:rPr>
              <a:t>ပတ္သက္ေသာ</a:t>
            </a:r>
            <a:r>
              <a:rPr kumimoji="0" lang="en-US" sz="1800" b="0" i="0" u="none" strike="noStrike" kern="1200" cap="none" spc="0" normalizeH="0" baseline="0" noProof="0" dirty="0">
                <a:ln>
                  <a:noFill/>
                </a:ln>
                <a:solidFill>
                  <a:schemeClr val="tx1"/>
                </a:solidFill>
                <a:effectLst/>
                <a:uLnTx/>
                <a:uFillTx/>
                <a:latin typeface="Zawgyi-One" pitchFamily="34" charset="0"/>
                <a:ea typeface="SimHei" panose="02010609060101010101" pitchFamily="49" charset="-122"/>
                <a:cs typeface="Zawgyi-One" pitchFamily="34" charset="0"/>
              </a:rPr>
              <a:t> </a:t>
            </a:r>
            <a:r>
              <a:rPr kumimoji="0" lang="en-US" sz="1800" b="0" i="0" u="none" strike="noStrike" kern="1200" cap="none" spc="0" normalizeH="0" baseline="0" noProof="0" dirty="0" err="1">
                <a:ln>
                  <a:noFill/>
                </a:ln>
                <a:solidFill>
                  <a:schemeClr val="tx1"/>
                </a:solidFill>
                <a:effectLst/>
                <a:uLnTx/>
                <a:uFillTx/>
                <a:latin typeface="Zawgyi-One" pitchFamily="34" charset="0"/>
                <a:ea typeface="SimHei" panose="02010609060101010101" pitchFamily="49" charset="-122"/>
                <a:cs typeface="Zawgyi-One" pitchFamily="34" charset="0"/>
              </a:rPr>
              <a:t>သတင္းအခ်က္အလက္ကို</a:t>
            </a:r>
            <a:r>
              <a:rPr kumimoji="0" lang="en-US" sz="1800" b="0" i="0" u="none" strike="noStrike" kern="1200" cap="none" spc="0" normalizeH="0" baseline="0" noProof="0" dirty="0">
                <a:ln>
                  <a:noFill/>
                </a:ln>
                <a:solidFill>
                  <a:schemeClr val="tx1"/>
                </a:solidFill>
                <a:effectLst/>
                <a:uLnTx/>
                <a:uFillTx/>
                <a:latin typeface="Zawgyi-One" pitchFamily="34" charset="0"/>
                <a:ea typeface="SimHei" panose="02010609060101010101" pitchFamily="49" charset="-122"/>
                <a:cs typeface="Zawgyi-One" pitchFamily="34" charset="0"/>
              </a:rPr>
              <a:t> </a:t>
            </a:r>
            <a:r>
              <a:rPr kumimoji="0" lang="en-US" sz="1800" b="0" i="0" u="none" strike="noStrike" kern="1200" cap="none" spc="0" normalizeH="0" baseline="0" noProof="0" dirty="0" err="1">
                <a:ln>
                  <a:noFill/>
                </a:ln>
                <a:solidFill>
                  <a:schemeClr val="tx1"/>
                </a:solidFill>
                <a:effectLst/>
                <a:uLnTx/>
                <a:uFillTx/>
                <a:latin typeface="Zawgyi-One" pitchFamily="34" charset="0"/>
                <a:ea typeface="SimHei" panose="02010609060101010101" pitchFamily="49" charset="-122"/>
                <a:cs typeface="Zawgyi-One" pitchFamily="34" charset="0"/>
              </a:rPr>
              <a:t>ရွာေဖြပ</a:t>
            </a:r>
            <a:r>
              <a:rPr kumimoji="0" lang="en-US" sz="1800" b="0" i="0" u="none" strike="noStrike" kern="1200" cap="none" spc="0" normalizeH="0" baseline="0" noProof="0" dirty="0">
                <a:ln>
                  <a:noFill/>
                </a:ln>
                <a:solidFill>
                  <a:schemeClr val="tx1"/>
                </a:solidFill>
                <a:effectLst/>
                <a:uLnTx/>
                <a:uFillTx/>
                <a:latin typeface="Zawgyi-One" pitchFamily="34" charset="0"/>
                <a:ea typeface="SimHei" panose="02010609060101010101" pitchFamily="49" charset="-122"/>
                <a:cs typeface="Zawgyi-One" pitchFamily="34" charset="0"/>
              </a:rPr>
              <a:t>ါ</a:t>
            </a:r>
            <a:endParaRPr lang="en-US" sz="1800" b="0" dirty="0">
              <a:solidFill>
                <a:schemeClr val="tx1"/>
              </a:solidFill>
              <a:latin typeface="Zawgyi-One" pitchFamily="34" charset="0"/>
              <a:ea typeface="SimHei" panose="02010609060101010101" pitchFamily="49" charset="-122"/>
              <a:cs typeface="Zawgyi-One" pitchFamily="34" charset="0"/>
            </a:endParaRPr>
          </a:p>
          <a:p>
            <a:pPr marL="292515" marR="0" lvl="0" indent="-285750" algn="l" defTabSz="843533"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altLang="en-US" b="0" dirty="0" err="1">
                <a:solidFill>
                  <a:schemeClr val="tx1"/>
                </a:solidFill>
              </a:rPr>
              <a:t>စိတ်ရှည်ပ</a:t>
            </a:r>
            <a:r>
              <a:rPr lang="en-US" altLang="en-US" b="0" dirty="0">
                <a:solidFill>
                  <a:schemeClr val="tx1"/>
                </a:solidFill>
              </a:rPr>
              <a:t>ါ</a:t>
            </a:r>
          </a:p>
          <a:p>
            <a:pPr marL="298450" indent="-285750">
              <a:lnSpc>
                <a:spcPct val="150000"/>
              </a:lnSpc>
              <a:buFont typeface="Arial" panose="020B0604020202020204" pitchFamily="34" charset="0"/>
              <a:buChar char="•"/>
            </a:pPr>
            <a:r>
              <a:rPr lang="en-US" altLang="en-US" sz="1800" b="0" dirty="0" err="1">
                <a:solidFill>
                  <a:schemeClr val="tx1"/>
                </a:solidFill>
                <a:latin typeface="Gill Sans Light"/>
                <a:ea typeface="Gill Sans Light"/>
                <a:cs typeface="Gill Sans Light"/>
              </a:rPr>
              <a:t>ကိုယ</a:t>
            </a:r>
            <a:r>
              <a:rPr lang="en-US" altLang="en-US" b="0" dirty="0">
                <a:solidFill>
                  <a:schemeClr val="tx1"/>
                </a:solidFill>
                <a:latin typeface="Gill Sans Light"/>
                <a:ea typeface="Gill Sans Light"/>
                <a:cs typeface="Gill Sans Light"/>
              </a:rPr>
              <a:t>့်</a:t>
            </a:r>
            <a:r>
              <a:rPr lang="en-US" altLang="en-US" b="0" dirty="0" err="1">
                <a:solidFill>
                  <a:schemeClr val="tx1"/>
                </a:solidFill>
                <a:latin typeface="Gill Sans Light"/>
                <a:ea typeface="Gill Sans Light"/>
                <a:cs typeface="Gill Sans Light"/>
              </a:rPr>
              <a:t>ခံစားချက်တွေကို</a:t>
            </a:r>
            <a:r>
              <a:rPr lang="en-US" altLang="en-US" b="0" dirty="0">
                <a:solidFill>
                  <a:schemeClr val="tx1"/>
                </a:solidFill>
                <a:latin typeface="Gill Sans Light"/>
                <a:ea typeface="Gill Sans Light"/>
                <a:cs typeface="Gill Sans Light"/>
              </a:rPr>
              <a:t> </a:t>
            </a:r>
            <a:r>
              <a:rPr lang="en-US" altLang="en-US" b="0" dirty="0" err="1">
                <a:solidFill>
                  <a:schemeClr val="tx1"/>
                </a:solidFill>
                <a:latin typeface="Gill Sans Light"/>
                <a:ea typeface="Gill Sans Light"/>
                <a:cs typeface="Gill Sans Light"/>
              </a:rPr>
              <a:t>သတိပြုဖို့လိုသလို</a:t>
            </a:r>
            <a:r>
              <a:rPr lang="en-US" altLang="en-US" b="0" dirty="0">
                <a:solidFill>
                  <a:schemeClr val="tx1"/>
                </a:solidFill>
                <a:latin typeface="Gill Sans Light"/>
                <a:ea typeface="Gill Sans Light"/>
                <a:cs typeface="Gill Sans Light"/>
              </a:rPr>
              <a:t> </a:t>
            </a:r>
            <a:r>
              <a:rPr lang="en-US" altLang="en-US" b="0" dirty="0" err="1">
                <a:solidFill>
                  <a:schemeClr val="tx1"/>
                </a:solidFill>
                <a:latin typeface="Gill Sans Light"/>
                <a:ea typeface="Gill Sans Light"/>
                <a:cs typeface="Gill Sans Light"/>
              </a:rPr>
              <a:t>ကလေးရဲ</a:t>
            </a:r>
            <a:r>
              <a:rPr lang="en-US" altLang="en-US" b="0" dirty="0">
                <a:solidFill>
                  <a:schemeClr val="tx1"/>
                </a:solidFill>
                <a:latin typeface="Gill Sans Light"/>
                <a:ea typeface="Gill Sans Light"/>
                <a:cs typeface="Gill Sans Light"/>
              </a:rPr>
              <a:t>့ </a:t>
            </a:r>
            <a:r>
              <a:rPr lang="en-US" altLang="en-US" b="0" dirty="0" err="1">
                <a:solidFill>
                  <a:schemeClr val="tx1"/>
                </a:solidFill>
                <a:latin typeface="Gill Sans Light"/>
                <a:ea typeface="Gill Sans Light"/>
                <a:cs typeface="Gill Sans Light"/>
              </a:rPr>
              <a:t>ခံစားချက်များကို</a:t>
            </a:r>
            <a:r>
              <a:rPr lang="en-US" altLang="en-US" b="0" dirty="0">
                <a:solidFill>
                  <a:schemeClr val="tx1"/>
                </a:solidFill>
                <a:latin typeface="Gill Sans Light"/>
                <a:ea typeface="Gill Sans Light"/>
                <a:cs typeface="Gill Sans Light"/>
              </a:rPr>
              <a:t> </a:t>
            </a:r>
            <a:r>
              <a:rPr lang="en-US" altLang="en-US" b="0" dirty="0" err="1">
                <a:solidFill>
                  <a:schemeClr val="tx1"/>
                </a:solidFill>
                <a:latin typeface="Gill Sans Light"/>
                <a:ea typeface="Gill Sans Light"/>
                <a:cs typeface="Gill Sans Light"/>
              </a:rPr>
              <a:t>ပံ့ပိုးပ</a:t>
            </a:r>
            <a:r>
              <a:rPr lang="en-US" altLang="en-US" b="0" dirty="0">
                <a:solidFill>
                  <a:schemeClr val="tx1"/>
                </a:solidFill>
                <a:latin typeface="Gill Sans Light"/>
                <a:ea typeface="Gill Sans Light"/>
                <a:cs typeface="Gill Sans Light"/>
              </a:rPr>
              <a:t>ါ</a:t>
            </a:r>
            <a:endParaRPr lang="en-US" altLang="en-US" sz="1800" b="0" dirty="0">
              <a:solidFill>
                <a:schemeClr val="tx1"/>
              </a:solidFill>
              <a:latin typeface="Gill Sans Light"/>
              <a:ea typeface="Gill Sans Light"/>
              <a:cs typeface="Gill Sans Light"/>
            </a:endParaRPr>
          </a:p>
          <a:p>
            <a:pPr marL="298450" indent="-285750">
              <a:lnSpc>
                <a:spcPct val="150000"/>
              </a:lnSpc>
              <a:buFont typeface="Arial" panose="020B0604020202020204" pitchFamily="34" charset="0"/>
              <a:buChar char="•"/>
            </a:pPr>
            <a:r>
              <a:rPr lang="en-US" altLang="en-US" b="0" dirty="0">
                <a:solidFill>
                  <a:schemeClr val="tx1"/>
                </a:solidFill>
                <a:latin typeface="Gill Sans Light"/>
                <a:ea typeface="Gill Sans Light"/>
                <a:cs typeface="Gill Sans Light"/>
              </a:rPr>
              <a:t>မျှ</a:t>
            </a:r>
            <a:r>
              <a:rPr lang="en-US" altLang="en-US" b="0" dirty="0" err="1">
                <a:solidFill>
                  <a:schemeClr val="tx1"/>
                </a:solidFill>
                <a:latin typeface="Gill Sans Light"/>
                <a:ea typeface="Gill Sans Light"/>
                <a:cs typeface="Gill Sans Light"/>
              </a:rPr>
              <a:t>ော်လင</a:t>
            </a:r>
            <a:r>
              <a:rPr lang="en-US" altLang="en-US" b="0" dirty="0">
                <a:solidFill>
                  <a:schemeClr val="tx1"/>
                </a:solidFill>
                <a:latin typeface="Gill Sans Light"/>
                <a:ea typeface="Gill Sans Light"/>
                <a:cs typeface="Gill Sans Light"/>
              </a:rPr>
              <a:t>့်</a:t>
            </a:r>
            <a:r>
              <a:rPr lang="en-US" altLang="en-US" b="0" dirty="0" err="1">
                <a:solidFill>
                  <a:schemeClr val="tx1"/>
                </a:solidFill>
                <a:latin typeface="Gill Sans Light"/>
                <a:ea typeface="Gill Sans Light"/>
                <a:cs typeface="Gill Sans Light"/>
              </a:rPr>
              <a:t>ခြင်းတွေ</a:t>
            </a:r>
            <a:r>
              <a:rPr lang="en-US" altLang="en-US" b="0" dirty="0">
                <a:solidFill>
                  <a:schemeClr val="tx1"/>
                </a:solidFill>
                <a:latin typeface="Gill Sans Light"/>
                <a:ea typeface="Gill Sans Light"/>
                <a:cs typeface="Gill Sans Light"/>
              </a:rPr>
              <a:t> </a:t>
            </a:r>
            <a:r>
              <a:rPr lang="en-US" altLang="en-US" b="0" dirty="0" err="1">
                <a:solidFill>
                  <a:schemeClr val="tx1"/>
                </a:solidFill>
                <a:latin typeface="Gill Sans Light"/>
                <a:ea typeface="Gill Sans Light"/>
                <a:cs typeface="Gill Sans Light"/>
              </a:rPr>
              <a:t>အသက်သွင်းပ</a:t>
            </a:r>
            <a:r>
              <a:rPr lang="en-US" altLang="en-US" b="0" dirty="0">
                <a:solidFill>
                  <a:schemeClr val="tx1"/>
                </a:solidFill>
                <a:latin typeface="Gill Sans Light"/>
                <a:ea typeface="Gill Sans Light"/>
                <a:cs typeface="Gill Sans Light"/>
              </a:rPr>
              <a:t>ါ</a:t>
            </a:r>
            <a:endParaRPr lang="en-US" altLang="en-US" sz="1800" b="0" dirty="0">
              <a:solidFill>
                <a:schemeClr val="tx1"/>
              </a:solidFill>
              <a:latin typeface="Gill Sans Light"/>
              <a:ea typeface="Gill Sans Light"/>
              <a:cs typeface="Gill Sans Light"/>
            </a:endParaRPr>
          </a:p>
          <a:p>
            <a:pPr marL="355600" indent="-342900">
              <a:lnSpc>
                <a:spcPct val="150000"/>
              </a:lnSpc>
              <a:buFont typeface="Wingdings" panose="05000000000000000000" pitchFamily="2" charset="2"/>
              <a:buChar char="Ø"/>
            </a:pPr>
            <a:endParaRPr lang="en-US" altLang="en-US" sz="1800" b="0" dirty="0">
              <a:solidFill>
                <a:schemeClr val="tx1"/>
              </a:solidFill>
              <a:latin typeface="Gill Sans Light"/>
              <a:ea typeface="Gill Sans Light"/>
              <a:cs typeface="Gill Sans Light"/>
            </a:endParaRPr>
          </a:p>
          <a:p>
            <a:pPr marL="355600" indent="-342900">
              <a:lnSpc>
                <a:spcPct val="150000"/>
              </a:lnSpc>
              <a:buFont typeface="Wingdings" panose="05000000000000000000" pitchFamily="2" charset="2"/>
              <a:buChar char="Ø"/>
            </a:pPr>
            <a:endParaRPr lang="en-US" altLang="en-US" sz="1800" b="0" dirty="0">
              <a:solidFill>
                <a:schemeClr val="tx1"/>
              </a:solidFill>
              <a:latin typeface="Gill Sans Light"/>
              <a:ea typeface="Gill Sans Light"/>
              <a:cs typeface="Gill Sans Light"/>
            </a:endParaRPr>
          </a:p>
          <a:p>
            <a:pPr marL="355600" indent="-342900" eaLnBrk="1" hangingPunct="1">
              <a:lnSpc>
                <a:spcPct val="150000"/>
              </a:lnSpc>
              <a:buFont typeface="Wingdings" panose="05000000000000000000" pitchFamily="2" charset="2"/>
              <a:buChar char="Ø"/>
            </a:pPr>
            <a:endParaRPr lang="en-US" altLang="en-US" sz="1800" b="0" dirty="0">
              <a:solidFill>
                <a:schemeClr val="tx1"/>
              </a:solidFill>
              <a:latin typeface="Gill Sans Light"/>
              <a:ea typeface="Gill Sans Light"/>
              <a:cs typeface="Gill Sans Light"/>
            </a:endParaRPr>
          </a:p>
          <a:p>
            <a:pPr>
              <a:lnSpc>
                <a:spcPct val="150000"/>
              </a:lnSpc>
            </a:pPr>
            <a:endParaRPr lang="en-US" b="0" dirty="0">
              <a:solidFill>
                <a:schemeClr val="tx1"/>
              </a:solidFill>
            </a:endParaRPr>
          </a:p>
        </p:txBody>
      </p:sp>
      <p:grpSp>
        <p:nvGrpSpPr>
          <p:cNvPr id="25" name="Group 24">
            <a:extLst>
              <a:ext uri="{FF2B5EF4-FFF2-40B4-BE49-F238E27FC236}">
                <a16:creationId xmlns:a16="http://schemas.microsoft.com/office/drawing/2014/main" id="{1EEFD061-0FA8-4899-855B-F23A97FF1818}"/>
              </a:ext>
            </a:extLst>
          </p:cNvPr>
          <p:cNvGrpSpPr/>
          <p:nvPr/>
        </p:nvGrpSpPr>
        <p:grpSpPr>
          <a:xfrm>
            <a:off x="2240603" y="4447179"/>
            <a:ext cx="4769797" cy="1156578"/>
            <a:chOff x="1702276" y="2551580"/>
            <a:chExt cx="5740366" cy="1623732"/>
          </a:xfrm>
        </p:grpSpPr>
        <p:sp>
          <p:nvSpPr>
            <p:cNvPr id="26" name="object 34">
              <a:extLst>
                <a:ext uri="{FF2B5EF4-FFF2-40B4-BE49-F238E27FC236}">
                  <a16:creationId xmlns:a16="http://schemas.microsoft.com/office/drawing/2014/main" id="{F26D5AB3-1EF5-468D-84E7-CD76CE6295D6}"/>
                </a:ext>
              </a:extLst>
            </p:cNvPr>
            <p:cNvSpPr>
              <a:spLocks/>
            </p:cNvSpPr>
            <p:nvPr/>
          </p:nvSpPr>
          <p:spPr bwMode="auto">
            <a:xfrm>
              <a:off x="1702276" y="2641431"/>
              <a:ext cx="88934" cy="324563"/>
            </a:xfrm>
            <a:custGeom>
              <a:avLst/>
              <a:gdLst>
                <a:gd name="T0" fmla="*/ 0 w 154393"/>
                <a:gd name="T1" fmla="*/ 556930 h 562609"/>
                <a:gd name="T2" fmla="*/ 150784 w 154393"/>
                <a:gd name="T3" fmla="*/ 556930 h 562609"/>
                <a:gd name="T4" fmla="*/ 150784 w 154393"/>
                <a:gd name="T5" fmla="*/ 0 h 562609"/>
                <a:gd name="T6" fmla="*/ 0 w 154393"/>
                <a:gd name="T7" fmla="*/ 0 h 562609"/>
                <a:gd name="T8" fmla="*/ 0 w 154393"/>
                <a:gd name="T9" fmla="*/ 556930 h 5626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4393" h="562609">
                  <a:moveTo>
                    <a:pt x="0" y="562610"/>
                  </a:moveTo>
                  <a:lnTo>
                    <a:pt x="154393" y="562610"/>
                  </a:lnTo>
                  <a:lnTo>
                    <a:pt x="154393" y="0"/>
                  </a:lnTo>
                  <a:lnTo>
                    <a:pt x="0" y="0"/>
                  </a:lnTo>
                  <a:lnTo>
                    <a:pt x="0" y="5626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7" name="object 35">
              <a:extLst>
                <a:ext uri="{FF2B5EF4-FFF2-40B4-BE49-F238E27FC236}">
                  <a16:creationId xmlns:a16="http://schemas.microsoft.com/office/drawing/2014/main" id="{4B8EACA6-1612-4D3C-A5CB-1D020F1DEB3D}"/>
                </a:ext>
              </a:extLst>
            </p:cNvPr>
            <p:cNvSpPr>
              <a:spLocks/>
            </p:cNvSpPr>
            <p:nvPr/>
          </p:nvSpPr>
          <p:spPr bwMode="auto">
            <a:xfrm>
              <a:off x="1702276" y="2551580"/>
              <a:ext cx="413497" cy="89851"/>
            </a:xfrm>
            <a:custGeom>
              <a:avLst/>
              <a:gdLst>
                <a:gd name="T0" fmla="*/ 0 w 716762"/>
                <a:gd name="T1" fmla="*/ 160749 h 154940"/>
                <a:gd name="T2" fmla="*/ 709603 w 716762"/>
                <a:gd name="T3" fmla="*/ 160749 h 154940"/>
                <a:gd name="T4" fmla="*/ 709603 w 716762"/>
                <a:gd name="T5" fmla="*/ 0 h 154940"/>
                <a:gd name="T6" fmla="*/ 0 w 716762"/>
                <a:gd name="T7" fmla="*/ 0 h 154940"/>
                <a:gd name="T8" fmla="*/ 0 w 716762"/>
                <a:gd name="T9" fmla="*/ 160749 h 154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6762" h="154940">
                  <a:moveTo>
                    <a:pt x="0" y="154940"/>
                  </a:moveTo>
                  <a:lnTo>
                    <a:pt x="716762" y="154940"/>
                  </a:lnTo>
                  <a:lnTo>
                    <a:pt x="716762" y="0"/>
                  </a:lnTo>
                  <a:lnTo>
                    <a:pt x="0" y="0"/>
                  </a:lnTo>
                  <a:lnTo>
                    <a:pt x="0" y="1549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8" name="object 36">
              <a:extLst>
                <a:ext uri="{FF2B5EF4-FFF2-40B4-BE49-F238E27FC236}">
                  <a16:creationId xmlns:a16="http://schemas.microsoft.com/office/drawing/2014/main" id="{2FA23C1F-C84B-4265-84AC-010957D13BA3}"/>
                </a:ext>
              </a:extLst>
            </p:cNvPr>
            <p:cNvSpPr>
              <a:spLocks/>
            </p:cNvSpPr>
            <p:nvPr/>
          </p:nvSpPr>
          <p:spPr bwMode="auto">
            <a:xfrm>
              <a:off x="7348207" y="2641431"/>
              <a:ext cx="88934" cy="324563"/>
            </a:xfrm>
            <a:custGeom>
              <a:avLst/>
              <a:gdLst>
                <a:gd name="T0" fmla="*/ 0 w 154444"/>
                <a:gd name="T1" fmla="*/ 556929 h 562609"/>
                <a:gd name="T2" fmla="*/ 150388 w 154444"/>
                <a:gd name="T3" fmla="*/ 556929 h 562609"/>
                <a:gd name="T4" fmla="*/ 150388 w 154444"/>
                <a:gd name="T5" fmla="*/ 0 h 562609"/>
                <a:gd name="T6" fmla="*/ 0 w 154444"/>
                <a:gd name="T7" fmla="*/ 0 h 562609"/>
                <a:gd name="T8" fmla="*/ 0 w 154444"/>
                <a:gd name="T9" fmla="*/ 556929 h 5626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4444" h="562609">
                  <a:moveTo>
                    <a:pt x="0" y="562609"/>
                  </a:moveTo>
                  <a:lnTo>
                    <a:pt x="154444" y="562609"/>
                  </a:lnTo>
                  <a:lnTo>
                    <a:pt x="154444" y="0"/>
                  </a:lnTo>
                  <a:lnTo>
                    <a:pt x="0" y="0"/>
                  </a:lnTo>
                  <a:lnTo>
                    <a:pt x="0" y="56260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9" name="object 37">
              <a:extLst>
                <a:ext uri="{FF2B5EF4-FFF2-40B4-BE49-F238E27FC236}">
                  <a16:creationId xmlns:a16="http://schemas.microsoft.com/office/drawing/2014/main" id="{D1C74D07-BCCE-43AD-AB9D-82C14E7E394A}"/>
                </a:ext>
              </a:extLst>
            </p:cNvPr>
            <p:cNvSpPr>
              <a:spLocks/>
            </p:cNvSpPr>
            <p:nvPr/>
          </p:nvSpPr>
          <p:spPr bwMode="auto">
            <a:xfrm>
              <a:off x="7022727" y="2552496"/>
              <a:ext cx="414414" cy="88934"/>
            </a:xfrm>
            <a:custGeom>
              <a:avLst/>
              <a:gdLst>
                <a:gd name="T0" fmla="*/ 0 w 716762"/>
                <a:gd name="T1" fmla="*/ 156555 h 153670"/>
                <a:gd name="T2" fmla="*/ 723885 w 716762"/>
                <a:gd name="T3" fmla="*/ 156555 h 153670"/>
                <a:gd name="T4" fmla="*/ 723885 w 716762"/>
                <a:gd name="T5" fmla="*/ 0 h 153670"/>
                <a:gd name="T6" fmla="*/ 0 w 716762"/>
                <a:gd name="T7" fmla="*/ 0 h 153670"/>
                <a:gd name="T8" fmla="*/ 0 w 716762"/>
                <a:gd name="T9" fmla="*/ 156555 h 1536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6762" h="153670">
                  <a:moveTo>
                    <a:pt x="0" y="153669"/>
                  </a:moveTo>
                  <a:lnTo>
                    <a:pt x="716762" y="153669"/>
                  </a:lnTo>
                  <a:lnTo>
                    <a:pt x="716762" y="0"/>
                  </a:lnTo>
                  <a:lnTo>
                    <a:pt x="0" y="0"/>
                  </a:lnTo>
                  <a:lnTo>
                    <a:pt x="0" y="15366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0" name="object 38">
              <a:extLst>
                <a:ext uri="{FF2B5EF4-FFF2-40B4-BE49-F238E27FC236}">
                  <a16:creationId xmlns:a16="http://schemas.microsoft.com/office/drawing/2014/main" id="{16AE69FC-5247-49B3-8406-A2191FBF5FA9}"/>
                </a:ext>
              </a:extLst>
            </p:cNvPr>
            <p:cNvSpPr>
              <a:spLocks/>
            </p:cNvSpPr>
            <p:nvPr/>
          </p:nvSpPr>
          <p:spPr bwMode="auto">
            <a:xfrm>
              <a:off x="7028228" y="4086378"/>
              <a:ext cx="414414" cy="88934"/>
            </a:xfrm>
            <a:custGeom>
              <a:avLst/>
              <a:gdLst>
                <a:gd name="T0" fmla="*/ 0 w 716762"/>
                <a:gd name="T1" fmla="*/ 146570 h 154940"/>
                <a:gd name="T2" fmla="*/ 723885 w 716762"/>
                <a:gd name="T3" fmla="*/ 146570 h 154940"/>
                <a:gd name="T4" fmla="*/ 723885 w 716762"/>
                <a:gd name="T5" fmla="*/ 0 h 154940"/>
                <a:gd name="T6" fmla="*/ 0 w 716762"/>
                <a:gd name="T7" fmla="*/ 0 h 154940"/>
                <a:gd name="T8" fmla="*/ 0 w 716762"/>
                <a:gd name="T9" fmla="*/ 146570 h 154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6762" h="154940">
                  <a:moveTo>
                    <a:pt x="0" y="154939"/>
                  </a:moveTo>
                  <a:lnTo>
                    <a:pt x="716762" y="154939"/>
                  </a:lnTo>
                  <a:lnTo>
                    <a:pt x="716762" y="0"/>
                  </a:lnTo>
                  <a:lnTo>
                    <a:pt x="0" y="0"/>
                  </a:lnTo>
                  <a:lnTo>
                    <a:pt x="0" y="15493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1" name="object 39">
              <a:extLst>
                <a:ext uri="{FF2B5EF4-FFF2-40B4-BE49-F238E27FC236}">
                  <a16:creationId xmlns:a16="http://schemas.microsoft.com/office/drawing/2014/main" id="{47C69062-3303-46E7-BD92-A0591F3FA465}"/>
                </a:ext>
              </a:extLst>
            </p:cNvPr>
            <p:cNvSpPr>
              <a:spLocks/>
            </p:cNvSpPr>
            <p:nvPr/>
          </p:nvSpPr>
          <p:spPr bwMode="auto">
            <a:xfrm>
              <a:off x="7353708" y="3760898"/>
              <a:ext cx="88934" cy="325480"/>
            </a:xfrm>
            <a:custGeom>
              <a:avLst/>
              <a:gdLst>
                <a:gd name="T0" fmla="*/ 0 w 154393"/>
                <a:gd name="T1" fmla="*/ 571254 h 562609"/>
                <a:gd name="T2" fmla="*/ 150784 w 154393"/>
                <a:gd name="T3" fmla="*/ 571254 h 562609"/>
                <a:gd name="T4" fmla="*/ 150784 w 154393"/>
                <a:gd name="T5" fmla="*/ 0 h 562609"/>
                <a:gd name="T6" fmla="*/ 0 w 154393"/>
                <a:gd name="T7" fmla="*/ 0 h 562609"/>
                <a:gd name="T8" fmla="*/ 0 w 154393"/>
                <a:gd name="T9" fmla="*/ 571254 h 5626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4393" h="562609">
                  <a:moveTo>
                    <a:pt x="0" y="562610"/>
                  </a:moveTo>
                  <a:lnTo>
                    <a:pt x="154393" y="562610"/>
                  </a:lnTo>
                  <a:lnTo>
                    <a:pt x="154393" y="0"/>
                  </a:lnTo>
                  <a:lnTo>
                    <a:pt x="0" y="0"/>
                  </a:lnTo>
                  <a:lnTo>
                    <a:pt x="0" y="5626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2" name="object 40">
              <a:extLst>
                <a:ext uri="{FF2B5EF4-FFF2-40B4-BE49-F238E27FC236}">
                  <a16:creationId xmlns:a16="http://schemas.microsoft.com/office/drawing/2014/main" id="{2FC857CD-2157-4E04-A0A5-53BABDB66D8B}"/>
                </a:ext>
              </a:extLst>
            </p:cNvPr>
            <p:cNvSpPr>
              <a:spLocks/>
            </p:cNvSpPr>
            <p:nvPr/>
          </p:nvSpPr>
          <p:spPr bwMode="auto">
            <a:xfrm>
              <a:off x="1707776" y="4086378"/>
              <a:ext cx="414414" cy="88934"/>
            </a:xfrm>
            <a:custGeom>
              <a:avLst/>
              <a:gdLst>
                <a:gd name="T0" fmla="*/ 0 w 716762"/>
                <a:gd name="T1" fmla="*/ 156555 h 153669"/>
                <a:gd name="T2" fmla="*/ 723885 w 716762"/>
                <a:gd name="T3" fmla="*/ 156555 h 153669"/>
                <a:gd name="T4" fmla="*/ 723885 w 716762"/>
                <a:gd name="T5" fmla="*/ 0 h 153669"/>
                <a:gd name="T6" fmla="*/ 0 w 716762"/>
                <a:gd name="T7" fmla="*/ 0 h 153669"/>
                <a:gd name="T8" fmla="*/ 0 w 716762"/>
                <a:gd name="T9" fmla="*/ 156555 h 1536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6762" h="153669">
                  <a:moveTo>
                    <a:pt x="0" y="153669"/>
                  </a:moveTo>
                  <a:lnTo>
                    <a:pt x="716762" y="153669"/>
                  </a:lnTo>
                  <a:lnTo>
                    <a:pt x="716762" y="0"/>
                  </a:lnTo>
                  <a:lnTo>
                    <a:pt x="0" y="0"/>
                  </a:lnTo>
                  <a:lnTo>
                    <a:pt x="0" y="15366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3" name="object 41">
              <a:extLst>
                <a:ext uri="{FF2B5EF4-FFF2-40B4-BE49-F238E27FC236}">
                  <a16:creationId xmlns:a16="http://schemas.microsoft.com/office/drawing/2014/main" id="{634C6B26-7D19-4153-8587-8D5130A22951}"/>
                </a:ext>
              </a:extLst>
            </p:cNvPr>
            <p:cNvSpPr>
              <a:spLocks/>
            </p:cNvSpPr>
            <p:nvPr/>
          </p:nvSpPr>
          <p:spPr bwMode="auto">
            <a:xfrm>
              <a:off x="1707777" y="3760898"/>
              <a:ext cx="88934" cy="325480"/>
            </a:xfrm>
            <a:custGeom>
              <a:avLst/>
              <a:gdLst>
                <a:gd name="T0" fmla="*/ 0 w 154444"/>
                <a:gd name="T1" fmla="*/ 571254 h 562609"/>
                <a:gd name="T2" fmla="*/ 150388 w 154444"/>
                <a:gd name="T3" fmla="*/ 571254 h 562609"/>
                <a:gd name="T4" fmla="*/ 150388 w 154444"/>
                <a:gd name="T5" fmla="*/ 0 h 562609"/>
                <a:gd name="T6" fmla="*/ 0 w 154444"/>
                <a:gd name="T7" fmla="*/ 0 h 562609"/>
                <a:gd name="T8" fmla="*/ 0 w 154444"/>
                <a:gd name="T9" fmla="*/ 571254 h 5626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4444" h="562609">
                  <a:moveTo>
                    <a:pt x="0" y="562610"/>
                  </a:moveTo>
                  <a:lnTo>
                    <a:pt x="154444" y="562610"/>
                  </a:lnTo>
                  <a:lnTo>
                    <a:pt x="154444" y="0"/>
                  </a:lnTo>
                  <a:lnTo>
                    <a:pt x="0" y="0"/>
                  </a:lnTo>
                  <a:lnTo>
                    <a:pt x="0" y="5626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grpSp>
      <p:sp>
        <p:nvSpPr>
          <p:cNvPr id="34" name="object 33">
            <a:extLst>
              <a:ext uri="{FF2B5EF4-FFF2-40B4-BE49-F238E27FC236}">
                <a16:creationId xmlns:a16="http://schemas.microsoft.com/office/drawing/2014/main" id="{179903C0-EB8B-4C49-81CF-962C9B2E6E34}"/>
              </a:ext>
            </a:extLst>
          </p:cNvPr>
          <p:cNvSpPr txBox="1">
            <a:spLocks/>
          </p:cNvSpPr>
          <p:nvPr/>
        </p:nvSpPr>
        <p:spPr>
          <a:xfrm>
            <a:off x="2399478" y="4718842"/>
            <a:ext cx="4532454" cy="1295211"/>
          </a:xfrm>
          <a:prstGeom prst="rect">
            <a:avLst/>
          </a:prstGeom>
        </p:spPr>
        <p:txBody>
          <a:bodyPr vert="horz" lIns="0" tIns="0" rIns="0" bIns="0" rtlCol="0">
            <a:normAutofit/>
          </a:bodyPr>
          <a:lstStyle>
            <a:lvl1pPr marL="0" indent="0" algn="l" defTabSz="457200" rtl="0" eaLnBrk="1" latinLnBrk="0" hangingPunct="1">
              <a:spcBef>
                <a:spcPts val="0"/>
              </a:spcBef>
              <a:spcAft>
                <a:spcPts val="600"/>
              </a:spcAft>
              <a:buFont typeface="Arial"/>
              <a:buNone/>
              <a:defRPr sz="1800" b="1" i="0" kern="1200">
                <a:solidFill>
                  <a:schemeClr val="tx2"/>
                </a:solidFill>
                <a:latin typeface="Gill Sans Infant Std"/>
                <a:ea typeface="+mn-ea"/>
                <a:cs typeface="Gill Sans Infant Std"/>
              </a:defRPr>
            </a:lvl1pPr>
            <a:lvl2pPr marL="0" indent="0" algn="l" defTabSz="457200" rtl="0" eaLnBrk="1" latinLnBrk="0" hangingPunct="1">
              <a:spcBef>
                <a:spcPts val="0"/>
              </a:spcBef>
              <a:spcAft>
                <a:spcPts val="600"/>
              </a:spcAft>
              <a:buFont typeface="Arial"/>
              <a:buNone/>
              <a:defRPr sz="1500" b="0" i="0" kern="1200">
                <a:solidFill>
                  <a:schemeClr val="tx1"/>
                </a:solidFill>
                <a:latin typeface="Gill Sans Infant Std"/>
                <a:ea typeface="+mn-ea"/>
                <a:cs typeface="Gill Sans Infant Std"/>
              </a:defRPr>
            </a:lvl2pPr>
            <a:lvl3pPr marL="266700" indent="-266700" algn="l" defTabSz="457200" rtl="0" eaLnBrk="1" latinLnBrk="0" hangingPunct="1">
              <a:spcBef>
                <a:spcPts val="0"/>
              </a:spcBef>
              <a:spcAft>
                <a:spcPts val="600"/>
              </a:spcAft>
              <a:buClr>
                <a:schemeClr val="tx2"/>
              </a:buClr>
              <a:buFont typeface="Arial"/>
              <a:buChar char="•"/>
              <a:defRPr sz="1400" b="0" i="0" kern="1200">
                <a:solidFill>
                  <a:schemeClr val="tx1"/>
                </a:solidFill>
                <a:latin typeface="Gill Sans Infant Std"/>
                <a:ea typeface="+mn-ea"/>
                <a:cs typeface="Gill Sans Infant Std"/>
              </a:defRPr>
            </a:lvl3pPr>
            <a:lvl4pPr marL="541338" indent="-274638" algn="l" defTabSz="457200" rtl="0" eaLnBrk="1" latinLnBrk="0" hangingPunct="1">
              <a:spcBef>
                <a:spcPts val="0"/>
              </a:spcBef>
              <a:spcAft>
                <a:spcPts val="600"/>
              </a:spcAft>
              <a:buFont typeface="Arial"/>
              <a:buChar char="–"/>
              <a:defRPr sz="1300" b="0" i="0" kern="1200">
                <a:solidFill>
                  <a:schemeClr val="tx1"/>
                </a:solidFill>
                <a:latin typeface="Gill Sans Infant Std"/>
                <a:ea typeface="+mn-ea"/>
                <a:cs typeface="Gill Sans Infant Std"/>
              </a:defRPr>
            </a:lvl4pPr>
            <a:lvl5pPr marL="808038" indent="-266700" algn="l" defTabSz="457200" rtl="0" eaLnBrk="1" latinLnBrk="0" hangingPunct="1">
              <a:spcBef>
                <a:spcPts val="0"/>
              </a:spcBef>
              <a:spcAft>
                <a:spcPts val="600"/>
              </a:spcAft>
              <a:buClr>
                <a:schemeClr val="tx2"/>
              </a:buClr>
              <a:buFont typeface="Arial"/>
              <a:buChar char="•"/>
              <a:defRPr sz="1200" b="0" i="0" kern="1200">
                <a:solidFill>
                  <a:schemeClr val="tx1"/>
                </a:solidFill>
                <a:latin typeface="Gill Sans Infant Std"/>
                <a:ea typeface="+mn-ea"/>
                <a:cs typeface="Gill Sans Infan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334" algn="ctr"/>
            <a:r>
              <a:rPr lang="en-US" altLang="en-US" sz="2000" dirty="0" err="1">
                <a:solidFill>
                  <a:srgbClr val="231F20"/>
                </a:solidFill>
                <a:latin typeface="Gill Sans Light"/>
                <a:ea typeface="Gill Sans Light"/>
                <a:cs typeface="Gill Sans Light"/>
              </a:rPr>
              <a:t>ကလေးနှင</a:t>
            </a:r>
            <a:r>
              <a:rPr lang="en-US" altLang="en-US" sz="2000" dirty="0">
                <a:solidFill>
                  <a:srgbClr val="231F20"/>
                </a:solidFill>
                <a:latin typeface="Gill Sans Light"/>
                <a:ea typeface="Gill Sans Light"/>
                <a:cs typeface="Gill Sans Light"/>
              </a:rPr>
              <a:t>့် </a:t>
            </a:r>
            <a:r>
              <a:rPr lang="en-US" altLang="en-US" sz="2000" dirty="0" err="1">
                <a:solidFill>
                  <a:srgbClr val="231F20"/>
                </a:solidFill>
                <a:latin typeface="Gill Sans Light"/>
                <a:ea typeface="Gill Sans Light"/>
                <a:cs typeface="Gill Sans Light"/>
              </a:rPr>
              <a:t>စကားပြောလို့ရနိုင်မယ</a:t>
            </a:r>
            <a:r>
              <a:rPr lang="en-US" altLang="en-US" sz="2000" dirty="0">
                <a:solidFill>
                  <a:srgbClr val="231F20"/>
                </a:solidFill>
                <a:latin typeface="Gill Sans Light"/>
                <a:ea typeface="Gill Sans Light"/>
                <a:cs typeface="Gill Sans Light"/>
              </a:rPr>
              <a:t>့် </a:t>
            </a:r>
            <a:r>
              <a:rPr lang="en-US" altLang="en-US" sz="2000" dirty="0" err="1">
                <a:solidFill>
                  <a:srgbClr val="231F20"/>
                </a:solidFill>
                <a:latin typeface="Gill Sans Light"/>
                <a:ea typeface="Gill Sans Light"/>
                <a:cs typeface="Gill Sans Light"/>
              </a:rPr>
              <a:t>အချိန်ကာလကို</a:t>
            </a:r>
            <a:r>
              <a:rPr lang="en-US" altLang="en-US" sz="2000" dirty="0">
                <a:solidFill>
                  <a:srgbClr val="231F20"/>
                </a:solidFill>
                <a:latin typeface="Gill Sans Light"/>
                <a:ea typeface="Gill Sans Light"/>
                <a:cs typeface="Gill Sans Light"/>
              </a:rPr>
              <a:t> </a:t>
            </a:r>
            <a:r>
              <a:rPr lang="en-US" altLang="en-US" sz="2000" dirty="0" err="1">
                <a:solidFill>
                  <a:srgbClr val="231F20"/>
                </a:solidFill>
                <a:latin typeface="Gill Sans Light"/>
                <a:ea typeface="Gill Sans Light"/>
                <a:cs typeface="Gill Sans Light"/>
              </a:rPr>
              <a:t>မိဘနှင</a:t>
            </a:r>
            <a:r>
              <a:rPr lang="en-US" altLang="en-US" sz="2000" dirty="0">
                <a:solidFill>
                  <a:srgbClr val="231F20"/>
                </a:solidFill>
                <a:latin typeface="Gill Sans Light"/>
                <a:ea typeface="Gill Sans Light"/>
                <a:cs typeface="Gill Sans Light"/>
              </a:rPr>
              <a:t>့် </a:t>
            </a:r>
            <a:r>
              <a:rPr lang="en-US" altLang="en-US" sz="2000" dirty="0" err="1">
                <a:solidFill>
                  <a:srgbClr val="231F20"/>
                </a:solidFill>
                <a:latin typeface="Gill Sans Light"/>
                <a:ea typeface="Gill Sans Light"/>
                <a:cs typeface="Gill Sans Light"/>
              </a:rPr>
              <a:t>အုပ်ထိန်းသူများကို</a:t>
            </a:r>
            <a:r>
              <a:rPr lang="en-US" altLang="en-US" sz="2000" dirty="0">
                <a:solidFill>
                  <a:srgbClr val="231F20"/>
                </a:solidFill>
                <a:latin typeface="Gill Sans Light"/>
                <a:ea typeface="Gill Sans Light"/>
                <a:cs typeface="Gill Sans Light"/>
              </a:rPr>
              <a:t> </a:t>
            </a:r>
            <a:r>
              <a:rPr lang="en-US" altLang="en-US" sz="2000" dirty="0" err="1">
                <a:solidFill>
                  <a:srgbClr val="231F20"/>
                </a:solidFill>
                <a:latin typeface="Gill Sans Light"/>
                <a:ea typeface="Gill Sans Light"/>
                <a:cs typeface="Gill Sans Light"/>
              </a:rPr>
              <a:t>မေးပ</a:t>
            </a:r>
            <a:r>
              <a:rPr lang="en-US" altLang="en-US" sz="2000" dirty="0">
                <a:solidFill>
                  <a:srgbClr val="231F20"/>
                </a:solidFill>
                <a:latin typeface="Gill Sans Light"/>
                <a:ea typeface="Gill Sans Light"/>
                <a:cs typeface="Gill Sans Light"/>
              </a:rPr>
              <a:t>ါ</a:t>
            </a:r>
            <a:endParaRPr lang="en-US" altLang="en-US" sz="2000" dirty="0">
              <a:latin typeface="Gill Sans Light"/>
              <a:ea typeface="Gill Sans Light"/>
              <a:cs typeface="Gill Sans Light"/>
            </a:endParaRPr>
          </a:p>
        </p:txBody>
      </p:sp>
      <p:sp>
        <p:nvSpPr>
          <p:cNvPr id="22" name="object 6">
            <a:extLst>
              <a:ext uri="{FF2B5EF4-FFF2-40B4-BE49-F238E27FC236}">
                <a16:creationId xmlns:a16="http://schemas.microsoft.com/office/drawing/2014/main" id="{BAE63481-7264-4711-9100-70D00CBC3E32}"/>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 name="object 7">
            <a:extLst>
              <a:ext uri="{FF2B5EF4-FFF2-40B4-BE49-F238E27FC236}">
                <a16:creationId xmlns:a16="http://schemas.microsoft.com/office/drawing/2014/main" id="{37CD4154-6577-4815-87E5-21878DC6E6AF}"/>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1</a:t>
            </a:r>
            <a:endParaRPr lang="en-US" altLang="en-US" sz="2021" dirty="0">
              <a:latin typeface="Gill Sans" pitchFamily="34" charset="0"/>
              <a:cs typeface="Gill Sans" pitchFamily="34" charset="0"/>
            </a:endParaRPr>
          </a:p>
        </p:txBody>
      </p:sp>
    </p:spTree>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object 2">
            <a:extLst>
              <a:ext uri="{FF2B5EF4-FFF2-40B4-BE49-F238E27FC236}">
                <a16:creationId xmlns:a16="http://schemas.microsoft.com/office/drawing/2014/main" id="{213E2BC1-F43B-4037-A6D7-840C436F2974}"/>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1443" name="object 3">
            <a:extLst>
              <a:ext uri="{FF2B5EF4-FFF2-40B4-BE49-F238E27FC236}">
                <a16:creationId xmlns:a16="http://schemas.microsoft.com/office/drawing/2014/main" id="{BAAD2E39-6C30-412C-A962-CB40508BAD26}"/>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1444" name="object 5">
            <a:extLst>
              <a:ext uri="{FF2B5EF4-FFF2-40B4-BE49-F238E27FC236}">
                <a16:creationId xmlns:a16="http://schemas.microsoft.com/office/drawing/2014/main" id="{4930C7D7-9107-4C1E-A9C1-8CE12EB8950B}"/>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1445" name="object 6">
            <a:extLst>
              <a:ext uri="{FF2B5EF4-FFF2-40B4-BE49-F238E27FC236}">
                <a16:creationId xmlns:a16="http://schemas.microsoft.com/office/drawing/2014/main" id="{7600B2AB-4A8C-4A7F-901B-D2DC133929B7}"/>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2</a:t>
            </a:r>
            <a:endParaRPr lang="en-US" altLang="en-US" sz="2021" dirty="0">
              <a:latin typeface="Gill Sans" pitchFamily="34" charset="0"/>
              <a:cs typeface="Gill Sans" pitchFamily="34" charset="0"/>
            </a:endParaRPr>
          </a:p>
        </p:txBody>
      </p:sp>
      <p:sp>
        <p:nvSpPr>
          <p:cNvPr id="38" name="object 38">
            <a:extLst>
              <a:ext uri="{FF2B5EF4-FFF2-40B4-BE49-F238E27FC236}">
                <a16:creationId xmlns:a16="http://schemas.microsoft.com/office/drawing/2014/main" id="{0109E13D-8380-4A78-ABA4-74F8D73C4472}"/>
              </a:ext>
            </a:extLst>
          </p:cNvPr>
          <p:cNvSpPr>
            <a:spLocks noGrp="1"/>
          </p:cNvSpPr>
          <p:nvPr>
            <p:ph type="ftr" sz="quarter" idx="10"/>
          </p:nvPr>
        </p:nvSpPr>
        <p:spPr/>
        <p:txBody>
          <a:bodyPr rtlCol="0">
            <a:noAutofit/>
          </a:bodyPr>
          <a:lstStyle/>
          <a:p>
            <a:pPr>
              <a:defRPr/>
            </a:pPr>
            <a:r>
              <a:t>Se</a:t>
            </a:r>
            <a:r>
              <a:rPr spc="9"/>
              <a:t>c</a:t>
            </a:r>
            <a:r>
              <a:rPr spc="12"/>
              <a:t>t</a:t>
            </a:r>
            <a:r>
              <a:rPr spc="-6"/>
              <a:t>i</a:t>
            </a:r>
            <a:r>
              <a:t>on</a:t>
            </a:r>
            <a:r>
              <a:rPr spc="3"/>
              <a:t> </a:t>
            </a:r>
            <a:r>
              <a:rPr spc="9"/>
              <a:t>B</a:t>
            </a:r>
            <a:r>
              <a:t>:</a:t>
            </a:r>
            <a:endParaRPr>
              <a:solidFill>
                <a:srgbClr val="000000"/>
              </a:solidFill>
            </a:endParaRPr>
          </a:p>
        </p:txBody>
      </p:sp>
      <p:sp>
        <p:nvSpPr>
          <p:cNvPr id="22" name="object 32">
            <a:extLst>
              <a:ext uri="{FF2B5EF4-FFF2-40B4-BE49-F238E27FC236}">
                <a16:creationId xmlns:a16="http://schemas.microsoft.com/office/drawing/2014/main" id="{3A1D6BD8-6901-4E2C-BBDD-8DD3E0031DAE}"/>
              </a:ext>
            </a:extLst>
          </p:cNvPr>
          <p:cNvSpPr txBox="1"/>
          <p:nvPr/>
        </p:nvSpPr>
        <p:spPr>
          <a:xfrm>
            <a:off x="3765149" y="1412481"/>
            <a:ext cx="4266079" cy="2829029"/>
          </a:xfrm>
          <a:prstGeom prst="rect">
            <a:avLst/>
          </a:prstGeom>
        </p:spPr>
        <p:txBody>
          <a:bodyPr lIns="0" tIns="0" rIns="0" bIns="0"/>
          <a:lstStyle/>
          <a:p>
            <a:pPr marL="292515" indent="-285750" defTabSz="843533">
              <a:lnSpc>
                <a:spcPct val="150000"/>
              </a:lnSpc>
              <a:buFont typeface="Arial" panose="020B0604020202020204" pitchFamily="34" charset="0"/>
              <a:buChar char="•"/>
              <a:defRPr/>
            </a:pPr>
            <a:r>
              <a:rPr lang="en-US" sz="1758" dirty="0" err="1">
                <a:solidFill>
                  <a:srgbClr val="231F20"/>
                </a:solidFill>
                <a:latin typeface="Zawgyi-One" pitchFamily="34" charset="0"/>
                <a:ea typeface="SimHei" panose="02010609060101010101" pitchFamily="49" charset="-122"/>
                <a:cs typeface="Zawgyi-One" pitchFamily="34" charset="0"/>
              </a:rPr>
              <a:t>လံုျခံဳေရးအတြက</a:t>
            </a:r>
            <a:r>
              <a:rPr lang="en-US" sz="1758" dirty="0">
                <a:solidFill>
                  <a:srgbClr val="231F20"/>
                </a:solidFill>
                <a:latin typeface="Zawgyi-One" pitchFamily="34" charset="0"/>
                <a:ea typeface="SimHei" panose="02010609060101010101" pitchFamily="49" charset="-122"/>
                <a:cs typeface="Zawgyi-One" pitchFamily="34" charset="0"/>
              </a:rPr>
              <a:t>္ </a:t>
            </a:r>
            <a:r>
              <a:rPr lang="en-US" sz="1758" dirty="0" err="1">
                <a:solidFill>
                  <a:srgbClr val="231F20"/>
                </a:solidFill>
                <a:latin typeface="Zawgyi-One" pitchFamily="34" charset="0"/>
                <a:ea typeface="SimHei" panose="02010609060101010101" pitchFamily="49" charset="-122"/>
                <a:cs typeface="Zawgyi-One" pitchFamily="34" charset="0"/>
              </a:rPr>
              <a:t>စစ္ေဆးပ</a:t>
            </a:r>
            <a:r>
              <a:rPr lang="en-US" sz="1758" dirty="0">
                <a:solidFill>
                  <a:srgbClr val="231F20"/>
                </a:solidFill>
                <a:latin typeface="Zawgyi-One" pitchFamily="34" charset="0"/>
                <a:ea typeface="SimHei" panose="02010609060101010101" pitchFamily="49" charset="-122"/>
                <a:cs typeface="Zawgyi-One" pitchFamily="34" charset="0"/>
              </a:rPr>
              <a:t>ါ</a:t>
            </a:r>
          </a:p>
          <a:p>
            <a:pPr marL="292515" indent="-285750" defTabSz="843533">
              <a:lnSpc>
                <a:spcPct val="150000"/>
              </a:lnSpc>
              <a:buFont typeface="Arial" panose="020B0604020202020204" pitchFamily="34" charset="0"/>
              <a:buChar char="•"/>
              <a:defRPr/>
            </a:pPr>
            <a:endParaRPr lang="en-US" sz="1758" dirty="0">
              <a:solidFill>
                <a:srgbClr val="231F20"/>
              </a:solidFill>
              <a:latin typeface="Zawgyi-One" pitchFamily="34" charset="0"/>
              <a:ea typeface="SimHei" panose="02010609060101010101" pitchFamily="49" charset="-122"/>
              <a:cs typeface="Zawgyi-One" pitchFamily="34" charset="0"/>
            </a:endParaRPr>
          </a:p>
          <a:p>
            <a:pPr marL="292515" indent="-285750" defTabSz="843533">
              <a:lnSpc>
                <a:spcPct val="150000"/>
              </a:lnSpc>
              <a:buFont typeface="Arial" panose="020B0604020202020204" pitchFamily="34" charset="0"/>
              <a:buChar char="•"/>
              <a:defRPr/>
            </a:pPr>
            <a:r>
              <a:rPr lang="en-US" altLang="en-US" sz="1800" dirty="0" err="1">
                <a:solidFill>
                  <a:srgbClr val="231F20"/>
                </a:solidFill>
                <a:latin typeface="Zawgyi-One" panose="020B0604030504040204" pitchFamily="34" charset="0"/>
                <a:cs typeface="Zawgyi-One" panose="020B0604030504040204" pitchFamily="34" charset="0"/>
              </a:rPr>
              <a:t>ကေလးမ်ားမွာ</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မည္သည</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အေျခခံ</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လိုအပ္ခ်က္ေတ</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အေရးတၾကီးလိုသနည္း</a:t>
            </a:r>
            <a:endParaRPr lang="en-US" altLang="en-US" sz="1800" dirty="0">
              <a:solidFill>
                <a:srgbClr val="231F20"/>
              </a:solidFill>
              <a:latin typeface="Zawgyi-One" panose="020B0604030504040204" pitchFamily="34" charset="0"/>
              <a:cs typeface="Zawgyi-One" panose="020B0604030504040204" pitchFamily="34" charset="0"/>
            </a:endParaRPr>
          </a:p>
          <a:p>
            <a:pPr marL="292515" indent="-285750" defTabSz="843533">
              <a:lnSpc>
                <a:spcPct val="150000"/>
              </a:lnSpc>
              <a:buFont typeface="Arial" panose="020B0604020202020204" pitchFamily="34" charset="0"/>
              <a:buChar char="•"/>
              <a:defRPr/>
            </a:pPr>
            <a:endParaRPr lang="en-US" altLang="en-US" sz="1800" dirty="0">
              <a:latin typeface="Zawgyi-One" panose="020B0604030504040204" pitchFamily="34" charset="0"/>
              <a:cs typeface="Zawgyi-One" panose="020B0604030504040204" pitchFamily="34" charset="0"/>
            </a:endParaRPr>
          </a:p>
          <a:p>
            <a:pPr marL="292515" indent="-285750" defTabSz="843533">
              <a:lnSpc>
                <a:spcPct val="150000"/>
              </a:lnSpc>
              <a:buFont typeface="Arial" panose="020B0604020202020204" pitchFamily="34" charset="0"/>
              <a:buChar char="•"/>
              <a:defRPr/>
            </a:pPr>
            <a:r>
              <a:rPr lang="en-US" altLang="en-US" sz="1800" dirty="0">
                <a:solidFill>
                  <a:srgbClr val="231F20"/>
                </a:solidFill>
                <a:latin typeface="Zawgyi-One" panose="020B0604030504040204" pitchFamily="34" charset="0"/>
                <a:cs typeface="Zawgyi-One" panose="020B0604030504040204" pitchFamily="34" charset="0"/>
              </a:rPr>
              <a:t>ျ</a:t>
            </a:r>
            <a:r>
              <a:rPr lang="en-US" altLang="en-US" sz="1800" dirty="0" err="1">
                <a:solidFill>
                  <a:srgbClr val="231F20"/>
                </a:solidFill>
                <a:latin typeface="Zawgyi-One" panose="020B0604030504040204" pitchFamily="34" charset="0"/>
                <a:cs typeface="Zawgyi-One" panose="020B0604030504040204" pitchFamily="34" charset="0"/>
              </a:rPr>
              <a:t>ပင္းထန္ေသာ</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စိတ္ဖိစီးမ</a:t>
            </a:r>
            <a:r>
              <a:rPr lang="en-US" altLang="en-US" sz="1800" dirty="0">
                <a:solidFill>
                  <a:srgbClr val="231F20"/>
                </a:solidFill>
                <a:latin typeface="Zawgyi-One" panose="020B0604030504040204" pitchFamily="34" charset="0"/>
                <a:cs typeface="Zawgyi-One" panose="020B0604030504040204" pitchFamily="34" charset="0"/>
              </a:rPr>
              <a:t>ွဳ</a:t>
            </a:r>
            <a:r>
              <a:rPr lang="en-US" altLang="en-US" sz="1800" dirty="0" err="1">
                <a:solidFill>
                  <a:srgbClr val="231F20"/>
                </a:solidFill>
                <a:latin typeface="Zawgyi-One" panose="020B0604030504040204" pitchFamily="34" charset="0"/>
                <a:cs typeface="Zawgyi-One" panose="020B0604030504040204" pitchFamily="34" charset="0"/>
              </a:rPr>
              <a:t>တုန</a:t>
            </a:r>
            <a:r>
              <a:rPr lang="en-US" altLang="en-US" sz="1800" dirty="0">
                <a:solidFill>
                  <a:srgbClr val="231F20"/>
                </a:solidFill>
                <a:latin typeface="Zawgyi-One" panose="020B0604030504040204" pitchFamily="34" charset="0"/>
                <a:cs typeface="Zawgyi-One" panose="020B0604030504040204" pitchFamily="34" charset="0"/>
              </a:rPr>
              <a:t>္႔ျ</a:t>
            </a:r>
            <a:r>
              <a:rPr lang="en-US" altLang="en-US" sz="1800" dirty="0" err="1">
                <a:solidFill>
                  <a:srgbClr val="231F20"/>
                </a:solidFill>
                <a:latin typeface="Zawgyi-One" panose="020B0604030504040204" pitchFamily="34" charset="0"/>
                <a:cs typeface="Zawgyi-One" panose="020B0604030504040204" pitchFamily="34" charset="0"/>
              </a:rPr>
              <a:t>ပန္မ</a:t>
            </a:r>
            <a:r>
              <a:rPr lang="en-US" altLang="en-US" sz="1800" dirty="0">
                <a:solidFill>
                  <a:srgbClr val="231F20"/>
                </a:solidFill>
                <a:latin typeface="Zawgyi-One" panose="020B0604030504040204" pitchFamily="34" charset="0"/>
                <a:cs typeface="Zawgyi-One" panose="020B0604030504040204" pitchFamily="34" charset="0"/>
              </a:rPr>
              <a:t>ွဳ</a:t>
            </a:r>
            <a:r>
              <a:rPr lang="en-US" altLang="en-US" sz="1800" dirty="0" err="1">
                <a:solidFill>
                  <a:srgbClr val="231F20"/>
                </a:solidFill>
                <a:latin typeface="Zawgyi-One" panose="020B0604030504040204" pitchFamily="34" charset="0"/>
                <a:cs typeface="Zawgyi-One" panose="020B0604030504040204" pitchFamily="34" charset="0"/>
              </a:rPr>
              <a:t>နွင</a:t>
            </a:r>
            <a:r>
              <a:rPr lang="en-US" altLang="en-US" sz="1800" dirty="0">
                <a:solidFill>
                  <a:srgbClr val="231F20"/>
                </a:solidFill>
                <a:latin typeface="Zawgyi-One" panose="020B0604030504040204" pitchFamily="34" charset="0"/>
                <a:cs typeface="Zawgyi-One" panose="020B0604030504040204" pitchFamily="34" charset="0"/>
              </a:rPr>
              <a:t>့္</a:t>
            </a:r>
            <a:r>
              <a:rPr lang="en-US" altLang="en-US" sz="1800" dirty="0" err="1">
                <a:solidFill>
                  <a:srgbClr val="231F20"/>
                </a:solidFill>
                <a:latin typeface="Zawgyi-One" panose="020B0604030504040204" pitchFamily="34" charset="0"/>
                <a:cs typeface="Zawgyi-One" panose="020B0604030504040204" pitchFamily="34" charset="0"/>
              </a:rPr>
              <a:t>အတူ</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ပဳစုေစာင</a:t>
            </a:r>
            <a:r>
              <a:rPr lang="en-US" altLang="en-US" sz="1800" dirty="0">
                <a:solidFill>
                  <a:srgbClr val="231F20"/>
                </a:solidFill>
                <a:latin typeface="Zawgyi-One" panose="020B0604030504040204" pitchFamily="34" charset="0"/>
                <a:cs typeface="Zawgyi-One" panose="020B0604030504040204" pitchFamily="34" charset="0"/>
              </a:rPr>
              <a:t>့္</a:t>
            </a:r>
            <a:r>
              <a:rPr lang="en-US" altLang="en-US" sz="1800" dirty="0" err="1">
                <a:solidFill>
                  <a:srgbClr val="231F20"/>
                </a:solidFill>
                <a:latin typeface="Zawgyi-One" panose="020B0604030504040204" pitchFamily="34" charset="0"/>
                <a:cs typeface="Zawgyi-One" panose="020B0604030504040204" pitchFamily="34" charset="0"/>
              </a:rPr>
              <a:t>ေရွာက္သူ</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မိဘမ်ား</a:t>
            </a:r>
            <a:r>
              <a:rPr lang="en-US" altLang="en-US" sz="1800" dirty="0">
                <a:solidFill>
                  <a:srgbClr val="231F20"/>
                </a:solidFill>
                <a:latin typeface="Zawgyi-One" panose="020B0604030504040204" pitchFamily="34" charset="0"/>
                <a:cs typeface="Zawgyi-One" panose="020B0604030504040204" pitchFamily="34" charset="0"/>
              </a:rPr>
              <a:t> ႏွင့္ </a:t>
            </a:r>
            <a:r>
              <a:rPr lang="en-US" altLang="en-US" sz="1800" dirty="0" err="1">
                <a:solidFill>
                  <a:srgbClr val="231F20"/>
                </a:solidFill>
                <a:latin typeface="Zawgyi-One" panose="020B0604030504040204" pitchFamily="34" charset="0"/>
                <a:cs typeface="Zawgyi-One" panose="020B0604030504040204" pitchFamily="34" charset="0"/>
              </a:rPr>
              <a:t>ကေလးသူ</a:t>
            </a:r>
            <a:r>
              <a:rPr lang="en-US" altLang="en-US" sz="1800" dirty="0">
                <a:solidFill>
                  <a:srgbClr val="231F20"/>
                </a:solidFill>
                <a:latin typeface="Zawgyi-One" panose="020B0604030504040204" pitchFamily="34" charset="0"/>
                <a:cs typeface="Zawgyi-One" panose="020B0604030504040204" pitchFamily="34" charset="0"/>
              </a:rPr>
              <a:t> </a:t>
            </a:r>
            <a:r>
              <a:rPr lang="en-US" altLang="en-US" sz="1800" dirty="0" err="1">
                <a:solidFill>
                  <a:srgbClr val="231F20"/>
                </a:solidFill>
                <a:latin typeface="Zawgyi-One" panose="020B0604030504040204" pitchFamily="34" charset="0"/>
                <a:cs typeface="Zawgyi-One" panose="020B0604030504040204" pitchFamily="34" charset="0"/>
              </a:rPr>
              <a:t>ငယ္ေတြကို</a:t>
            </a:r>
            <a:r>
              <a:rPr lang="en-US" altLang="en-US" sz="1800" dirty="0">
                <a:solidFill>
                  <a:srgbClr val="231F20"/>
                </a:solidFill>
                <a:latin typeface="Zawgyi-One" panose="020B0604030504040204" pitchFamily="34" charset="0"/>
                <a:cs typeface="Zawgyi-One" panose="020B0604030504040204" pitchFamily="34" charset="0"/>
              </a:rPr>
              <a:t> ၾ</a:t>
            </a:r>
            <a:r>
              <a:rPr lang="en-US" altLang="en-US" sz="1800" dirty="0" err="1">
                <a:solidFill>
                  <a:srgbClr val="231F20"/>
                </a:solidFill>
                <a:latin typeface="Zawgyi-One" panose="020B0604030504040204" pitchFamily="34" charset="0"/>
                <a:cs typeface="Zawgyi-One" panose="020B0604030504040204" pitchFamily="34" charset="0"/>
              </a:rPr>
              <a:t>ကည</a:t>
            </a:r>
            <a:r>
              <a:rPr lang="en-US" altLang="en-US" sz="1800" dirty="0">
                <a:solidFill>
                  <a:srgbClr val="231F20"/>
                </a:solidFill>
                <a:latin typeface="Zawgyi-One" panose="020B0604030504040204" pitchFamily="34" charset="0"/>
                <a:cs typeface="Zawgyi-One" panose="020B0604030504040204" pitchFamily="34" charset="0"/>
              </a:rPr>
              <a:t>့္ပါ</a:t>
            </a:r>
            <a:endParaRPr lang="en-US" altLang="en-US" sz="1800" dirty="0">
              <a:latin typeface="Zawgyi-One" panose="020B0604030504040204" pitchFamily="34" charset="0"/>
              <a:cs typeface="Zawgyi-One" panose="020B0604030504040204" pitchFamily="34" charset="0"/>
            </a:endParaRPr>
          </a:p>
          <a:p>
            <a:pPr marL="6765" defTabSz="843533">
              <a:lnSpc>
                <a:spcPct val="150000"/>
              </a:lnSpc>
              <a:defRPr/>
            </a:pPr>
            <a:endParaRPr sz="1758" dirty="0">
              <a:solidFill>
                <a:srgbClr val="075109"/>
              </a:solidFill>
              <a:latin typeface="Zawgyi-One" pitchFamily="34" charset="0"/>
              <a:ea typeface="SimHei" panose="02010609060101010101" pitchFamily="49" charset="-122"/>
              <a:cs typeface="Zawgyi-One" pitchFamily="34" charset="0"/>
            </a:endParaRPr>
          </a:p>
        </p:txBody>
      </p:sp>
      <p:grpSp>
        <p:nvGrpSpPr>
          <p:cNvPr id="14" name="Group 13">
            <a:extLst>
              <a:ext uri="{FF2B5EF4-FFF2-40B4-BE49-F238E27FC236}">
                <a16:creationId xmlns:a16="http://schemas.microsoft.com/office/drawing/2014/main" id="{13A019E5-E1C3-4248-BBE4-0A4EFD9E1B72}"/>
              </a:ext>
            </a:extLst>
          </p:cNvPr>
          <p:cNvGrpSpPr/>
          <p:nvPr/>
        </p:nvGrpSpPr>
        <p:grpSpPr>
          <a:xfrm>
            <a:off x="749674" y="2065094"/>
            <a:ext cx="2328786" cy="2492901"/>
            <a:chOff x="1064151" y="1680577"/>
            <a:chExt cx="2328786" cy="2492901"/>
          </a:xfrm>
        </p:grpSpPr>
        <p:sp>
          <p:nvSpPr>
            <p:cNvPr id="15" name="object 25">
              <a:extLst>
                <a:ext uri="{FF2B5EF4-FFF2-40B4-BE49-F238E27FC236}">
                  <a16:creationId xmlns:a16="http://schemas.microsoft.com/office/drawing/2014/main" id="{BD6C8079-2D62-41D8-BB85-19E108C56B17}"/>
                </a:ext>
              </a:extLst>
            </p:cNvPr>
            <p:cNvSpPr>
              <a:spLocks/>
            </p:cNvSpPr>
            <p:nvPr/>
          </p:nvSpPr>
          <p:spPr bwMode="auto">
            <a:xfrm>
              <a:off x="1064151" y="1680577"/>
              <a:ext cx="2328786" cy="2492901"/>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dirty="0"/>
            </a:p>
          </p:txBody>
        </p:sp>
        <p:sp>
          <p:nvSpPr>
            <p:cNvPr id="16" name="object 26">
              <a:extLst>
                <a:ext uri="{FF2B5EF4-FFF2-40B4-BE49-F238E27FC236}">
                  <a16:creationId xmlns:a16="http://schemas.microsoft.com/office/drawing/2014/main" id="{F3F9C640-AB05-4C66-8893-DC36857FBF51}"/>
                </a:ext>
              </a:extLst>
            </p:cNvPr>
            <p:cNvSpPr>
              <a:spLocks/>
            </p:cNvSpPr>
            <p:nvPr/>
          </p:nvSpPr>
          <p:spPr bwMode="auto">
            <a:xfrm>
              <a:off x="1694024" y="2073903"/>
              <a:ext cx="1087378" cy="688551"/>
            </a:xfrm>
            <a:custGeom>
              <a:avLst/>
              <a:gdLst>
                <a:gd name="T0" fmla="*/ 794001 w 1882548"/>
                <a:gd name="T1" fmla="*/ 14983 h 1191717"/>
                <a:gd name="T2" fmla="*/ 588851 w 1882548"/>
                <a:gd name="T3" fmla="*/ 83842 h 1191717"/>
                <a:gd name="T4" fmla="*/ 407447 w 1882548"/>
                <a:gd name="T5" fmla="*/ 189536 h 1191717"/>
                <a:gd name="T6" fmla="*/ 255231 w 1882548"/>
                <a:gd name="T7" fmla="*/ 310885 h 1191717"/>
                <a:gd name="T8" fmla="*/ 137642 w 1882548"/>
                <a:gd name="T9" fmla="*/ 426712 h 1191717"/>
                <a:gd name="T10" fmla="*/ 44123 w 1882548"/>
                <a:gd name="T11" fmla="*/ 535953 h 1191717"/>
                <a:gd name="T12" fmla="*/ 28125 w 1882548"/>
                <a:gd name="T13" fmla="*/ 634657 h 1191717"/>
                <a:gd name="T14" fmla="*/ 137650 w 1882548"/>
                <a:gd name="T15" fmla="*/ 765012 h 1191717"/>
                <a:gd name="T16" fmla="*/ 255236 w 1882548"/>
                <a:gd name="T17" fmla="*/ 880835 h 1191717"/>
                <a:gd name="T18" fmla="*/ 407450 w 1882548"/>
                <a:gd name="T19" fmla="*/ 1002182 h 1191717"/>
                <a:gd name="T20" fmla="*/ 588852 w 1882548"/>
                <a:gd name="T21" fmla="*/ 1107875 h 1191717"/>
                <a:gd name="T22" fmla="*/ 794001 w 1882548"/>
                <a:gd name="T23" fmla="*/ 1176733 h 1191717"/>
                <a:gd name="T24" fmla="*/ 1015823 w 1882548"/>
                <a:gd name="T25" fmla="*/ 1187840 h 1191717"/>
                <a:gd name="T26" fmla="*/ 1227674 w 1882548"/>
                <a:gd name="T27" fmla="*/ 1135966 h 1191717"/>
                <a:gd name="T28" fmla="*/ 1384225 w 1882548"/>
                <a:gd name="T29" fmla="*/ 1059764 h 1191717"/>
                <a:gd name="T30" fmla="*/ 834024 w 1882548"/>
                <a:gd name="T31" fmla="*/ 1049956 h 1191717"/>
                <a:gd name="T32" fmla="*/ 680671 w 1882548"/>
                <a:gd name="T33" fmla="*/ 1003847 h 1191717"/>
                <a:gd name="T34" fmla="*/ 539442 w 1882548"/>
                <a:gd name="T35" fmla="*/ 930400 h 1191717"/>
                <a:gd name="T36" fmla="*/ 413823 w 1882548"/>
                <a:gd name="T37" fmla="*/ 841242 h 1191717"/>
                <a:gd name="T38" fmla="*/ 307299 w 1882548"/>
                <a:gd name="T39" fmla="*/ 748003 h 1191717"/>
                <a:gd name="T40" fmla="*/ 200997 w 1882548"/>
                <a:gd name="T41" fmla="*/ 637434 h 1191717"/>
                <a:gd name="T42" fmla="*/ 223258 w 1882548"/>
                <a:gd name="T43" fmla="*/ 529265 h 1191717"/>
                <a:gd name="T44" fmla="*/ 340196 w 1882548"/>
                <a:gd name="T45" fmla="*/ 412778 h 1191717"/>
                <a:gd name="T46" fmla="*/ 453365 w 1882548"/>
                <a:gd name="T47" fmla="*/ 319639 h 1191717"/>
                <a:gd name="T48" fmla="*/ 584537 w 1882548"/>
                <a:gd name="T49" fmla="*/ 234463 h 1191717"/>
                <a:gd name="T50" fmla="*/ 730268 w 1882548"/>
                <a:gd name="T51" fmla="*/ 168868 h 1191717"/>
                <a:gd name="T52" fmla="*/ 887116 w 1882548"/>
                <a:gd name="T53" fmla="*/ 134475 h 1191717"/>
                <a:gd name="T54" fmla="*/ 1357060 w 1882548"/>
                <a:gd name="T55" fmla="*/ 116026 h 1191717"/>
                <a:gd name="T56" fmla="*/ 1159224 w 1882548"/>
                <a:gd name="T57" fmla="*/ 32536 h 1191717"/>
                <a:gd name="T58" fmla="*/ 941274 w 1882548"/>
                <a:gd name="T59" fmla="*/ 0 h 1191717"/>
                <a:gd name="T60" fmla="*/ 995319 w 1882548"/>
                <a:gd name="T61" fmla="*/ 134476 h 1191717"/>
                <a:gd name="T62" fmla="*/ 1151949 w 1882548"/>
                <a:gd name="T63" fmla="*/ 168886 h 1191717"/>
                <a:gd name="T64" fmla="*/ 1297610 w 1882548"/>
                <a:gd name="T65" fmla="*/ 234511 h 1191717"/>
                <a:gd name="T66" fmla="*/ 1428821 w 1882548"/>
                <a:gd name="T67" fmla="*/ 319722 h 1191717"/>
                <a:gd name="T68" fmla="*/ 1542097 w 1882548"/>
                <a:gd name="T69" fmla="*/ 412892 h 1191717"/>
                <a:gd name="T70" fmla="*/ 1633958 w 1882548"/>
                <a:gd name="T71" fmla="*/ 502393 h 1191717"/>
                <a:gd name="T72" fmla="*/ 1700945 w 1882548"/>
                <a:gd name="T73" fmla="*/ 615250 h 1191717"/>
                <a:gd name="T74" fmla="*/ 1575492 w 1882548"/>
                <a:gd name="T75" fmla="*/ 748120 h 1191717"/>
                <a:gd name="T76" fmla="*/ 1469082 w 1882548"/>
                <a:gd name="T77" fmla="*/ 841331 h 1191717"/>
                <a:gd name="T78" fmla="*/ 1343525 w 1882548"/>
                <a:gd name="T79" fmla="*/ 930456 h 1191717"/>
                <a:gd name="T80" fmla="*/ 1202263 w 1882548"/>
                <a:gd name="T81" fmla="*/ 1003873 h 1191717"/>
                <a:gd name="T82" fmla="*/ 1048738 w 1882548"/>
                <a:gd name="T83" fmla="*/ 1049960 h 1191717"/>
                <a:gd name="T84" fmla="*/ 1384225 w 1882548"/>
                <a:gd name="T85" fmla="*/ 1059764 h 1191717"/>
                <a:gd name="T86" fmla="*/ 1529341 w 1882548"/>
                <a:gd name="T87" fmla="*/ 962424 h 1191717"/>
                <a:gd name="T88" fmla="*/ 1670622 w 1882548"/>
                <a:gd name="T89" fmla="*/ 840562 h 1191717"/>
                <a:gd name="T90" fmla="*/ 1775462 w 1882548"/>
                <a:gd name="T91" fmla="*/ 731282 h 1191717"/>
                <a:gd name="T92" fmla="*/ 1882548 w 1882548"/>
                <a:gd name="T93" fmla="*/ 595922 h 1191717"/>
                <a:gd name="T94" fmla="*/ 1822411 w 1882548"/>
                <a:gd name="T95" fmla="*/ 515839 h 1191717"/>
                <a:gd name="T96" fmla="*/ 1709880 w 1882548"/>
                <a:gd name="T97" fmla="*/ 390024 h 1191717"/>
                <a:gd name="T98" fmla="*/ 1580144 w 1882548"/>
                <a:gd name="T99" fmla="*/ 270003 h 1191717"/>
                <a:gd name="T100" fmla="*/ 1417595 w 1882548"/>
                <a:gd name="T101" fmla="*/ 151519 h 119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82548" h="1191717">
                  <a:moveTo>
                    <a:pt x="941274" y="0"/>
                  </a:moveTo>
                  <a:lnTo>
                    <a:pt x="866721" y="3876"/>
                  </a:lnTo>
                  <a:lnTo>
                    <a:pt x="794001" y="14983"/>
                  </a:lnTo>
                  <a:lnTo>
                    <a:pt x="723315" y="32536"/>
                  </a:lnTo>
                  <a:lnTo>
                    <a:pt x="654864" y="55750"/>
                  </a:lnTo>
                  <a:lnTo>
                    <a:pt x="588851" y="83842"/>
                  </a:lnTo>
                  <a:lnTo>
                    <a:pt x="525476" y="116026"/>
                  </a:lnTo>
                  <a:lnTo>
                    <a:pt x="464941" y="151519"/>
                  </a:lnTo>
                  <a:lnTo>
                    <a:pt x="407447" y="189536"/>
                  </a:lnTo>
                  <a:lnTo>
                    <a:pt x="353197" y="229292"/>
                  </a:lnTo>
                  <a:lnTo>
                    <a:pt x="302391" y="270003"/>
                  </a:lnTo>
                  <a:lnTo>
                    <a:pt x="255231" y="310885"/>
                  </a:lnTo>
                  <a:lnTo>
                    <a:pt x="211918" y="351154"/>
                  </a:lnTo>
                  <a:lnTo>
                    <a:pt x="172655" y="390024"/>
                  </a:lnTo>
                  <a:lnTo>
                    <a:pt x="137642" y="426712"/>
                  </a:lnTo>
                  <a:lnTo>
                    <a:pt x="107080" y="460434"/>
                  </a:lnTo>
                  <a:lnTo>
                    <a:pt x="81173" y="490404"/>
                  </a:lnTo>
                  <a:lnTo>
                    <a:pt x="44123" y="535953"/>
                  </a:lnTo>
                  <a:lnTo>
                    <a:pt x="18" y="595795"/>
                  </a:lnTo>
                  <a:lnTo>
                    <a:pt x="0" y="595922"/>
                  </a:lnTo>
                  <a:lnTo>
                    <a:pt x="28125" y="634657"/>
                  </a:lnTo>
                  <a:lnTo>
                    <a:pt x="60133" y="675893"/>
                  </a:lnTo>
                  <a:lnTo>
                    <a:pt x="107090" y="731293"/>
                  </a:lnTo>
                  <a:lnTo>
                    <a:pt x="137650" y="765012"/>
                  </a:lnTo>
                  <a:lnTo>
                    <a:pt x="172662" y="801699"/>
                  </a:lnTo>
                  <a:lnTo>
                    <a:pt x="211924" y="840568"/>
                  </a:lnTo>
                  <a:lnTo>
                    <a:pt x="255236" y="880835"/>
                  </a:lnTo>
                  <a:lnTo>
                    <a:pt x="302395" y="921716"/>
                  </a:lnTo>
                  <a:lnTo>
                    <a:pt x="353200" y="962427"/>
                  </a:lnTo>
                  <a:lnTo>
                    <a:pt x="407450" y="1002182"/>
                  </a:lnTo>
                  <a:lnTo>
                    <a:pt x="464943" y="1040198"/>
                  </a:lnTo>
                  <a:lnTo>
                    <a:pt x="525477" y="1075691"/>
                  </a:lnTo>
                  <a:lnTo>
                    <a:pt x="588852" y="1107875"/>
                  </a:lnTo>
                  <a:lnTo>
                    <a:pt x="654865" y="1135966"/>
                  </a:lnTo>
                  <a:lnTo>
                    <a:pt x="723315" y="1159180"/>
                  </a:lnTo>
                  <a:lnTo>
                    <a:pt x="794001" y="1176733"/>
                  </a:lnTo>
                  <a:lnTo>
                    <a:pt x="866721" y="1187840"/>
                  </a:lnTo>
                  <a:lnTo>
                    <a:pt x="941274" y="1191717"/>
                  </a:lnTo>
                  <a:lnTo>
                    <a:pt x="1015823" y="1187840"/>
                  </a:lnTo>
                  <a:lnTo>
                    <a:pt x="1088541" y="1176733"/>
                  </a:lnTo>
                  <a:lnTo>
                    <a:pt x="1159225" y="1159180"/>
                  </a:lnTo>
                  <a:lnTo>
                    <a:pt x="1227674" y="1135966"/>
                  </a:lnTo>
                  <a:lnTo>
                    <a:pt x="1293687" y="1107874"/>
                  </a:lnTo>
                  <a:lnTo>
                    <a:pt x="1357061" y="1075690"/>
                  </a:lnTo>
                  <a:lnTo>
                    <a:pt x="1384225" y="1059764"/>
                  </a:lnTo>
                  <a:lnTo>
                    <a:pt x="941274" y="1059764"/>
                  </a:lnTo>
                  <a:lnTo>
                    <a:pt x="887234" y="1057240"/>
                  </a:lnTo>
                  <a:lnTo>
                    <a:pt x="834024" y="1049956"/>
                  </a:lnTo>
                  <a:lnTo>
                    <a:pt x="781775" y="1038342"/>
                  </a:lnTo>
                  <a:lnTo>
                    <a:pt x="730614" y="1022829"/>
                  </a:lnTo>
                  <a:lnTo>
                    <a:pt x="680671" y="1003847"/>
                  </a:lnTo>
                  <a:lnTo>
                    <a:pt x="632075" y="981828"/>
                  </a:lnTo>
                  <a:lnTo>
                    <a:pt x="584956" y="957202"/>
                  </a:lnTo>
                  <a:lnTo>
                    <a:pt x="539442" y="930400"/>
                  </a:lnTo>
                  <a:lnTo>
                    <a:pt x="495662" y="901852"/>
                  </a:lnTo>
                  <a:lnTo>
                    <a:pt x="453746" y="871989"/>
                  </a:lnTo>
                  <a:lnTo>
                    <a:pt x="413823" y="841242"/>
                  </a:lnTo>
                  <a:lnTo>
                    <a:pt x="376021" y="810042"/>
                  </a:lnTo>
                  <a:lnTo>
                    <a:pt x="340470" y="778819"/>
                  </a:lnTo>
                  <a:lnTo>
                    <a:pt x="307299" y="748003"/>
                  </a:lnTo>
                  <a:lnTo>
                    <a:pt x="276637" y="718026"/>
                  </a:lnTo>
                  <a:lnTo>
                    <a:pt x="248613" y="689319"/>
                  </a:lnTo>
                  <a:lnTo>
                    <a:pt x="200997" y="637434"/>
                  </a:lnTo>
                  <a:lnTo>
                    <a:pt x="165482" y="595795"/>
                  </a:lnTo>
                  <a:lnTo>
                    <a:pt x="181635" y="576463"/>
                  </a:lnTo>
                  <a:lnTo>
                    <a:pt x="223258" y="529265"/>
                  </a:lnTo>
                  <a:lnTo>
                    <a:pt x="276452" y="473556"/>
                  </a:lnTo>
                  <a:lnTo>
                    <a:pt x="307069" y="443585"/>
                  </a:lnTo>
                  <a:lnTo>
                    <a:pt x="340196" y="412778"/>
                  </a:lnTo>
                  <a:lnTo>
                    <a:pt x="375707" y="381564"/>
                  </a:lnTo>
                  <a:lnTo>
                    <a:pt x="413472" y="350375"/>
                  </a:lnTo>
                  <a:lnTo>
                    <a:pt x="453365" y="319639"/>
                  </a:lnTo>
                  <a:lnTo>
                    <a:pt x="495259" y="289789"/>
                  </a:lnTo>
                  <a:lnTo>
                    <a:pt x="539025" y="261253"/>
                  </a:lnTo>
                  <a:lnTo>
                    <a:pt x="584537" y="234463"/>
                  </a:lnTo>
                  <a:lnTo>
                    <a:pt x="631666" y="209848"/>
                  </a:lnTo>
                  <a:lnTo>
                    <a:pt x="680285" y="187840"/>
                  </a:lnTo>
                  <a:lnTo>
                    <a:pt x="730268" y="168868"/>
                  </a:lnTo>
                  <a:lnTo>
                    <a:pt x="781485" y="153363"/>
                  </a:lnTo>
                  <a:lnTo>
                    <a:pt x="833810" y="141755"/>
                  </a:lnTo>
                  <a:lnTo>
                    <a:pt x="887116" y="134475"/>
                  </a:lnTo>
                  <a:lnTo>
                    <a:pt x="941274" y="131953"/>
                  </a:lnTo>
                  <a:lnTo>
                    <a:pt x="1384223" y="131953"/>
                  </a:lnTo>
                  <a:lnTo>
                    <a:pt x="1357060" y="116026"/>
                  </a:lnTo>
                  <a:lnTo>
                    <a:pt x="1293686" y="83842"/>
                  </a:lnTo>
                  <a:lnTo>
                    <a:pt x="1227673" y="55750"/>
                  </a:lnTo>
                  <a:lnTo>
                    <a:pt x="1159224" y="32536"/>
                  </a:lnTo>
                  <a:lnTo>
                    <a:pt x="1088541" y="14983"/>
                  </a:lnTo>
                  <a:lnTo>
                    <a:pt x="1015823" y="3876"/>
                  </a:lnTo>
                  <a:lnTo>
                    <a:pt x="941274" y="0"/>
                  </a:lnTo>
                  <a:close/>
                </a:path>
                <a:path w="1882548" h="1191717">
                  <a:moveTo>
                    <a:pt x="1384223" y="131953"/>
                  </a:moveTo>
                  <a:lnTo>
                    <a:pt x="941274" y="131953"/>
                  </a:lnTo>
                  <a:lnTo>
                    <a:pt x="995319" y="134476"/>
                  </a:lnTo>
                  <a:lnTo>
                    <a:pt x="1048533" y="141760"/>
                  </a:lnTo>
                  <a:lnTo>
                    <a:pt x="1100786" y="153374"/>
                  </a:lnTo>
                  <a:lnTo>
                    <a:pt x="1151949" y="168886"/>
                  </a:lnTo>
                  <a:lnTo>
                    <a:pt x="1201893" y="187867"/>
                  </a:lnTo>
                  <a:lnTo>
                    <a:pt x="1250490" y="209885"/>
                  </a:lnTo>
                  <a:lnTo>
                    <a:pt x="1297610" y="234511"/>
                  </a:lnTo>
                  <a:lnTo>
                    <a:pt x="1343125" y="261312"/>
                  </a:lnTo>
                  <a:lnTo>
                    <a:pt x="1386904" y="289860"/>
                  </a:lnTo>
                  <a:lnTo>
                    <a:pt x="1428821" y="319722"/>
                  </a:lnTo>
                  <a:lnTo>
                    <a:pt x="1468744" y="350469"/>
                  </a:lnTo>
                  <a:lnTo>
                    <a:pt x="1506546" y="381669"/>
                  </a:lnTo>
                  <a:lnTo>
                    <a:pt x="1542097" y="412892"/>
                  </a:lnTo>
                  <a:lnTo>
                    <a:pt x="1575269" y="443707"/>
                  </a:lnTo>
                  <a:lnTo>
                    <a:pt x="1605932" y="473684"/>
                  </a:lnTo>
                  <a:lnTo>
                    <a:pt x="1633958" y="502393"/>
                  </a:lnTo>
                  <a:lnTo>
                    <a:pt x="1681580" y="554279"/>
                  </a:lnTo>
                  <a:lnTo>
                    <a:pt x="1717104" y="595922"/>
                  </a:lnTo>
                  <a:lnTo>
                    <a:pt x="1700945" y="615250"/>
                  </a:lnTo>
                  <a:lnTo>
                    <a:pt x="1659313" y="662443"/>
                  </a:lnTo>
                  <a:lnTo>
                    <a:pt x="1606112" y="718150"/>
                  </a:lnTo>
                  <a:lnTo>
                    <a:pt x="1575492" y="748120"/>
                  </a:lnTo>
                  <a:lnTo>
                    <a:pt x="1542362" y="778927"/>
                  </a:lnTo>
                  <a:lnTo>
                    <a:pt x="1506850" y="810141"/>
                  </a:lnTo>
                  <a:lnTo>
                    <a:pt x="1469082" y="841331"/>
                  </a:lnTo>
                  <a:lnTo>
                    <a:pt x="1429187" y="872067"/>
                  </a:lnTo>
                  <a:lnTo>
                    <a:pt x="1387292" y="901919"/>
                  </a:lnTo>
                  <a:lnTo>
                    <a:pt x="1343525" y="930456"/>
                  </a:lnTo>
                  <a:lnTo>
                    <a:pt x="1298013" y="957247"/>
                  </a:lnTo>
                  <a:lnTo>
                    <a:pt x="1250883" y="981863"/>
                  </a:lnTo>
                  <a:lnTo>
                    <a:pt x="1202263" y="1003873"/>
                  </a:lnTo>
                  <a:lnTo>
                    <a:pt x="1152281" y="1022846"/>
                  </a:lnTo>
                  <a:lnTo>
                    <a:pt x="1101063" y="1038352"/>
                  </a:lnTo>
                  <a:lnTo>
                    <a:pt x="1048738" y="1049960"/>
                  </a:lnTo>
                  <a:lnTo>
                    <a:pt x="995432" y="1057241"/>
                  </a:lnTo>
                  <a:lnTo>
                    <a:pt x="941274" y="1059764"/>
                  </a:lnTo>
                  <a:lnTo>
                    <a:pt x="1384225" y="1059764"/>
                  </a:lnTo>
                  <a:lnTo>
                    <a:pt x="1417596" y="1040197"/>
                  </a:lnTo>
                  <a:lnTo>
                    <a:pt x="1475090" y="1002181"/>
                  </a:lnTo>
                  <a:lnTo>
                    <a:pt x="1529341" y="962424"/>
                  </a:lnTo>
                  <a:lnTo>
                    <a:pt x="1580148" y="921713"/>
                  </a:lnTo>
                  <a:lnTo>
                    <a:pt x="1627309" y="880831"/>
                  </a:lnTo>
                  <a:lnTo>
                    <a:pt x="1670622" y="840562"/>
                  </a:lnTo>
                  <a:lnTo>
                    <a:pt x="1709887" y="801692"/>
                  </a:lnTo>
                  <a:lnTo>
                    <a:pt x="1744901" y="765004"/>
                  </a:lnTo>
                  <a:lnTo>
                    <a:pt x="1775462" y="731282"/>
                  </a:lnTo>
                  <a:lnTo>
                    <a:pt x="1801371" y="701312"/>
                  </a:lnTo>
                  <a:lnTo>
                    <a:pt x="1838419" y="655763"/>
                  </a:lnTo>
                  <a:lnTo>
                    <a:pt x="1882548" y="595922"/>
                  </a:lnTo>
                  <a:lnTo>
                    <a:pt x="1882530" y="595795"/>
                  </a:lnTo>
                  <a:lnTo>
                    <a:pt x="1854417" y="557085"/>
                  </a:lnTo>
                  <a:lnTo>
                    <a:pt x="1822411" y="515839"/>
                  </a:lnTo>
                  <a:lnTo>
                    <a:pt x="1775453" y="460434"/>
                  </a:lnTo>
                  <a:lnTo>
                    <a:pt x="1744893" y="426712"/>
                  </a:lnTo>
                  <a:lnTo>
                    <a:pt x="1709880" y="390024"/>
                  </a:lnTo>
                  <a:lnTo>
                    <a:pt x="1670617" y="351154"/>
                  </a:lnTo>
                  <a:lnTo>
                    <a:pt x="1627304" y="310885"/>
                  </a:lnTo>
                  <a:lnTo>
                    <a:pt x="1580144" y="270003"/>
                  </a:lnTo>
                  <a:lnTo>
                    <a:pt x="1529338" y="229292"/>
                  </a:lnTo>
                  <a:lnTo>
                    <a:pt x="1475088" y="189536"/>
                  </a:lnTo>
                  <a:lnTo>
                    <a:pt x="1417595" y="151519"/>
                  </a:lnTo>
                  <a:lnTo>
                    <a:pt x="1384223" y="1319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7" name="object 27">
              <a:extLst>
                <a:ext uri="{FF2B5EF4-FFF2-40B4-BE49-F238E27FC236}">
                  <a16:creationId xmlns:a16="http://schemas.microsoft.com/office/drawing/2014/main" id="{D2876428-57A3-4CDE-A022-9A7925919311}"/>
                </a:ext>
              </a:extLst>
            </p:cNvPr>
            <p:cNvSpPr>
              <a:spLocks/>
            </p:cNvSpPr>
            <p:nvPr/>
          </p:nvSpPr>
          <p:spPr bwMode="auto">
            <a:xfrm>
              <a:off x="2026838" y="2206846"/>
              <a:ext cx="421749" cy="421749"/>
            </a:xfrm>
            <a:custGeom>
              <a:avLst/>
              <a:gdLst>
                <a:gd name="T0" fmla="*/ 364934 w 729869"/>
                <a:gd name="T1" fmla="*/ 0 h 729881"/>
                <a:gd name="T2" fmla="*/ 305739 w 729869"/>
                <a:gd name="T3" fmla="*/ 4776 h 729881"/>
                <a:gd name="T4" fmla="*/ 249586 w 729869"/>
                <a:gd name="T5" fmla="*/ 18604 h 729881"/>
                <a:gd name="T6" fmla="*/ 197225 w 729869"/>
                <a:gd name="T7" fmla="*/ 40733 h 729881"/>
                <a:gd name="T8" fmla="*/ 149408 w 729869"/>
                <a:gd name="T9" fmla="*/ 70410 h 729881"/>
                <a:gd name="T10" fmla="*/ 106886 w 729869"/>
                <a:gd name="T11" fmla="*/ 106886 h 729881"/>
                <a:gd name="T12" fmla="*/ 70410 w 729869"/>
                <a:gd name="T13" fmla="*/ 149408 h 729881"/>
                <a:gd name="T14" fmla="*/ 40733 w 729869"/>
                <a:gd name="T15" fmla="*/ 197225 h 729881"/>
                <a:gd name="T16" fmla="*/ 18604 w 729869"/>
                <a:gd name="T17" fmla="*/ 249586 h 729881"/>
                <a:gd name="T18" fmla="*/ 4776 w 729869"/>
                <a:gd name="T19" fmla="*/ 305739 h 729881"/>
                <a:gd name="T20" fmla="*/ 0 w 729869"/>
                <a:gd name="T21" fmla="*/ 364934 h 729881"/>
                <a:gd name="T22" fmla="*/ 1209 w 729869"/>
                <a:gd name="T23" fmla="*/ 394865 h 729881"/>
                <a:gd name="T24" fmla="*/ 10605 w 729869"/>
                <a:gd name="T25" fmla="*/ 452633 h 729881"/>
                <a:gd name="T26" fmla="*/ 28678 w 729869"/>
                <a:gd name="T27" fmla="*/ 506985 h 729881"/>
                <a:gd name="T28" fmla="*/ 54675 w 729869"/>
                <a:gd name="T29" fmla="*/ 557170 h 729881"/>
                <a:gd name="T30" fmla="*/ 87845 w 729869"/>
                <a:gd name="T31" fmla="*/ 602435 h 729881"/>
                <a:gd name="T32" fmla="*/ 127438 w 729869"/>
                <a:gd name="T33" fmla="*/ 642030 h 729881"/>
                <a:gd name="T34" fmla="*/ 172702 w 729869"/>
                <a:gd name="T35" fmla="*/ 675202 h 729881"/>
                <a:gd name="T36" fmla="*/ 222885 w 729869"/>
                <a:gd name="T37" fmla="*/ 701201 h 729881"/>
                <a:gd name="T38" fmla="*/ 277236 w 729869"/>
                <a:gd name="T39" fmla="*/ 719275 h 729881"/>
                <a:gd name="T40" fmla="*/ 335004 w 729869"/>
                <a:gd name="T41" fmla="*/ 728671 h 729881"/>
                <a:gd name="T42" fmla="*/ 364934 w 729869"/>
                <a:gd name="T43" fmla="*/ 729881 h 729881"/>
                <a:gd name="T44" fmla="*/ 394864 w 729869"/>
                <a:gd name="T45" fmla="*/ 728671 h 729881"/>
                <a:gd name="T46" fmla="*/ 452632 w 729869"/>
                <a:gd name="T47" fmla="*/ 719275 h 729881"/>
                <a:gd name="T48" fmla="*/ 506984 w 729869"/>
                <a:gd name="T49" fmla="*/ 701201 h 729881"/>
                <a:gd name="T50" fmla="*/ 557166 w 729869"/>
                <a:gd name="T51" fmla="*/ 675202 h 729881"/>
                <a:gd name="T52" fmla="*/ 602430 w 729869"/>
                <a:gd name="T53" fmla="*/ 642030 h 729881"/>
                <a:gd name="T54" fmla="*/ 642023 w 729869"/>
                <a:gd name="T55" fmla="*/ 602435 h 729881"/>
                <a:gd name="T56" fmla="*/ 675193 w 729869"/>
                <a:gd name="T57" fmla="*/ 557170 h 729881"/>
                <a:gd name="T58" fmla="*/ 701190 w 729869"/>
                <a:gd name="T59" fmla="*/ 506985 h 729881"/>
                <a:gd name="T60" fmla="*/ 719263 w 729869"/>
                <a:gd name="T61" fmla="*/ 452633 h 729881"/>
                <a:gd name="T62" fmla="*/ 728659 w 729869"/>
                <a:gd name="T63" fmla="*/ 394865 h 729881"/>
                <a:gd name="T64" fmla="*/ 729869 w 729869"/>
                <a:gd name="T65" fmla="*/ 364934 h 729881"/>
                <a:gd name="T66" fmla="*/ 728659 w 729869"/>
                <a:gd name="T67" fmla="*/ 335004 h 729881"/>
                <a:gd name="T68" fmla="*/ 719263 w 729869"/>
                <a:gd name="T69" fmla="*/ 277236 h 729881"/>
                <a:gd name="T70" fmla="*/ 701190 w 729869"/>
                <a:gd name="T71" fmla="*/ 222885 h 729881"/>
                <a:gd name="T72" fmla="*/ 675193 w 729869"/>
                <a:gd name="T73" fmla="*/ 172702 h 729881"/>
                <a:gd name="T74" fmla="*/ 642023 w 729869"/>
                <a:gd name="T75" fmla="*/ 127438 h 729881"/>
                <a:gd name="T76" fmla="*/ 602430 w 729869"/>
                <a:gd name="T77" fmla="*/ 87845 h 729881"/>
                <a:gd name="T78" fmla="*/ 557166 w 729869"/>
                <a:gd name="T79" fmla="*/ 54675 h 729881"/>
                <a:gd name="T80" fmla="*/ 506984 w 729869"/>
                <a:gd name="T81" fmla="*/ 28678 h 729881"/>
                <a:gd name="T82" fmla="*/ 452632 w 729869"/>
                <a:gd name="T83" fmla="*/ 10605 h 729881"/>
                <a:gd name="T84" fmla="*/ 394864 w 729869"/>
                <a:gd name="T85" fmla="*/ 1209 h 729881"/>
                <a:gd name="T86" fmla="*/ 364934 w 729869"/>
                <a:gd name="T87" fmla="*/ 0 h 729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9869" h="729881">
                  <a:moveTo>
                    <a:pt x="364934" y="0"/>
                  </a:moveTo>
                  <a:lnTo>
                    <a:pt x="305739" y="4776"/>
                  </a:lnTo>
                  <a:lnTo>
                    <a:pt x="249586" y="18604"/>
                  </a:lnTo>
                  <a:lnTo>
                    <a:pt x="197225" y="40733"/>
                  </a:lnTo>
                  <a:lnTo>
                    <a:pt x="149408" y="70410"/>
                  </a:lnTo>
                  <a:lnTo>
                    <a:pt x="106886" y="106886"/>
                  </a:lnTo>
                  <a:lnTo>
                    <a:pt x="70410" y="149408"/>
                  </a:lnTo>
                  <a:lnTo>
                    <a:pt x="40733" y="197225"/>
                  </a:lnTo>
                  <a:lnTo>
                    <a:pt x="18604" y="249586"/>
                  </a:lnTo>
                  <a:lnTo>
                    <a:pt x="4776" y="305739"/>
                  </a:lnTo>
                  <a:lnTo>
                    <a:pt x="0" y="364934"/>
                  </a:lnTo>
                  <a:lnTo>
                    <a:pt x="1209" y="394865"/>
                  </a:lnTo>
                  <a:lnTo>
                    <a:pt x="10605" y="452633"/>
                  </a:lnTo>
                  <a:lnTo>
                    <a:pt x="28678" y="506985"/>
                  </a:lnTo>
                  <a:lnTo>
                    <a:pt x="54675" y="557170"/>
                  </a:lnTo>
                  <a:lnTo>
                    <a:pt x="87845" y="602435"/>
                  </a:lnTo>
                  <a:lnTo>
                    <a:pt x="127438" y="642030"/>
                  </a:lnTo>
                  <a:lnTo>
                    <a:pt x="172702" y="675202"/>
                  </a:lnTo>
                  <a:lnTo>
                    <a:pt x="222885" y="701201"/>
                  </a:lnTo>
                  <a:lnTo>
                    <a:pt x="277236" y="719275"/>
                  </a:lnTo>
                  <a:lnTo>
                    <a:pt x="335004" y="728671"/>
                  </a:lnTo>
                  <a:lnTo>
                    <a:pt x="364934" y="729881"/>
                  </a:lnTo>
                  <a:lnTo>
                    <a:pt x="394864" y="728671"/>
                  </a:lnTo>
                  <a:lnTo>
                    <a:pt x="452632" y="719275"/>
                  </a:lnTo>
                  <a:lnTo>
                    <a:pt x="506984" y="701201"/>
                  </a:lnTo>
                  <a:lnTo>
                    <a:pt x="557166" y="675202"/>
                  </a:lnTo>
                  <a:lnTo>
                    <a:pt x="602430" y="642030"/>
                  </a:lnTo>
                  <a:lnTo>
                    <a:pt x="642023" y="602435"/>
                  </a:lnTo>
                  <a:lnTo>
                    <a:pt x="675193" y="557170"/>
                  </a:lnTo>
                  <a:lnTo>
                    <a:pt x="701190" y="506985"/>
                  </a:lnTo>
                  <a:lnTo>
                    <a:pt x="719263" y="452633"/>
                  </a:lnTo>
                  <a:lnTo>
                    <a:pt x="728659" y="394865"/>
                  </a:lnTo>
                  <a:lnTo>
                    <a:pt x="729869" y="364934"/>
                  </a:lnTo>
                  <a:lnTo>
                    <a:pt x="728659" y="335004"/>
                  </a:lnTo>
                  <a:lnTo>
                    <a:pt x="719263" y="277236"/>
                  </a:lnTo>
                  <a:lnTo>
                    <a:pt x="701190" y="222885"/>
                  </a:lnTo>
                  <a:lnTo>
                    <a:pt x="675193" y="172702"/>
                  </a:lnTo>
                  <a:lnTo>
                    <a:pt x="642023" y="127438"/>
                  </a:lnTo>
                  <a:lnTo>
                    <a:pt x="602430" y="87845"/>
                  </a:lnTo>
                  <a:lnTo>
                    <a:pt x="557166" y="54675"/>
                  </a:lnTo>
                  <a:lnTo>
                    <a:pt x="506984" y="28678"/>
                  </a:lnTo>
                  <a:lnTo>
                    <a:pt x="452632" y="10605"/>
                  </a:lnTo>
                  <a:lnTo>
                    <a:pt x="394864" y="1209"/>
                  </a:lnTo>
                  <a:lnTo>
                    <a:pt x="36493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8" name="object 28">
              <a:extLst>
                <a:ext uri="{FF2B5EF4-FFF2-40B4-BE49-F238E27FC236}">
                  <a16:creationId xmlns:a16="http://schemas.microsoft.com/office/drawing/2014/main" id="{4F19C8CA-7EA6-49C2-87B4-79607DC3EF11}"/>
                </a:ext>
              </a:extLst>
            </p:cNvPr>
            <p:cNvSpPr txBox="1">
              <a:spLocks noChangeArrowheads="1"/>
            </p:cNvSpPr>
            <p:nvPr/>
          </p:nvSpPr>
          <p:spPr bwMode="auto">
            <a:xfrm>
              <a:off x="1525120" y="3155781"/>
              <a:ext cx="1468667" cy="701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200" b="1" dirty="0" err="1">
                  <a:solidFill>
                    <a:srgbClr val="FFFFFF"/>
                  </a:solidFill>
                  <a:latin typeface="Gill Sans" pitchFamily="34" charset="0"/>
                  <a:cs typeface="Gill Sans" pitchFamily="34" charset="0"/>
                </a:rPr>
                <a:t>ကြည</a:t>
              </a:r>
              <a:r>
                <a:rPr lang="en-US" altLang="en-US" sz="3200" b="1" dirty="0">
                  <a:solidFill>
                    <a:srgbClr val="FFFFFF"/>
                  </a:solidFill>
                  <a:latin typeface="Gill Sans" pitchFamily="34" charset="0"/>
                  <a:cs typeface="Gill Sans" pitchFamily="34" charset="0"/>
                </a:rPr>
                <a:t>့်ပါ</a:t>
              </a:r>
              <a:endParaRPr lang="en-US" altLang="en-US" sz="3200" dirty="0">
                <a:latin typeface="Gill Sans" pitchFamily="34" charset="0"/>
                <a:cs typeface="Gill Sans" pitchFamily="34" charset="0"/>
              </a:endParaRPr>
            </a:p>
          </p:txBody>
        </p:sp>
      </p:grpSp>
    </p:spTree>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8AC8-17E7-44FD-9989-289BE8B74AEC}"/>
              </a:ext>
            </a:extLst>
          </p:cNvPr>
          <p:cNvSpPr>
            <a:spLocks noGrp="1"/>
          </p:cNvSpPr>
          <p:nvPr>
            <p:ph type="title"/>
          </p:nvPr>
        </p:nvSpPr>
        <p:spPr>
          <a:xfrm>
            <a:off x="382588" y="-44068"/>
            <a:ext cx="8229600" cy="1143000"/>
          </a:xfrm>
        </p:spPr>
        <p:txBody>
          <a:bodyPr/>
          <a:lstStyle/>
          <a:p>
            <a:r>
              <a:rPr lang="en-US" dirty="0" err="1"/>
              <a:t>အရေးပေ</a:t>
            </a:r>
            <a:r>
              <a:rPr lang="en-US" dirty="0"/>
              <a:t>ါ်</a:t>
            </a:r>
            <a:r>
              <a:rPr lang="en-US" dirty="0" err="1"/>
              <a:t>အခြေအနေများတွင</a:t>
            </a:r>
            <a:r>
              <a:rPr lang="en-US" dirty="0"/>
              <a:t>် </a:t>
            </a:r>
            <a:r>
              <a:rPr lang="en-US" dirty="0" err="1"/>
              <a:t>ဖြစ်လေ့ရှိသည</a:t>
            </a:r>
            <a:r>
              <a:rPr lang="en-US" dirty="0"/>
              <a:t>့် …</a:t>
            </a:r>
          </a:p>
        </p:txBody>
      </p:sp>
      <p:sp>
        <p:nvSpPr>
          <p:cNvPr id="5" name="Text Placeholder 4">
            <a:extLst>
              <a:ext uri="{FF2B5EF4-FFF2-40B4-BE49-F238E27FC236}">
                <a16:creationId xmlns:a16="http://schemas.microsoft.com/office/drawing/2014/main" id="{69E7257D-84DF-41E8-81B0-5F1B16632102}"/>
              </a:ext>
            </a:extLst>
          </p:cNvPr>
          <p:cNvSpPr>
            <a:spLocks noGrp="1"/>
          </p:cNvSpPr>
          <p:nvPr>
            <p:ph type="body" idx="1"/>
          </p:nvPr>
        </p:nvSpPr>
        <p:spPr>
          <a:xfrm>
            <a:off x="3503612" y="880450"/>
            <a:ext cx="4040188" cy="639762"/>
          </a:xfrm>
        </p:spPr>
        <p:txBody>
          <a:bodyPr/>
          <a:lstStyle/>
          <a:p>
            <a:r>
              <a:rPr lang="en-US" dirty="0"/>
              <a:t>Behavioral	</a:t>
            </a:r>
          </a:p>
        </p:txBody>
      </p:sp>
      <p:sp>
        <p:nvSpPr>
          <p:cNvPr id="6" name="Content Placeholder 5">
            <a:extLst>
              <a:ext uri="{FF2B5EF4-FFF2-40B4-BE49-F238E27FC236}">
                <a16:creationId xmlns:a16="http://schemas.microsoft.com/office/drawing/2014/main" id="{61CCCA4A-240C-46F7-A843-B45BA78BCDDF}"/>
              </a:ext>
            </a:extLst>
          </p:cNvPr>
          <p:cNvSpPr>
            <a:spLocks noGrp="1"/>
          </p:cNvSpPr>
          <p:nvPr>
            <p:ph sz="half" idx="2"/>
          </p:nvPr>
        </p:nvSpPr>
        <p:spPr>
          <a:xfrm>
            <a:off x="3083718" y="1520212"/>
            <a:ext cx="3163094" cy="3951288"/>
          </a:xfrm>
        </p:spPr>
        <p:txBody>
          <a:bodyPr/>
          <a:lstStyle/>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အလြန္ငိုေနေသာကေလး</a:t>
            </a:r>
            <a:endParaRPr lang="en-US" altLang="en-US" sz="1600" dirty="0">
              <a:latin typeface="Zawgyi-One" panose="020B0604030504040204" pitchFamily="34" charset="0"/>
              <a:cs typeface="Zawgyi-One" panose="020B0604030504040204" pitchFamily="34" charset="0"/>
            </a:endParaRPr>
          </a:p>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ရန္လိုေသာ</a:t>
            </a:r>
            <a:r>
              <a:rPr lang="en-US" altLang="en-US" sz="1600" dirty="0">
                <a:solidFill>
                  <a:srgbClr val="231F20"/>
                </a:solidFill>
                <a:latin typeface="Zawgyi-One" panose="020B0604030504040204" pitchFamily="34" charset="0"/>
                <a:cs typeface="Zawgyi-One" panose="020B0604030504040204" pitchFamily="34" charset="0"/>
              </a:rPr>
              <a:t> ႏွင့္ </a:t>
            </a:r>
            <a:r>
              <a:rPr lang="en-US" altLang="en-US" sz="1600" dirty="0" err="1">
                <a:solidFill>
                  <a:srgbClr val="231F20"/>
                </a:solidFill>
                <a:latin typeface="Zawgyi-One" panose="020B0604030504040204" pitchFamily="34" charset="0"/>
                <a:cs typeface="Zawgyi-One" panose="020B0604030504040204" pitchFamily="34" charset="0"/>
              </a:rPr>
              <a:t>တျခားသူကိုနာက်င္ေအ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လုပ္ေ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ရုိက</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ခ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န</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ခ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က</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ခ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အစရွိသည</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ဖင</a:t>
            </a:r>
            <a:r>
              <a:rPr lang="en-US" altLang="en-US" sz="1600" dirty="0">
                <a:solidFill>
                  <a:srgbClr val="231F20"/>
                </a:solidFill>
                <a:latin typeface="Zawgyi-One" panose="020B0604030504040204" pitchFamily="34" charset="0"/>
                <a:cs typeface="Zawgyi-One" panose="020B0604030504040204" pitchFamily="34" charset="0"/>
              </a:rPr>
              <a:t>့္)</a:t>
            </a:r>
            <a:endParaRPr lang="en-US" altLang="en-US" sz="1600" dirty="0">
              <a:latin typeface="Zawgyi-One" panose="020B0604030504040204" pitchFamily="34" charset="0"/>
              <a:cs typeface="Zawgyi-One" panose="020B0604030504040204" pitchFamily="34" charset="0"/>
            </a:endParaRPr>
          </a:p>
          <a:p>
            <a:pPr marL="322183" indent="-316324" defTabSz="843533" eaLnBrk="0" fontAlgn="base" hangingPunct="0">
              <a:lnSpc>
                <a:spcPct val="150000"/>
              </a:lnSpc>
              <a:spcBef>
                <a:spcPts val="12"/>
              </a:spcBef>
              <a:spcAft>
                <a:spcPct val="0"/>
              </a:spcAft>
              <a:buFont typeface="Arial" panose="020B0604020202020204" pitchFamily="34" charset="0"/>
              <a:buChar char="•"/>
              <a:defRPr/>
            </a:pPr>
            <a:endParaRPr lang="en-US" altLang="en-US" sz="200" dirty="0">
              <a:latin typeface="Zawgyi-One" panose="020B0604030504040204" pitchFamily="34" charset="0"/>
              <a:cs typeface="Zawgyi-One" panose="020B0604030504040204" pitchFamily="34" charset="0"/>
            </a:endParaRPr>
          </a:p>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ပဳစုေစာင</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ရွာက္သူကိုအျမဲတမ္းတြယ္ကပ္ေနေ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a:t>
            </a:r>
            <a:endParaRPr lang="en-US" altLang="en-US" sz="1600" dirty="0">
              <a:latin typeface="Zawgyi-One" panose="020B0604030504040204" pitchFamily="34" charset="0"/>
              <a:cs typeface="Zawgyi-One" panose="020B0604030504040204" pitchFamily="34" charset="0"/>
            </a:endParaRPr>
          </a:p>
          <a:p>
            <a:r>
              <a:rPr lang="en-US" altLang="en-US" sz="1600" dirty="0" err="1">
                <a:solidFill>
                  <a:srgbClr val="231F20"/>
                </a:solidFill>
                <a:latin typeface="Gill Sans Light"/>
                <a:ea typeface="Gill Sans Light"/>
                <a:cs typeface="Gill Sans Light"/>
              </a:rPr>
              <a:t>လူအများကို</a:t>
            </a:r>
            <a:r>
              <a:rPr lang="en-US" altLang="en-US" sz="1600" dirty="0">
                <a:solidFill>
                  <a:srgbClr val="231F20"/>
                </a:solidFill>
                <a:latin typeface="Gill Sans Light"/>
                <a:ea typeface="Gill Sans Light"/>
                <a:cs typeface="Gill Sans Light"/>
              </a:rPr>
              <a:t> </a:t>
            </a:r>
            <a:r>
              <a:rPr lang="en-US" altLang="en-US" sz="1600" dirty="0" err="1">
                <a:solidFill>
                  <a:srgbClr val="231F20"/>
                </a:solidFill>
                <a:latin typeface="Gill Sans Light"/>
                <a:ea typeface="Gill Sans Light"/>
                <a:cs typeface="Gill Sans Light"/>
              </a:rPr>
              <a:t>ရှက်စိတ်ဖြင</a:t>
            </a:r>
            <a:r>
              <a:rPr lang="en-US" altLang="en-US" sz="1600" dirty="0">
                <a:solidFill>
                  <a:srgbClr val="231F20"/>
                </a:solidFill>
                <a:latin typeface="Gill Sans Light"/>
                <a:ea typeface="Gill Sans Light"/>
                <a:cs typeface="Gill Sans Light"/>
              </a:rPr>
              <a:t>့် </a:t>
            </a:r>
            <a:r>
              <a:rPr lang="en-US" altLang="en-US" sz="1600" dirty="0" err="1">
                <a:solidFill>
                  <a:srgbClr val="231F20"/>
                </a:solidFill>
                <a:latin typeface="Gill Sans Light"/>
                <a:ea typeface="Gill Sans Light"/>
                <a:cs typeface="Gill Sans Light"/>
              </a:rPr>
              <a:t>ရှောင်ဖယ်ခြင်း</a:t>
            </a:r>
            <a:endParaRPr lang="en-US" altLang="en-US" sz="1600" dirty="0">
              <a:solidFill>
                <a:srgbClr val="231F20"/>
              </a:solidFill>
              <a:latin typeface="Gill Sans Light"/>
              <a:ea typeface="Gill Sans Light"/>
              <a:cs typeface="Gill Sans Light"/>
            </a:endParaRPr>
          </a:p>
          <a:p>
            <a:r>
              <a:rPr lang="en-US" altLang="en-US" sz="1600" dirty="0" err="1">
                <a:solidFill>
                  <a:srgbClr val="231F20"/>
                </a:solidFill>
                <a:latin typeface="Gill Sans Light"/>
              </a:rPr>
              <a:t>တစ်ဦးထဲ</a:t>
            </a:r>
            <a:r>
              <a:rPr lang="en-US" altLang="en-US" sz="1600" dirty="0">
                <a:solidFill>
                  <a:srgbClr val="231F20"/>
                </a:solidFill>
                <a:latin typeface="Gill Sans Light"/>
              </a:rPr>
              <a:t> </a:t>
            </a:r>
            <a:r>
              <a:rPr lang="en-US" altLang="en-US" sz="1600" dirty="0" err="1">
                <a:solidFill>
                  <a:srgbClr val="231F20"/>
                </a:solidFill>
                <a:latin typeface="Gill Sans Light"/>
              </a:rPr>
              <a:t>ခွဲထွက်နေလာြခင်းနှင</a:t>
            </a:r>
            <a:r>
              <a:rPr lang="en-US" altLang="en-US" sz="1600" dirty="0">
                <a:solidFill>
                  <a:srgbClr val="231F20"/>
                </a:solidFill>
                <a:latin typeface="Gill Sans Light"/>
              </a:rPr>
              <a:t>့် </a:t>
            </a:r>
            <a:r>
              <a:rPr lang="en-US" altLang="en-US" sz="1600" dirty="0" err="1">
                <a:solidFill>
                  <a:srgbClr val="231F20"/>
                </a:solidFill>
                <a:latin typeface="Gill Sans Light"/>
              </a:rPr>
              <a:t>လှုပ်ရှားမှုနည်းလာြခင်း</a:t>
            </a:r>
            <a:endParaRPr lang="en-US" altLang="en-US" sz="500" dirty="0"/>
          </a:p>
          <a:p>
            <a:endParaRPr lang="en-US" sz="1600" dirty="0"/>
          </a:p>
        </p:txBody>
      </p:sp>
      <p:sp>
        <p:nvSpPr>
          <p:cNvPr id="7" name="Text Placeholder 6">
            <a:extLst>
              <a:ext uri="{FF2B5EF4-FFF2-40B4-BE49-F238E27FC236}">
                <a16:creationId xmlns:a16="http://schemas.microsoft.com/office/drawing/2014/main" id="{8B185E29-51C4-44BA-931D-9D150CA05E50}"/>
              </a:ext>
            </a:extLst>
          </p:cNvPr>
          <p:cNvSpPr>
            <a:spLocks noGrp="1"/>
          </p:cNvSpPr>
          <p:nvPr>
            <p:ph type="body" sz="quarter" idx="3"/>
          </p:nvPr>
        </p:nvSpPr>
        <p:spPr>
          <a:xfrm>
            <a:off x="6248400" y="822670"/>
            <a:ext cx="2743200" cy="711994"/>
          </a:xfrm>
        </p:spPr>
        <p:txBody>
          <a:bodyPr/>
          <a:lstStyle/>
          <a:p>
            <a:r>
              <a:rPr lang="en-US" dirty="0"/>
              <a:t>Emotional</a:t>
            </a:r>
          </a:p>
        </p:txBody>
      </p:sp>
      <p:sp>
        <p:nvSpPr>
          <p:cNvPr id="8" name="Content Placeholder 7">
            <a:extLst>
              <a:ext uri="{FF2B5EF4-FFF2-40B4-BE49-F238E27FC236}">
                <a16:creationId xmlns:a16="http://schemas.microsoft.com/office/drawing/2014/main" id="{C0877DBE-FD95-4606-9EF7-632DB7313FDF}"/>
              </a:ext>
            </a:extLst>
          </p:cNvPr>
          <p:cNvSpPr>
            <a:spLocks noGrp="1"/>
          </p:cNvSpPr>
          <p:nvPr>
            <p:ph sz="quarter" idx="4"/>
          </p:nvPr>
        </p:nvSpPr>
        <p:spPr>
          <a:xfrm>
            <a:off x="6134099" y="1547517"/>
            <a:ext cx="2971801" cy="3951288"/>
          </a:xfrm>
        </p:spPr>
        <p:txBody>
          <a:bodyPr/>
          <a:lstStyle/>
          <a:p>
            <a:pPr eaLnBrk="1" hangingPunct="1"/>
            <a:r>
              <a:rPr lang="en-US" altLang="en-US" sz="1600" dirty="0" err="1">
                <a:solidFill>
                  <a:srgbClr val="231F20"/>
                </a:solidFill>
                <a:latin typeface="Gill Sans Light"/>
              </a:rPr>
              <a:t>ဇဝေဇဝ</a:t>
            </a:r>
            <a:r>
              <a:rPr lang="en-US" altLang="en-US" sz="1600" dirty="0">
                <a:solidFill>
                  <a:srgbClr val="231F20"/>
                </a:solidFill>
                <a:latin typeface="Gill Sans Light"/>
              </a:rPr>
              <a:t>ါြ</a:t>
            </a:r>
            <a:r>
              <a:rPr lang="en-US" altLang="en-US" sz="1600" dirty="0" err="1">
                <a:solidFill>
                  <a:srgbClr val="231F20"/>
                </a:solidFill>
                <a:latin typeface="Gill Sans Light"/>
              </a:rPr>
              <a:t>ဖစ်နေခြင်း</a:t>
            </a:r>
            <a:endParaRPr lang="en-US" altLang="en-US" sz="800" dirty="0"/>
          </a:p>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အလြန္ေၾကာက္ရြံ႕ေနေသာ</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လး</a:t>
            </a:r>
            <a:endParaRPr lang="en-US" altLang="en-US" sz="1600" dirty="0">
              <a:latin typeface="Zawgyi-One" panose="020B0604030504040204" pitchFamily="34" charset="0"/>
              <a:cs typeface="Zawgyi-One" panose="020B0604030504040204" pitchFamily="34" charset="0"/>
            </a:endParaRPr>
          </a:p>
          <a:p>
            <a:r>
              <a:rPr lang="en-US" altLang="en-US" sz="1600" dirty="0" err="1">
                <a:solidFill>
                  <a:srgbClr val="231F20"/>
                </a:solidFill>
                <a:latin typeface="Gill Sans Light"/>
                <a:ea typeface="Gill Sans Light"/>
                <a:cs typeface="Gill Sans Light"/>
              </a:rPr>
              <a:t>စိုးရိမ်လွန</a:t>
            </a:r>
            <a:r>
              <a:rPr lang="en-US" altLang="en-US" sz="1600" dirty="0">
                <a:solidFill>
                  <a:srgbClr val="231F20"/>
                </a:solidFill>
                <a:latin typeface="Gill Sans Light"/>
                <a:ea typeface="Gill Sans Light"/>
                <a:cs typeface="Gill Sans Light"/>
              </a:rPr>
              <a:t>်၍ </a:t>
            </a:r>
            <a:r>
              <a:rPr lang="en-US" altLang="en-US" sz="1600" dirty="0" err="1">
                <a:solidFill>
                  <a:srgbClr val="231F20"/>
                </a:solidFill>
                <a:latin typeface="Gill Sans Light"/>
                <a:ea typeface="Gill Sans Light"/>
                <a:cs typeface="Gill Sans Light"/>
              </a:rPr>
              <a:t>တုန်လှုပ</a:t>
            </a:r>
            <a:r>
              <a:rPr lang="en-US" altLang="en-US" sz="1600" dirty="0">
                <a:solidFill>
                  <a:srgbClr val="231F20"/>
                </a:solidFill>
                <a:latin typeface="Gill Sans Light"/>
                <a:ea typeface="Gill Sans Light"/>
                <a:cs typeface="Gill Sans Light"/>
              </a:rPr>
              <a:t>် </a:t>
            </a:r>
            <a:r>
              <a:rPr lang="en-US" altLang="en-US" sz="1600" dirty="0" err="1">
                <a:solidFill>
                  <a:srgbClr val="231F20"/>
                </a:solidFill>
                <a:latin typeface="Gill Sans Light"/>
                <a:ea typeface="Gill Sans Light"/>
                <a:cs typeface="Gill Sans Light"/>
              </a:rPr>
              <a:t>ခြောက်ခြားနေခြင်း</a:t>
            </a:r>
            <a:endParaRPr lang="en-US" altLang="en-US" sz="1600" dirty="0">
              <a:solidFill>
                <a:srgbClr val="231F20"/>
              </a:solidFill>
              <a:latin typeface="Gill Sans Light"/>
              <a:ea typeface="Gill Sans Light"/>
              <a:cs typeface="Gill Sans Light"/>
            </a:endParaRPr>
          </a:p>
          <a:p>
            <a:pPr marL="289417" marR="0" lvl="0" indent="-285750" algn="l" defTabSz="528066" rtl="0" eaLnBrk="0" fontAlgn="base" latinLnBrk="0" hangingPunct="0">
              <a:lnSpc>
                <a:spcPct val="167000"/>
              </a:lnSpc>
              <a:spcBef>
                <a:spcPct val="0"/>
              </a:spcBef>
              <a:spcAft>
                <a:spcPct val="0"/>
              </a:spcAft>
              <a:buClrTx/>
              <a:buSzTx/>
              <a:buFont typeface="Wingdings" panose="05000000000000000000" pitchFamily="2" charset="2"/>
              <a:buChar char="q"/>
              <a:tabLst/>
              <a:defRPr/>
            </a:pP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ဖစ္အပ်က္ေနာက္တစ္ေခါက</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ဖစ္မွာကို</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ၾကာက္ရြံျခင္း</a:t>
            </a:r>
            <a:endPar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endParaRPr>
          </a:p>
          <a:p>
            <a:pPr marL="289417" marR="0" lvl="0" indent="-285750" algn="l" defTabSz="528066" rtl="0" eaLnBrk="0" fontAlgn="base" latinLnBrk="0" hangingPunct="0">
              <a:lnSpc>
                <a:spcPct val="167000"/>
              </a:lnSpc>
              <a:spcBef>
                <a:spcPct val="0"/>
              </a:spcBef>
              <a:spcAft>
                <a:spcPct val="0"/>
              </a:spcAft>
              <a:buClrTx/>
              <a:buSzTx/>
              <a:buFont typeface="Wingdings" panose="05000000000000000000" pitchFamily="2" charset="2"/>
              <a:buChar char="q"/>
              <a:tabLst/>
              <a:defRPr/>
            </a:pP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တို႔ခ်စ္ခင္ရေသာသူေတ</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အတြက္စိုးရိမ</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ခ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႔)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နာက်င္မွာကို</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စိုးရိမ</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ခင္း</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င့္ </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ကြာသြားမွာကိုစိုးရိမ</a:t>
            </a:r>
            <a:r>
              <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r>
              <a:rPr kumimoji="0" lang="en-US" altLang="en-US" sz="16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ခင္း</a:t>
            </a:r>
            <a:endParaRPr kumimoji="0" lang="en-US" altLang="en-US" sz="16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endParaRPr>
          </a:p>
          <a:p>
            <a:endParaRPr lang="en-US" altLang="en-US" sz="1600" dirty="0">
              <a:latin typeface="Gill Sans Light"/>
              <a:ea typeface="Gill Sans Light"/>
              <a:cs typeface="Gill Sans Light"/>
            </a:endParaRPr>
          </a:p>
          <a:p>
            <a:endParaRPr lang="en-US" sz="1600" dirty="0"/>
          </a:p>
        </p:txBody>
      </p:sp>
      <p:sp>
        <p:nvSpPr>
          <p:cNvPr id="9" name="Text Placeholder 4">
            <a:extLst>
              <a:ext uri="{FF2B5EF4-FFF2-40B4-BE49-F238E27FC236}">
                <a16:creationId xmlns:a16="http://schemas.microsoft.com/office/drawing/2014/main" id="{B791F0C1-6EB4-41BE-A422-A2310C425F53}"/>
              </a:ext>
            </a:extLst>
          </p:cNvPr>
          <p:cNvSpPr txBox="1">
            <a:spLocks/>
          </p:cNvSpPr>
          <p:nvPr/>
        </p:nvSpPr>
        <p:spPr bwMode="auto">
          <a:xfrm>
            <a:off x="473639" y="885296"/>
            <a:ext cx="4040188"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marL="0" indent="0" algn="l" rtl="0" fontAlgn="base">
              <a:spcBef>
                <a:spcPct val="20000"/>
              </a:spcBef>
              <a:spcAft>
                <a:spcPct val="0"/>
              </a:spcAft>
              <a:buClr>
                <a:srgbClr val="ED1C24"/>
              </a:buClr>
              <a:buNone/>
              <a:defRPr sz="2398" b="1">
                <a:solidFill>
                  <a:schemeClr val="tx1"/>
                </a:solidFill>
                <a:latin typeface="+mn-lt"/>
                <a:ea typeface="+mn-ea"/>
                <a:cs typeface="+mn-cs"/>
              </a:defRPr>
            </a:lvl1pPr>
            <a:lvl2pPr marL="456935" indent="0" algn="l" rtl="0" fontAlgn="base">
              <a:spcBef>
                <a:spcPct val="20000"/>
              </a:spcBef>
              <a:spcAft>
                <a:spcPct val="0"/>
              </a:spcAft>
              <a:buClr>
                <a:srgbClr val="ED1C24"/>
              </a:buClr>
              <a:buFont typeface="Gill Sans MT" panose="020B0502020104020203" pitchFamily="34" charset="0"/>
              <a:buNone/>
              <a:defRPr sz="1999" b="1">
                <a:solidFill>
                  <a:schemeClr val="tx1"/>
                </a:solidFill>
                <a:latin typeface="+mn-lt"/>
                <a:cs typeface="+mn-cs"/>
              </a:defRPr>
            </a:lvl2pPr>
            <a:lvl3pPr marL="913871" indent="0" algn="l" rtl="0" fontAlgn="base">
              <a:spcBef>
                <a:spcPct val="20000"/>
              </a:spcBef>
              <a:spcAft>
                <a:spcPct val="0"/>
              </a:spcAft>
              <a:buClr>
                <a:srgbClr val="ED1C24"/>
              </a:buClr>
              <a:buNone/>
              <a:defRPr sz="1799" b="1">
                <a:solidFill>
                  <a:schemeClr val="tx1"/>
                </a:solidFill>
                <a:latin typeface="+mn-lt"/>
                <a:cs typeface="+mn-cs"/>
              </a:defRPr>
            </a:lvl3pPr>
            <a:lvl4pPr marL="1370807" indent="0" algn="l" rtl="0" fontAlgn="base">
              <a:spcBef>
                <a:spcPct val="20000"/>
              </a:spcBef>
              <a:spcAft>
                <a:spcPct val="0"/>
              </a:spcAft>
              <a:buClr>
                <a:srgbClr val="ED1C24"/>
              </a:buClr>
              <a:buFont typeface="Gill Sans MT" panose="020B0502020104020203" pitchFamily="34" charset="0"/>
              <a:buNone/>
              <a:defRPr sz="1599" b="1">
                <a:solidFill>
                  <a:schemeClr val="tx1"/>
                </a:solidFill>
                <a:latin typeface="+mn-lt"/>
                <a:cs typeface="+mn-cs"/>
              </a:defRPr>
            </a:lvl4pPr>
            <a:lvl5pPr marL="1827742" indent="0" algn="l" rtl="0" fontAlgn="base">
              <a:spcBef>
                <a:spcPct val="20000"/>
              </a:spcBef>
              <a:spcAft>
                <a:spcPct val="0"/>
              </a:spcAft>
              <a:buClr>
                <a:srgbClr val="ED1C24"/>
              </a:buClr>
              <a:buFont typeface="Gill Sans MT" panose="020B0502020104020203" pitchFamily="34" charset="0"/>
              <a:buNone/>
              <a:defRPr sz="1599" b="1">
                <a:solidFill>
                  <a:schemeClr val="tx1"/>
                </a:solidFill>
                <a:latin typeface="+mn-lt"/>
                <a:cs typeface="+mn-cs"/>
              </a:defRPr>
            </a:lvl5pPr>
            <a:lvl6pPr marL="2284678" indent="0" algn="l" rtl="0" eaLnBrk="1" fontAlgn="base" hangingPunct="1">
              <a:spcBef>
                <a:spcPct val="20000"/>
              </a:spcBef>
              <a:spcAft>
                <a:spcPct val="0"/>
              </a:spcAft>
              <a:buClr>
                <a:srgbClr val="ED1C24"/>
              </a:buClr>
              <a:buFont typeface="Gill Sans MT" pitchFamily="34" charset="0"/>
              <a:buNone/>
              <a:defRPr sz="1599" b="1">
                <a:solidFill>
                  <a:schemeClr val="tx1"/>
                </a:solidFill>
                <a:latin typeface="+mn-lt"/>
                <a:cs typeface="+mn-cs"/>
              </a:defRPr>
            </a:lvl6pPr>
            <a:lvl7pPr marL="2741613" indent="0" algn="l" rtl="0" eaLnBrk="1" fontAlgn="base" hangingPunct="1">
              <a:spcBef>
                <a:spcPct val="20000"/>
              </a:spcBef>
              <a:spcAft>
                <a:spcPct val="0"/>
              </a:spcAft>
              <a:buClr>
                <a:srgbClr val="ED1C24"/>
              </a:buClr>
              <a:buFont typeface="Gill Sans MT" pitchFamily="34" charset="0"/>
              <a:buNone/>
              <a:defRPr sz="1599" b="1">
                <a:solidFill>
                  <a:schemeClr val="tx1"/>
                </a:solidFill>
                <a:latin typeface="+mn-lt"/>
                <a:cs typeface="+mn-cs"/>
              </a:defRPr>
            </a:lvl7pPr>
            <a:lvl8pPr marL="3198548" indent="0" algn="l" rtl="0" eaLnBrk="1" fontAlgn="base" hangingPunct="1">
              <a:spcBef>
                <a:spcPct val="20000"/>
              </a:spcBef>
              <a:spcAft>
                <a:spcPct val="0"/>
              </a:spcAft>
              <a:buClr>
                <a:srgbClr val="ED1C24"/>
              </a:buClr>
              <a:buFont typeface="Gill Sans MT" pitchFamily="34" charset="0"/>
              <a:buNone/>
              <a:defRPr sz="1599" b="1">
                <a:solidFill>
                  <a:schemeClr val="tx1"/>
                </a:solidFill>
                <a:latin typeface="+mn-lt"/>
                <a:cs typeface="+mn-cs"/>
              </a:defRPr>
            </a:lvl8pPr>
            <a:lvl9pPr marL="3655484" indent="0" algn="l" rtl="0" eaLnBrk="1" fontAlgn="base" hangingPunct="1">
              <a:spcBef>
                <a:spcPct val="20000"/>
              </a:spcBef>
              <a:spcAft>
                <a:spcPct val="0"/>
              </a:spcAft>
              <a:buClr>
                <a:srgbClr val="ED1C24"/>
              </a:buClr>
              <a:buFont typeface="Gill Sans MT" pitchFamily="34" charset="0"/>
              <a:buNone/>
              <a:defRPr sz="1599" b="1">
                <a:solidFill>
                  <a:schemeClr val="tx1"/>
                </a:solidFill>
                <a:latin typeface="+mn-lt"/>
                <a:cs typeface="+mn-cs"/>
              </a:defRPr>
            </a:lvl9pPr>
          </a:lstStyle>
          <a:p>
            <a:pPr defTabSz="914400"/>
            <a:r>
              <a:rPr lang="en-US" kern="0" dirty="0"/>
              <a:t>Physical	</a:t>
            </a:r>
          </a:p>
        </p:txBody>
      </p:sp>
      <p:sp>
        <p:nvSpPr>
          <p:cNvPr id="10" name="Content Placeholder 5">
            <a:extLst>
              <a:ext uri="{FF2B5EF4-FFF2-40B4-BE49-F238E27FC236}">
                <a16:creationId xmlns:a16="http://schemas.microsoft.com/office/drawing/2014/main" id="{19916AE1-0866-448C-94CD-F6F9DCA29A97}"/>
              </a:ext>
            </a:extLst>
          </p:cNvPr>
          <p:cNvSpPr txBox="1">
            <a:spLocks/>
          </p:cNvSpPr>
          <p:nvPr/>
        </p:nvSpPr>
        <p:spPr bwMode="auto">
          <a:xfrm>
            <a:off x="53745" y="1525058"/>
            <a:ext cx="3163094" cy="395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1960" indent="-341960" algn="l" rtl="0" fontAlgn="base">
              <a:spcBef>
                <a:spcPct val="20000"/>
              </a:spcBef>
              <a:spcAft>
                <a:spcPct val="0"/>
              </a:spcAft>
              <a:buClr>
                <a:srgbClr val="ED1C24"/>
              </a:buClr>
              <a:buChar char="•"/>
              <a:defRPr sz="2398">
                <a:solidFill>
                  <a:schemeClr val="tx1"/>
                </a:solidFill>
                <a:latin typeface="+mn-lt"/>
                <a:ea typeface="+mn-ea"/>
                <a:cs typeface="+mn-cs"/>
              </a:defRPr>
            </a:lvl1pPr>
            <a:lvl2pPr marL="741676" indent="-285119" algn="l" rtl="0" fontAlgn="base">
              <a:spcBef>
                <a:spcPct val="20000"/>
              </a:spcBef>
              <a:spcAft>
                <a:spcPct val="0"/>
              </a:spcAft>
              <a:buClr>
                <a:srgbClr val="ED1C24"/>
              </a:buClr>
              <a:buFont typeface="Gill Sans MT" panose="020B0502020104020203" pitchFamily="34" charset="0"/>
              <a:buChar char="–"/>
              <a:defRPr sz="1999">
                <a:solidFill>
                  <a:schemeClr val="tx1"/>
                </a:solidFill>
                <a:latin typeface="+mn-lt"/>
                <a:cs typeface="+mn-cs"/>
              </a:defRPr>
            </a:lvl2pPr>
            <a:lvl3pPr marL="1142309" indent="-228279" algn="l" rtl="0" fontAlgn="base">
              <a:spcBef>
                <a:spcPct val="20000"/>
              </a:spcBef>
              <a:spcAft>
                <a:spcPct val="0"/>
              </a:spcAft>
              <a:buClr>
                <a:srgbClr val="ED1C24"/>
              </a:buClr>
              <a:buChar char="•"/>
              <a:defRPr sz="1799">
                <a:solidFill>
                  <a:schemeClr val="tx1"/>
                </a:solidFill>
                <a:latin typeface="+mn-lt"/>
                <a:cs typeface="+mn-cs"/>
              </a:defRPr>
            </a:lvl3pPr>
            <a:lvl4pPr marL="1598867" indent="-228279" algn="l" rtl="0" fontAlgn="base">
              <a:spcBef>
                <a:spcPct val="20000"/>
              </a:spcBef>
              <a:spcAft>
                <a:spcPct val="0"/>
              </a:spcAft>
              <a:buClr>
                <a:srgbClr val="ED1C24"/>
              </a:buClr>
              <a:buFont typeface="Gill Sans MT" panose="020B0502020104020203" pitchFamily="34" charset="0"/>
              <a:buChar char="–"/>
              <a:defRPr sz="1599">
                <a:solidFill>
                  <a:schemeClr val="tx1"/>
                </a:solidFill>
                <a:latin typeface="+mn-lt"/>
                <a:cs typeface="+mn-cs"/>
              </a:defRPr>
            </a:lvl4pPr>
            <a:lvl5pPr marL="2055424" indent="-228279" algn="l" rtl="0" fontAlgn="base">
              <a:spcBef>
                <a:spcPct val="20000"/>
              </a:spcBef>
              <a:spcAft>
                <a:spcPct val="0"/>
              </a:spcAft>
              <a:buClr>
                <a:srgbClr val="ED1C24"/>
              </a:buClr>
              <a:buFont typeface="Gill Sans MT" panose="020B0502020104020203" pitchFamily="34" charset="0"/>
              <a:buChar char="»"/>
              <a:defRPr sz="1599">
                <a:solidFill>
                  <a:schemeClr val="tx1"/>
                </a:solidFill>
                <a:latin typeface="+mn-lt"/>
                <a:cs typeface="+mn-cs"/>
              </a:defRPr>
            </a:lvl5pPr>
            <a:lvl6pPr marL="2513145" indent="-228468" algn="l" rtl="0" eaLnBrk="1" fontAlgn="base" hangingPunct="1">
              <a:spcBef>
                <a:spcPct val="20000"/>
              </a:spcBef>
              <a:spcAft>
                <a:spcPct val="0"/>
              </a:spcAft>
              <a:buClr>
                <a:srgbClr val="ED1C24"/>
              </a:buClr>
              <a:buFont typeface="Gill Sans MT" pitchFamily="34" charset="0"/>
              <a:buChar char="»"/>
              <a:defRPr sz="1599">
                <a:solidFill>
                  <a:schemeClr val="tx1"/>
                </a:solidFill>
                <a:latin typeface="+mn-lt"/>
                <a:cs typeface="+mn-cs"/>
              </a:defRPr>
            </a:lvl6pPr>
            <a:lvl7pPr marL="2970081" indent="-228468" algn="l" rtl="0" eaLnBrk="1" fontAlgn="base" hangingPunct="1">
              <a:spcBef>
                <a:spcPct val="20000"/>
              </a:spcBef>
              <a:spcAft>
                <a:spcPct val="0"/>
              </a:spcAft>
              <a:buClr>
                <a:srgbClr val="ED1C24"/>
              </a:buClr>
              <a:buFont typeface="Gill Sans MT" pitchFamily="34" charset="0"/>
              <a:buChar char="»"/>
              <a:defRPr sz="1599">
                <a:solidFill>
                  <a:schemeClr val="tx1"/>
                </a:solidFill>
                <a:latin typeface="+mn-lt"/>
                <a:cs typeface="+mn-cs"/>
              </a:defRPr>
            </a:lvl7pPr>
            <a:lvl8pPr marL="3427016" indent="-228468" algn="l" rtl="0" eaLnBrk="1" fontAlgn="base" hangingPunct="1">
              <a:spcBef>
                <a:spcPct val="20000"/>
              </a:spcBef>
              <a:spcAft>
                <a:spcPct val="0"/>
              </a:spcAft>
              <a:buClr>
                <a:srgbClr val="ED1C24"/>
              </a:buClr>
              <a:buFont typeface="Gill Sans MT" pitchFamily="34" charset="0"/>
              <a:buChar char="»"/>
              <a:defRPr sz="1599">
                <a:solidFill>
                  <a:schemeClr val="tx1"/>
                </a:solidFill>
                <a:latin typeface="+mn-lt"/>
                <a:cs typeface="+mn-cs"/>
              </a:defRPr>
            </a:lvl8pPr>
            <a:lvl9pPr marL="3883952" indent="-228468" algn="l" rtl="0" eaLnBrk="1" fontAlgn="base" hangingPunct="1">
              <a:spcBef>
                <a:spcPct val="20000"/>
              </a:spcBef>
              <a:spcAft>
                <a:spcPct val="0"/>
              </a:spcAft>
              <a:buClr>
                <a:srgbClr val="ED1C24"/>
              </a:buClr>
              <a:buFont typeface="Gill Sans MT" pitchFamily="34" charset="0"/>
              <a:buChar char="»"/>
              <a:defRPr sz="1599">
                <a:solidFill>
                  <a:schemeClr val="tx1"/>
                </a:solidFill>
                <a:latin typeface="+mn-lt"/>
                <a:cs typeface="+mn-cs"/>
              </a:defRPr>
            </a:lvl9pPr>
          </a:lstStyle>
          <a:p>
            <a:pPr marL="322183" indent="-316324" defTabSz="843533" eaLnBrk="0" fontAlgn="base" hangingPunct="0">
              <a:lnSpc>
                <a:spcPct val="150000"/>
              </a:lnSpc>
              <a:spcBef>
                <a:spcPct val="0"/>
              </a:spcBef>
              <a:spcAft>
                <a:spcPct val="0"/>
              </a:spcAft>
              <a:buFont typeface="Arial" panose="020B0604020202020204" pitchFamily="34" charset="0"/>
              <a:buChar char="•"/>
              <a:defRPr/>
            </a:pPr>
            <a:r>
              <a:rPr lang="en-US" altLang="en-US" sz="1600" dirty="0" err="1">
                <a:solidFill>
                  <a:srgbClr val="231F20"/>
                </a:solidFill>
                <a:latin typeface="Zawgyi-One" panose="020B0604030504040204" pitchFamily="34" charset="0"/>
                <a:cs typeface="Zawgyi-One" panose="020B0604030504040204" pitchFamily="34" charset="0"/>
              </a:rPr>
              <a:t>တုန္ယီျခ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ခါင္းကိုက</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ခ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မအစားအေသာက</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ခ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ကိုက္ခဲျခင္း</a:t>
            </a:r>
            <a:r>
              <a:rPr lang="en-US" altLang="en-US" sz="1600" dirty="0">
                <a:solidFill>
                  <a:srgbClr val="231F20"/>
                </a:solidFill>
                <a:latin typeface="Zawgyi-One" panose="020B0604030504040204" pitchFamily="34" charset="0"/>
                <a:cs typeface="Zawgyi-One" panose="020B0604030504040204" pitchFamily="34" charset="0"/>
              </a:rPr>
              <a:t> ႏွင့္ </a:t>
            </a:r>
            <a:r>
              <a:rPr lang="en-US" altLang="en-US" sz="1600" dirty="0" err="1">
                <a:solidFill>
                  <a:srgbClr val="231F20"/>
                </a:solidFill>
                <a:latin typeface="Zawgyi-One" panose="020B0604030504040204" pitchFamily="34" charset="0"/>
                <a:cs typeface="Zawgyi-One" panose="020B0604030504040204" pitchFamily="34" charset="0"/>
              </a:rPr>
              <a:t>နာက်င</a:t>
            </a:r>
            <a:r>
              <a:rPr lang="en-US" altLang="en-US" sz="1600" dirty="0">
                <a:solidFill>
                  <a:srgbClr val="231F20"/>
                </a:solidFill>
                <a:latin typeface="Zawgyi-One" panose="020B0604030504040204" pitchFamily="34" charset="0"/>
                <a:cs typeface="Zawgyi-One" panose="020B0604030504040204" pitchFamily="34" charset="0"/>
              </a:rPr>
              <a:t>္ျ</a:t>
            </a:r>
            <a:r>
              <a:rPr lang="en-US" altLang="en-US" sz="1600" dirty="0" err="1">
                <a:solidFill>
                  <a:srgbClr val="231F20"/>
                </a:solidFill>
                <a:latin typeface="Zawgyi-One" panose="020B0604030504040204" pitchFamily="34" charset="0"/>
                <a:cs typeface="Zawgyi-One" panose="020B0604030504040204" pitchFamily="34" charset="0"/>
              </a:rPr>
              <a:t>ခင္း</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စေသာရုပ္ပိုင္းဆိုင္ရာလကၡဏာမ်ား</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နမေကာင္းျဖစ</a:t>
            </a:r>
            <a:r>
              <a:rPr lang="en-US" altLang="en-US" sz="1600" dirty="0">
                <a:solidFill>
                  <a:srgbClr val="231F20"/>
                </a:solidFill>
                <a:latin typeface="Zawgyi-One" panose="020B0604030504040204" pitchFamily="34" charset="0"/>
                <a:cs typeface="Zawgyi-One" panose="020B0604030504040204" pitchFamily="34" charset="0"/>
              </a:rPr>
              <a:t>္ </a:t>
            </a:r>
            <a:r>
              <a:rPr lang="en-US" altLang="en-US" sz="1600" dirty="0" err="1">
                <a:solidFill>
                  <a:srgbClr val="231F20"/>
                </a:solidFill>
                <a:latin typeface="Zawgyi-One" panose="020B0604030504040204" pitchFamily="34" charset="0"/>
                <a:cs typeface="Zawgyi-One" panose="020B0604030504040204" pitchFamily="34" charset="0"/>
              </a:rPr>
              <a:t>ေနေသာကေလး</a:t>
            </a:r>
            <a:endParaRPr lang="en-US" altLang="en-US" sz="1600" dirty="0">
              <a:latin typeface="Zawgyi-One" panose="020B0604030504040204" pitchFamily="34" charset="0"/>
              <a:cs typeface="Zawgyi-One" panose="020B0604030504040204" pitchFamily="34" charset="0"/>
            </a:endParaRPr>
          </a:p>
          <a:p>
            <a:pPr defTabSz="914400">
              <a:lnSpc>
                <a:spcPts val="3600"/>
              </a:lnSpc>
            </a:pPr>
            <a:r>
              <a:rPr lang="en-US" altLang="en-US" sz="1600" kern="0" dirty="0" err="1">
                <a:solidFill>
                  <a:srgbClr val="231F20"/>
                </a:solidFill>
                <a:latin typeface="Gill Sans Light"/>
                <a:ea typeface="Gill Sans Light"/>
                <a:cs typeface="Gill Sans Light"/>
              </a:rPr>
              <a:t>အိပ်မပျော</a:t>
            </a:r>
            <a:r>
              <a:rPr lang="en-US" altLang="en-US" sz="1600" kern="0" dirty="0">
                <a:solidFill>
                  <a:srgbClr val="231F20"/>
                </a:solidFill>
                <a:latin typeface="Gill Sans Light"/>
                <a:ea typeface="Gill Sans Light"/>
                <a:cs typeface="Gill Sans Light"/>
              </a:rPr>
              <a:t>်ြ</a:t>
            </a:r>
            <a:r>
              <a:rPr lang="en-US" altLang="en-US" sz="1600" kern="0" dirty="0" err="1">
                <a:solidFill>
                  <a:srgbClr val="231F20"/>
                </a:solidFill>
                <a:latin typeface="Gill Sans Light"/>
                <a:ea typeface="Gill Sans Light"/>
                <a:cs typeface="Gill Sans Light"/>
              </a:rPr>
              <a:t>ခင်းနှင</a:t>
            </a:r>
            <a:r>
              <a:rPr lang="en-US" altLang="en-US" sz="1600" kern="0" dirty="0">
                <a:solidFill>
                  <a:srgbClr val="231F20"/>
                </a:solidFill>
                <a:latin typeface="Gill Sans Light"/>
                <a:ea typeface="Gill Sans Light"/>
                <a:cs typeface="Gill Sans Light"/>
              </a:rPr>
              <a:t>့် </a:t>
            </a:r>
            <a:r>
              <a:rPr lang="en-US" altLang="en-US" sz="1600" kern="0" dirty="0" err="1">
                <a:solidFill>
                  <a:srgbClr val="231F20"/>
                </a:solidFill>
                <a:latin typeface="Gill Sans Light"/>
                <a:ea typeface="Gill Sans Light"/>
                <a:cs typeface="Gill Sans Light"/>
              </a:rPr>
              <a:t>အိပ်ပျော်ရန</a:t>
            </a:r>
            <a:r>
              <a:rPr lang="en-US" altLang="en-US" sz="1600" kern="0" dirty="0">
                <a:solidFill>
                  <a:srgbClr val="231F20"/>
                </a:solidFill>
                <a:latin typeface="Gill Sans Light"/>
                <a:ea typeface="Gill Sans Light"/>
                <a:cs typeface="Gill Sans Light"/>
              </a:rPr>
              <a:t>် </a:t>
            </a:r>
            <a:r>
              <a:rPr lang="en-US" altLang="en-US" sz="1600" kern="0" dirty="0" err="1">
                <a:solidFill>
                  <a:srgbClr val="231F20"/>
                </a:solidFill>
                <a:latin typeface="Gill Sans Light"/>
                <a:ea typeface="Gill Sans Light"/>
                <a:cs typeface="Gill Sans Light"/>
              </a:rPr>
              <a:t>ခက်ခဲခြင်း</a:t>
            </a:r>
            <a:endParaRPr lang="en-US" altLang="en-US" sz="1600" kern="0" dirty="0">
              <a:solidFill>
                <a:srgbClr val="231F20"/>
              </a:solidFill>
              <a:latin typeface="Gill Sans Light"/>
              <a:ea typeface="Gill Sans Light"/>
              <a:cs typeface="Gill Sans Light"/>
            </a:endParaRPr>
          </a:p>
          <a:p>
            <a:pPr defTabSz="914400">
              <a:lnSpc>
                <a:spcPts val="3600"/>
              </a:lnSpc>
            </a:pPr>
            <a:endParaRPr lang="en-US" altLang="en-US" sz="1600" kern="0" dirty="0">
              <a:latin typeface="Gill Sans Light"/>
              <a:ea typeface="Gill Sans Light"/>
              <a:cs typeface="Gill Sans Light"/>
            </a:endParaRPr>
          </a:p>
          <a:p>
            <a:pPr defTabSz="914400"/>
            <a:endParaRPr lang="en-US" sz="1600" kern="0" dirty="0"/>
          </a:p>
        </p:txBody>
      </p:sp>
      <p:sp>
        <p:nvSpPr>
          <p:cNvPr id="11" name="object 6">
            <a:extLst>
              <a:ext uri="{FF2B5EF4-FFF2-40B4-BE49-F238E27FC236}">
                <a16:creationId xmlns:a16="http://schemas.microsoft.com/office/drawing/2014/main" id="{EFAA102F-6875-4D3B-9981-74FC1DA7AD2D}"/>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 name="object 7">
            <a:extLst>
              <a:ext uri="{FF2B5EF4-FFF2-40B4-BE49-F238E27FC236}">
                <a16:creationId xmlns:a16="http://schemas.microsoft.com/office/drawing/2014/main" id="{42F66816-FD6D-4DB8-B14A-32A6BF185C91}"/>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3</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2364450681"/>
      </p:ext>
    </p:extLst>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8201897" y="518934"/>
            <a:ext cx="294464" cy="291557"/>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b="1">
                <a:solidFill>
                  <a:srgbClr val="ED1C24"/>
                </a:solidFill>
                <a:latin typeface="Zawgyi-One" pitchFamily="34" charset="0"/>
                <a:cs typeface="Zawgyi-One" pitchFamily="34" charset="0"/>
              </a:rPr>
              <a:t>70</a:t>
            </a:r>
            <a:endParaRPr lang="en-US">
              <a:latin typeface="Zawgyi-One" pitchFamily="34" charset="0"/>
              <a:cs typeface="Zawgyi-One" pitchFamily="34" charset="0"/>
            </a:endParaRPr>
          </a:p>
        </p:txBody>
      </p:sp>
      <p:sp>
        <p:nvSpPr>
          <p:cNvPr id="24" name="object 24"/>
          <p:cNvSpPr/>
          <p:nvPr/>
        </p:nvSpPr>
        <p:spPr>
          <a:xfrm>
            <a:off x="851287" y="994777"/>
            <a:ext cx="1182446" cy="1264329"/>
          </a:xfrm>
          <a:custGeom>
            <a:avLst/>
            <a:gdLst/>
            <a:ahLst/>
            <a:cxnLst/>
            <a:rect l="l" t="t" r="r" b="b"/>
            <a:pathLst>
              <a:path w="2217597" h="2373960">
                <a:moveTo>
                  <a:pt x="2217597" y="0"/>
                </a:moveTo>
                <a:lnTo>
                  <a:pt x="0" y="0"/>
                </a:lnTo>
                <a:lnTo>
                  <a:pt x="0" y="2373960"/>
                </a:lnTo>
                <a:lnTo>
                  <a:pt x="1784577" y="2373366"/>
                </a:lnTo>
                <a:lnTo>
                  <a:pt x="1852812" y="2371955"/>
                </a:lnTo>
                <a:lnTo>
                  <a:pt x="1913474" y="2369208"/>
                </a:lnTo>
                <a:lnTo>
                  <a:pt x="1967007" y="2364678"/>
                </a:lnTo>
                <a:lnTo>
                  <a:pt x="2013858" y="2357922"/>
                </a:lnTo>
                <a:lnTo>
                  <a:pt x="2054472" y="2348492"/>
                </a:lnTo>
                <a:lnTo>
                  <a:pt x="2118772" y="2319831"/>
                </a:lnTo>
                <a:lnTo>
                  <a:pt x="2163470" y="2275132"/>
                </a:lnTo>
                <a:lnTo>
                  <a:pt x="2192130" y="2210831"/>
                </a:lnTo>
                <a:lnTo>
                  <a:pt x="2201560" y="2170216"/>
                </a:lnTo>
                <a:lnTo>
                  <a:pt x="2208316" y="2123364"/>
                </a:lnTo>
                <a:lnTo>
                  <a:pt x="2212845" y="2069829"/>
                </a:lnTo>
                <a:lnTo>
                  <a:pt x="2215593" y="2009167"/>
                </a:lnTo>
                <a:lnTo>
                  <a:pt x="2217003" y="1940930"/>
                </a:lnTo>
                <a:lnTo>
                  <a:pt x="2217523" y="1864675"/>
                </a:lnTo>
                <a:lnTo>
                  <a:pt x="2217597" y="0"/>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25" name="object 25"/>
          <p:cNvSpPr txBox="1"/>
          <p:nvPr/>
        </p:nvSpPr>
        <p:spPr>
          <a:xfrm>
            <a:off x="835693" y="1649405"/>
            <a:ext cx="1177859" cy="328230"/>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sz="1900" b="1">
                <a:solidFill>
                  <a:srgbClr val="FFFFFF"/>
                </a:solidFill>
                <a:latin typeface="Zawgyi-One" pitchFamily="34" charset="0"/>
                <a:cs typeface="Zawgyi-One" pitchFamily="34" charset="0"/>
              </a:rPr>
              <a:t>နားေထာင္ပါ</a:t>
            </a:r>
            <a:endParaRPr lang="en-US" sz="1900">
              <a:latin typeface="Zawgyi-One" pitchFamily="34" charset="0"/>
              <a:cs typeface="Zawgyi-One" pitchFamily="34" charset="0"/>
            </a:endParaRPr>
          </a:p>
        </p:txBody>
      </p:sp>
      <p:sp>
        <p:nvSpPr>
          <p:cNvPr id="141319" name="object 26"/>
          <p:cNvSpPr txBox="1">
            <a:spLocks noChangeArrowheads="1"/>
          </p:cNvSpPr>
          <p:nvPr/>
        </p:nvSpPr>
        <p:spPr bwMode="auto">
          <a:xfrm>
            <a:off x="2256645" y="911344"/>
            <a:ext cx="5776462" cy="985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my-MM" altLang="en-US" sz="2500">
                <a:latin typeface="Zawgyi-One" pitchFamily="34" charset="0"/>
                <a:ea typeface="SimHei" pitchFamily="49" charset="-122"/>
                <a:cs typeface="Zawgyi-One" pitchFamily="34" charset="0"/>
              </a:rPr>
              <a:t>စိတ္ဖိစီးမွဳရွိေသာကေလးသူငယ္မ်ား ႏွင့္ ေကာင္းမြန္စြာဆက္ဆံေျပာဆိုျခင္း</a:t>
            </a:r>
          </a:p>
        </p:txBody>
      </p:sp>
      <p:sp>
        <p:nvSpPr>
          <p:cNvPr id="27" name="object 27"/>
          <p:cNvSpPr/>
          <p:nvPr/>
        </p:nvSpPr>
        <p:spPr>
          <a:xfrm>
            <a:off x="1239321" y="1126803"/>
            <a:ext cx="313729" cy="483177"/>
          </a:xfrm>
          <a:custGeom>
            <a:avLst/>
            <a:gdLst/>
            <a:ahLst/>
            <a:cxnLst/>
            <a:rect l="l" t="t"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28" name="object 28"/>
          <p:cNvSpPr/>
          <p:nvPr/>
        </p:nvSpPr>
        <p:spPr>
          <a:xfrm>
            <a:off x="1304451" y="1190982"/>
            <a:ext cx="167873" cy="275053"/>
          </a:xfrm>
          <a:custGeom>
            <a:avLst/>
            <a:gdLst/>
            <a:ahLst/>
            <a:cxnLst/>
            <a:rect l="l" t="t"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29" name="object 29"/>
          <p:cNvSpPr/>
          <p:nvPr/>
        </p:nvSpPr>
        <p:spPr>
          <a:xfrm>
            <a:off x="1569562" y="1134138"/>
            <a:ext cx="137600" cy="63262"/>
          </a:xfrm>
          <a:custGeom>
            <a:avLst/>
            <a:gdLst/>
            <a:ahLst/>
            <a:cxnLst/>
            <a:rect l="l" t="t"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0" name="object 30"/>
          <p:cNvSpPr/>
          <p:nvPr/>
        </p:nvSpPr>
        <p:spPr>
          <a:xfrm>
            <a:off x="1577817" y="1288167"/>
            <a:ext cx="144022" cy="28422"/>
          </a:xfrm>
          <a:custGeom>
            <a:avLst/>
            <a:gdLst/>
            <a:ahLst/>
            <a:cxnLst/>
            <a:rect l="l" t="t"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1" name="object 31"/>
          <p:cNvSpPr/>
          <p:nvPr/>
        </p:nvSpPr>
        <p:spPr>
          <a:xfrm>
            <a:off x="1540207" y="1397272"/>
            <a:ext cx="127509" cy="88017"/>
          </a:xfrm>
          <a:custGeom>
            <a:avLst/>
            <a:gdLst/>
            <a:ahLst/>
            <a:cxnLst/>
            <a:rect l="l" t="t"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2" name="object 32"/>
          <p:cNvSpPr/>
          <p:nvPr/>
        </p:nvSpPr>
        <p:spPr>
          <a:xfrm>
            <a:off x="2297926" y="2292112"/>
            <a:ext cx="5333388" cy="690385"/>
          </a:xfrm>
          <a:custGeom>
            <a:avLst/>
            <a:gdLst/>
            <a:ahLst/>
            <a:cxnLst/>
            <a:rect l="l" t="t" r="r" b="b"/>
            <a:pathLst>
              <a:path w="10006202" h="1055636">
                <a:moveTo>
                  <a:pt x="0" y="1055636"/>
                </a:moveTo>
                <a:lnTo>
                  <a:pt x="10006202" y="1055636"/>
                </a:lnTo>
                <a:lnTo>
                  <a:pt x="10006202" y="0"/>
                </a:lnTo>
                <a:lnTo>
                  <a:pt x="0" y="0"/>
                </a:lnTo>
                <a:lnTo>
                  <a:pt x="0" y="1055636"/>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3" name="object 33"/>
          <p:cNvSpPr/>
          <p:nvPr/>
        </p:nvSpPr>
        <p:spPr>
          <a:xfrm>
            <a:off x="1687897" y="2494736"/>
            <a:ext cx="436652" cy="361237"/>
          </a:xfrm>
          <a:custGeom>
            <a:avLst/>
            <a:gdLst/>
            <a:ahLst/>
            <a:cxnLst/>
            <a:rect l="l" t="t"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34" name="object 34"/>
          <p:cNvSpPr/>
          <p:nvPr/>
        </p:nvSpPr>
        <p:spPr>
          <a:xfrm>
            <a:off x="2293339" y="3130109"/>
            <a:ext cx="5335223" cy="1615481"/>
          </a:xfrm>
          <a:custGeom>
            <a:avLst/>
            <a:gdLst/>
            <a:ahLst/>
            <a:cxnLst/>
            <a:rect l="l" t="t" r="r" b="b"/>
            <a:pathLst>
              <a:path w="10006202" h="3031566">
                <a:moveTo>
                  <a:pt x="0" y="3031566"/>
                </a:moveTo>
                <a:lnTo>
                  <a:pt x="10006202" y="3031566"/>
                </a:lnTo>
                <a:lnTo>
                  <a:pt x="10006202" y="0"/>
                </a:lnTo>
                <a:lnTo>
                  <a:pt x="0" y="0"/>
                </a:lnTo>
                <a:lnTo>
                  <a:pt x="0" y="3031566"/>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5" name="object 35"/>
          <p:cNvSpPr txBox="1"/>
          <p:nvPr/>
        </p:nvSpPr>
        <p:spPr>
          <a:xfrm>
            <a:off x="2541019" y="2414053"/>
            <a:ext cx="4793078" cy="1948295"/>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sz="1900">
                <a:solidFill>
                  <a:srgbClr val="231F20"/>
                </a:solidFill>
                <a:latin typeface="Zawgyi-One" pitchFamily="34" charset="0"/>
                <a:cs typeface="Zawgyi-One" pitchFamily="34" charset="0"/>
              </a:rPr>
              <a:t>စိတ္ရွည္သည္းခံပါ။ အခ်ိန္ယူျပီးယံု ၾကည္မွဳတည္ေဆာက္ပါ</a:t>
            </a:r>
            <a:endParaRPr lang="en-US" sz="1900">
              <a:latin typeface="Zawgyi-One" pitchFamily="34" charset="0"/>
              <a:cs typeface="Zawgyi-One" pitchFamily="34" charset="0"/>
            </a:endParaRPr>
          </a:p>
          <a:p>
            <a:pPr>
              <a:lnSpc>
                <a:spcPts val="426"/>
              </a:lnSpc>
              <a:spcBef>
                <a:spcPts val="22"/>
              </a:spcBef>
            </a:pPr>
            <a:endParaRPr lang="en-US" sz="400">
              <a:latin typeface="Zawgyi-One" pitchFamily="34" charset="0"/>
              <a:cs typeface="Zawgyi-One" pitchFamily="34" charset="0"/>
            </a:endParaRPr>
          </a:p>
          <a:p>
            <a:pPr>
              <a:lnSpc>
                <a:spcPts val="534"/>
              </a:lnSpc>
            </a:pPr>
            <a:endParaRPr lang="en-US" sz="500">
              <a:latin typeface="Zawgyi-One" pitchFamily="34" charset="0"/>
              <a:cs typeface="Zawgyi-One" pitchFamily="34" charset="0"/>
            </a:endParaRPr>
          </a:p>
          <a:p>
            <a:pPr>
              <a:lnSpc>
                <a:spcPts val="534"/>
              </a:lnSpc>
            </a:pPr>
            <a:endParaRPr lang="en-US" sz="500">
              <a:latin typeface="Zawgyi-One" pitchFamily="34" charset="0"/>
              <a:cs typeface="Zawgyi-One" pitchFamily="34" charset="0"/>
            </a:endParaRPr>
          </a:p>
          <a:p>
            <a:pPr>
              <a:lnSpc>
                <a:spcPts val="534"/>
              </a:lnSpc>
            </a:pPr>
            <a:endParaRPr lang="en-US" sz="500">
              <a:latin typeface="Zawgyi-One" pitchFamily="34" charset="0"/>
              <a:cs typeface="Zawgyi-One" pitchFamily="34" charset="0"/>
            </a:endParaRPr>
          </a:p>
          <a:p>
            <a:pPr>
              <a:lnSpc>
                <a:spcPts val="534"/>
              </a:lnSpc>
            </a:pPr>
            <a:endParaRPr lang="en-US" sz="500">
              <a:latin typeface="Zawgyi-One" pitchFamily="34" charset="0"/>
              <a:cs typeface="Zawgyi-One" pitchFamily="34" charset="0"/>
            </a:endParaRPr>
          </a:p>
          <a:p>
            <a:r>
              <a:rPr lang="en-US" sz="1900">
                <a:solidFill>
                  <a:srgbClr val="231F20"/>
                </a:solidFill>
                <a:latin typeface="Zawgyi-One" pitchFamily="34" charset="0"/>
                <a:cs typeface="Zawgyi-One" pitchFamily="34" charset="0"/>
              </a:rPr>
              <a:t>တက္ၾကြေသာနားေထာင္မွဳကို အသံုးခ်ပါ...</a:t>
            </a:r>
            <a:endParaRPr lang="en-US" sz="1900">
              <a:latin typeface="Zawgyi-One" pitchFamily="34" charset="0"/>
              <a:cs typeface="Zawgyi-One" pitchFamily="34" charset="0"/>
            </a:endParaRPr>
          </a:p>
          <a:p>
            <a:pPr>
              <a:lnSpc>
                <a:spcPts val="267"/>
              </a:lnSpc>
              <a:spcBef>
                <a:spcPts val="8"/>
              </a:spcBef>
            </a:pPr>
            <a:endParaRPr lang="en-US" sz="200">
              <a:latin typeface="Zawgyi-One" pitchFamily="34" charset="0"/>
              <a:cs typeface="Zawgyi-One" pitchFamily="34" charset="0"/>
            </a:endParaRPr>
          </a:p>
          <a:p>
            <a:pPr>
              <a:buClr>
                <a:srgbClr val="231F20"/>
              </a:buClr>
              <a:buFont typeface="Gill Sans Light"/>
              <a:buChar char="-"/>
            </a:pPr>
            <a:r>
              <a:rPr lang="en-US" sz="1300">
                <a:solidFill>
                  <a:srgbClr val="231F20"/>
                </a:solidFill>
                <a:latin typeface="Zawgyi-One" pitchFamily="34" charset="0"/>
                <a:cs typeface="Zawgyi-One" pitchFamily="34" charset="0"/>
              </a:rPr>
              <a:t>အာရံုစိုက္ပါ</a:t>
            </a:r>
            <a:endParaRPr lang="en-US" sz="1300">
              <a:latin typeface="Zawgyi-One" pitchFamily="34" charset="0"/>
              <a:cs typeface="Zawgyi-One" pitchFamily="34" charset="0"/>
            </a:endParaRPr>
          </a:p>
          <a:p>
            <a:pPr>
              <a:lnSpc>
                <a:spcPts val="376"/>
              </a:lnSpc>
              <a:spcBef>
                <a:spcPts val="14"/>
              </a:spcBef>
              <a:buClr>
                <a:srgbClr val="231F20"/>
              </a:buClr>
              <a:buFont typeface="Gill Sans Light"/>
              <a:buChar char="-"/>
            </a:pPr>
            <a:endParaRPr lang="en-US" sz="300">
              <a:latin typeface="Zawgyi-One" pitchFamily="34" charset="0"/>
              <a:cs typeface="Zawgyi-One" pitchFamily="34" charset="0"/>
            </a:endParaRPr>
          </a:p>
          <a:p>
            <a:pPr>
              <a:buClr>
                <a:srgbClr val="231F20"/>
              </a:buClr>
              <a:buFont typeface="Gill Sans Light"/>
              <a:buChar char="-"/>
            </a:pPr>
            <a:r>
              <a:rPr lang="en-US" sz="1300">
                <a:solidFill>
                  <a:srgbClr val="231F20"/>
                </a:solidFill>
                <a:latin typeface="Zawgyi-One" pitchFamily="34" charset="0"/>
                <a:cs typeface="Zawgyi-One" pitchFamily="34" charset="0"/>
              </a:rPr>
              <a:t>သင္နားေထာင္ေနတယ္ဆိုတာကိုျပပါ</a:t>
            </a:r>
            <a:endParaRPr lang="en-US" sz="300">
              <a:latin typeface="Zawgyi-One" pitchFamily="34" charset="0"/>
              <a:cs typeface="Zawgyi-One" pitchFamily="34" charset="0"/>
            </a:endParaRPr>
          </a:p>
          <a:p>
            <a:pPr>
              <a:buClr>
                <a:srgbClr val="231F20"/>
              </a:buClr>
              <a:buSzPct val="98000"/>
              <a:buFont typeface="Gill Sans Light"/>
              <a:buChar char="-"/>
            </a:pPr>
            <a:r>
              <a:rPr lang="en-US" sz="1400">
                <a:solidFill>
                  <a:srgbClr val="231F20"/>
                </a:solidFill>
                <a:latin typeface="Zawgyi-One" pitchFamily="34" charset="0"/>
                <a:cs typeface="Zawgyi-One" pitchFamily="34" charset="0"/>
              </a:rPr>
              <a:t>စကားေျပာဖို႔ကေလးကိုတိုက္တြန္းပါ</a:t>
            </a:r>
            <a:endParaRPr lang="en-US" sz="1400">
              <a:latin typeface="Zawgyi-One" pitchFamily="34" charset="0"/>
              <a:cs typeface="Zawgyi-One" pitchFamily="34" charset="0"/>
            </a:endParaRPr>
          </a:p>
          <a:p>
            <a:pPr>
              <a:lnSpc>
                <a:spcPts val="376"/>
              </a:lnSpc>
              <a:spcBef>
                <a:spcPts val="8"/>
              </a:spcBef>
              <a:buClr>
                <a:srgbClr val="231F20"/>
              </a:buClr>
              <a:buFont typeface="Gill Sans Light"/>
              <a:buChar char="-"/>
            </a:pPr>
            <a:endParaRPr lang="en-US" sz="300">
              <a:latin typeface="Zawgyi-One" pitchFamily="34" charset="0"/>
              <a:cs typeface="Zawgyi-One" pitchFamily="34" charset="0"/>
            </a:endParaRPr>
          </a:p>
          <a:p>
            <a:pPr>
              <a:buClr>
                <a:srgbClr val="231F20"/>
              </a:buClr>
              <a:buFont typeface="Gill Sans Light"/>
              <a:buChar char="-"/>
            </a:pPr>
            <a:r>
              <a:rPr lang="en-US" sz="1300">
                <a:solidFill>
                  <a:srgbClr val="231F20"/>
                </a:solidFill>
                <a:latin typeface="Zawgyi-One" pitchFamily="34" charset="0"/>
                <a:cs typeface="Zawgyi-One" pitchFamily="34" charset="0"/>
              </a:rPr>
              <a:t>ဆံုးျဖတ္ျခင္းမပါဘဲ တုန္႔ျပန္ပါ</a:t>
            </a:r>
            <a:endParaRPr lang="en-US" sz="1300">
              <a:latin typeface="Zawgyi-One" pitchFamily="34" charset="0"/>
              <a:cs typeface="Zawgyi-One" pitchFamily="34" charset="0"/>
            </a:endParaRPr>
          </a:p>
        </p:txBody>
      </p:sp>
      <p:sp>
        <p:nvSpPr>
          <p:cNvPr id="36" name="object 36"/>
          <p:cNvSpPr/>
          <p:nvPr/>
        </p:nvSpPr>
        <p:spPr>
          <a:xfrm>
            <a:off x="1679642" y="3291473"/>
            <a:ext cx="437569" cy="360320"/>
          </a:xfrm>
          <a:custGeom>
            <a:avLst/>
            <a:gdLst/>
            <a:ahLst/>
            <a:cxnLst/>
            <a:rect l="l" t="t"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39" name="object 39"/>
          <p:cNvSpPr txBox="1"/>
          <p:nvPr/>
        </p:nvSpPr>
        <p:spPr>
          <a:xfrm>
            <a:off x="8699381" y="4549966"/>
            <a:ext cx="63981" cy="748084"/>
          </a:xfrm>
          <a:prstGeom prst="rect">
            <a:avLst/>
          </a:prstGeom>
        </p:spPr>
        <p:txBody>
          <a:bodyPr vert="vert270" lIns="0" tIns="0" rIns="0" bIns="0"/>
          <a:lstStyle/>
          <a:p>
            <a:pPr marL="6768">
              <a:defRPr/>
            </a:pPr>
            <a:r>
              <a:rPr sz="400" dirty="0">
                <a:solidFill>
                  <a:srgbClr val="231F20"/>
                </a:solidFill>
                <a:latin typeface="Zawgyi-One" pitchFamily="34" charset="0"/>
                <a:cs typeface="Zawgyi-One" pitchFamily="34" charset="0"/>
              </a:rPr>
              <a:t>Louise Dyring Mbae/S</a:t>
            </a:r>
            <a:r>
              <a:rPr sz="400" spc="-13" dirty="0">
                <a:solidFill>
                  <a:srgbClr val="231F20"/>
                </a:solidFill>
                <a:latin typeface="Zawgyi-One" pitchFamily="34" charset="0"/>
                <a:cs typeface="Zawgyi-One" pitchFamily="34" charset="0"/>
              </a:rPr>
              <a:t>a</a:t>
            </a:r>
            <a:r>
              <a:rPr sz="400" spc="-8" dirty="0">
                <a:solidFill>
                  <a:srgbClr val="231F20"/>
                </a:solidFill>
                <a:latin typeface="Zawgyi-One" pitchFamily="34" charset="0"/>
                <a:cs typeface="Zawgyi-One" pitchFamily="34" charset="0"/>
              </a:rPr>
              <a:t>v</a:t>
            </a:r>
            <a:r>
              <a:rPr sz="400" dirty="0">
                <a:solidFill>
                  <a:srgbClr val="231F20"/>
                </a:solidFill>
                <a:latin typeface="Zawgyi-One" pitchFamily="34" charset="0"/>
                <a:cs typeface="Zawgyi-One" pitchFamily="34" charset="0"/>
              </a:rPr>
              <a:t>e the Child</a:t>
            </a:r>
            <a:r>
              <a:rPr sz="400" spc="-8" dirty="0">
                <a:solidFill>
                  <a:srgbClr val="231F20"/>
                </a:solidFill>
                <a:latin typeface="Zawgyi-One" pitchFamily="34" charset="0"/>
                <a:cs typeface="Zawgyi-One" pitchFamily="34" charset="0"/>
              </a:rPr>
              <a:t>r</a:t>
            </a:r>
            <a:r>
              <a:rPr sz="400" dirty="0">
                <a:solidFill>
                  <a:srgbClr val="231F20"/>
                </a:solidFill>
                <a:latin typeface="Zawgyi-One" pitchFamily="34" charset="0"/>
                <a:cs typeface="Zawgyi-One" pitchFamily="34" charset="0"/>
              </a:rPr>
              <a:t>en</a:t>
            </a:r>
            <a:endParaRPr sz="400">
              <a:latin typeface="Zawgyi-One" pitchFamily="34" charset="0"/>
              <a:cs typeface="Zawgyi-One" pitchFamily="34" charset="0"/>
            </a:endParaRPr>
          </a:p>
        </p:txBody>
      </p:sp>
      <p:pic>
        <p:nvPicPr>
          <p:cNvPr id="141330" name="Picture 40"/>
          <p:cNvPicPr>
            <a:picLocks noChangeAspect="1"/>
          </p:cNvPicPr>
          <p:nvPr/>
        </p:nvPicPr>
        <p:blipFill>
          <a:blip r:embed="rId2" cstate="print">
            <a:extLst>
              <a:ext uri="{28A0092B-C50C-407E-A947-70E740481C1C}">
                <a14:useLocalDpi xmlns:a14="http://schemas.microsoft.com/office/drawing/2010/main" val="0"/>
              </a:ext>
            </a:extLst>
          </a:blip>
          <a:srcRect l="31221" t="10995" r="24959"/>
          <a:stretch>
            <a:fillRect/>
          </a:stretch>
        </p:blipFill>
        <p:spPr bwMode="auto">
          <a:xfrm>
            <a:off x="7135035" y="3449170"/>
            <a:ext cx="1596164" cy="2161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object 6">
            <a:extLst>
              <a:ext uri="{FF2B5EF4-FFF2-40B4-BE49-F238E27FC236}">
                <a16:creationId xmlns:a16="http://schemas.microsoft.com/office/drawing/2014/main" id="{85EF9B28-2D4B-4CB5-B941-7C027C673F5F}"/>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9" name="object 7">
            <a:extLst>
              <a:ext uri="{FF2B5EF4-FFF2-40B4-BE49-F238E27FC236}">
                <a16:creationId xmlns:a16="http://schemas.microsoft.com/office/drawing/2014/main" id="{BEAA928F-4474-4662-8433-34269CF09695}"/>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4</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21136998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object 2">
            <a:extLst>
              <a:ext uri="{FF2B5EF4-FFF2-40B4-BE49-F238E27FC236}">
                <a16:creationId xmlns:a16="http://schemas.microsoft.com/office/drawing/2014/main" id="{EC2B0061-6ABA-41B4-8018-00FD21EFCF66}"/>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71" name="object 3">
            <a:extLst>
              <a:ext uri="{FF2B5EF4-FFF2-40B4-BE49-F238E27FC236}">
                <a16:creationId xmlns:a16="http://schemas.microsoft.com/office/drawing/2014/main" id="{07929948-02AA-46A4-AA39-087FF0914C1D}"/>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72" name="object 5">
            <a:extLst>
              <a:ext uri="{FF2B5EF4-FFF2-40B4-BE49-F238E27FC236}">
                <a16:creationId xmlns:a16="http://schemas.microsoft.com/office/drawing/2014/main" id="{542010BB-7A1B-4BFD-9E2C-B41F4A7E7925}"/>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73" name="object 6">
            <a:extLst>
              <a:ext uri="{FF2B5EF4-FFF2-40B4-BE49-F238E27FC236}">
                <a16:creationId xmlns:a16="http://schemas.microsoft.com/office/drawing/2014/main" id="{F7FAAB6B-A0BA-43F8-829D-6108470BD0B7}"/>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5</a:t>
            </a:r>
            <a:endParaRPr lang="en-US" altLang="en-US" sz="2021" dirty="0">
              <a:latin typeface="Gill Sans" pitchFamily="34" charset="0"/>
              <a:cs typeface="Gill Sans" pitchFamily="34" charset="0"/>
            </a:endParaRPr>
          </a:p>
        </p:txBody>
      </p:sp>
      <p:sp>
        <p:nvSpPr>
          <p:cNvPr id="25" name="object 25">
            <a:extLst>
              <a:ext uri="{FF2B5EF4-FFF2-40B4-BE49-F238E27FC236}">
                <a16:creationId xmlns:a16="http://schemas.microsoft.com/office/drawing/2014/main" id="{1E93B3A6-6A20-4B91-9C5E-46BF0CE71784}"/>
              </a:ext>
            </a:extLst>
          </p:cNvPr>
          <p:cNvSpPr txBox="1"/>
          <p:nvPr/>
        </p:nvSpPr>
        <p:spPr>
          <a:xfrm>
            <a:off x="721252" y="1499958"/>
            <a:ext cx="922346" cy="355736"/>
          </a:xfrm>
          <a:prstGeom prst="rect">
            <a:avLst/>
          </a:prstGeom>
        </p:spPr>
        <p:txBody>
          <a:bodyPr lIns="0" tIns="0" rIns="0" bIns="0"/>
          <a:lstStyle/>
          <a:p>
            <a:pPr marL="7334">
              <a:defRPr/>
            </a:pPr>
            <a:r>
              <a:rPr sz="2281" b="1" dirty="0">
                <a:solidFill>
                  <a:srgbClr val="FFFFFF"/>
                </a:solidFill>
                <a:latin typeface="Gill Sans"/>
                <a:cs typeface="Gill Sans"/>
              </a:rPr>
              <a:t>Listen</a:t>
            </a:r>
            <a:endParaRPr sz="2281">
              <a:latin typeface="Gill Sans"/>
              <a:cs typeface="Gill Sans"/>
            </a:endParaRPr>
          </a:p>
        </p:txBody>
      </p:sp>
      <p:sp>
        <p:nvSpPr>
          <p:cNvPr id="26" name="object 26">
            <a:extLst>
              <a:ext uri="{FF2B5EF4-FFF2-40B4-BE49-F238E27FC236}">
                <a16:creationId xmlns:a16="http://schemas.microsoft.com/office/drawing/2014/main" id="{8CED48AA-EEEE-488A-AE8B-6103AD0881A3}"/>
              </a:ext>
            </a:extLst>
          </p:cNvPr>
          <p:cNvSpPr txBox="1"/>
          <p:nvPr/>
        </p:nvSpPr>
        <p:spPr>
          <a:xfrm>
            <a:off x="2054344" y="871920"/>
            <a:ext cx="2429639" cy="1068124"/>
          </a:xfrm>
          <a:prstGeom prst="rect">
            <a:avLst/>
          </a:prstGeom>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465">
                <a:solidFill>
                  <a:srgbClr val="ED1C24"/>
                </a:solidFill>
                <a:latin typeface="Gill Sans Light"/>
                <a:ea typeface="Gill Sans Light"/>
                <a:cs typeface="Gill Sans Light"/>
              </a:rPr>
              <a:t>Active listening...</a:t>
            </a:r>
            <a:endParaRPr lang="en-US" altLang="en-US" sz="3465">
              <a:latin typeface="Gill Sans Light"/>
              <a:ea typeface="Gill Sans Light"/>
              <a:cs typeface="Gill Sans Light"/>
            </a:endParaRPr>
          </a:p>
        </p:txBody>
      </p:sp>
      <p:sp>
        <p:nvSpPr>
          <p:cNvPr id="83977" name="object 27">
            <a:extLst>
              <a:ext uri="{FF2B5EF4-FFF2-40B4-BE49-F238E27FC236}">
                <a16:creationId xmlns:a16="http://schemas.microsoft.com/office/drawing/2014/main" id="{499DE9D8-08B3-4F92-8A4F-95CB17C662CF}"/>
              </a:ext>
            </a:extLst>
          </p:cNvPr>
          <p:cNvSpPr>
            <a:spLocks/>
          </p:cNvSpPr>
          <p:nvPr/>
        </p:nvSpPr>
        <p:spPr bwMode="auto">
          <a:xfrm>
            <a:off x="961465" y="934265"/>
            <a:ext cx="339233" cy="522602"/>
          </a:xfrm>
          <a:custGeom>
            <a:avLst/>
            <a:gdLst>
              <a:gd name="T0" fmla="*/ 25037 w 588121"/>
              <a:gd name="T1" fmla="*/ 651246 h 904763"/>
              <a:gd name="T2" fmla="*/ 39 w 588121"/>
              <a:gd name="T3" fmla="*/ 737359 h 904763"/>
              <a:gd name="T4" fmla="*/ 226 w 588121"/>
              <a:gd name="T5" fmla="*/ 753721 h 904763"/>
              <a:gd name="T6" fmla="*/ 23455 w 588121"/>
              <a:gd name="T7" fmla="*/ 829713 h 904763"/>
              <a:gd name="T8" fmla="*/ 81141 w 588121"/>
              <a:gd name="T9" fmla="*/ 884092 h 904763"/>
              <a:gd name="T10" fmla="*/ 170337 w 588121"/>
              <a:gd name="T11" fmla="*/ 904763 h 904763"/>
              <a:gd name="T12" fmla="*/ 235627 w 588121"/>
              <a:gd name="T13" fmla="*/ 886010 h 904763"/>
              <a:gd name="T14" fmla="*/ 271899 w 588121"/>
              <a:gd name="T15" fmla="*/ 852281 h 904763"/>
              <a:gd name="T16" fmla="*/ 142431 w 588121"/>
              <a:gd name="T17" fmla="*/ 850650 h 904763"/>
              <a:gd name="T18" fmla="*/ 77464 w 588121"/>
              <a:gd name="T19" fmla="*/ 812008 h 904763"/>
              <a:gd name="T20" fmla="*/ 49489 w 588121"/>
              <a:gd name="T21" fmla="*/ 746670 h 904763"/>
              <a:gd name="T22" fmla="*/ 68819 w 588121"/>
              <a:gd name="T23" fmla="*/ 696304 h 904763"/>
              <a:gd name="T24" fmla="*/ 77373 w 588121"/>
              <a:gd name="T25" fmla="*/ 681600 h 904763"/>
              <a:gd name="T26" fmla="*/ 83841 w 588121"/>
              <a:gd name="T27" fmla="*/ 667328 h 904763"/>
              <a:gd name="T28" fmla="*/ 86339 w 588121"/>
              <a:gd name="T29" fmla="*/ 653126 h 904763"/>
              <a:gd name="T30" fmla="*/ 82982 w 588121"/>
              <a:gd name="T31" fmla="*/ 638627 h 904763"/>
              <a:gd name="T32" fmla="*/ 72321 w 588121"/>
              <a:gd name="T33" fmla="*/ 626220 h 904763"/>
              <a:gd name="T34" fmla="*/ 58914 w 588121"/>
              <a:gd name="T35" fmla="*/ 623560 h 904763"/>
              <a:gd name="T36" fmla="*/ 311884 w 588121"/>
              <a:gd name="T37" fmla="*/ 69997 h 904763"/>
              <a:gd name="T38" fmla="*/ 355939 w 588121"/>
              <a:gd name="T39" fmla="*/ 74522 h 904763"/>
              <a:gd name="T40" fmla="*/ 442815 w 588121"/>
              <a:gd name="T41" fmla="*/ 113620 h 904763"/>
              <a:gd name="T42" fmla="*/ 504205 w 588121"/>
              <a:gd name="T43" fmla="*/ 200183 h 904763"/>
              <a:gd name="T44" fmla="*/ 520676 w 588121"/>
              <a:gd name="T45" fmla="*/ 292282 h 904763"/>
              <a:gd name="T46" fmla="*/ 512403 w 588121"/>
              <a:gd name="T47" fmla="*/ 361500 h 904763"/>
              <a:gd name="T48" fmla="*/ 471246 w 588121"/>
              <a:gd name="T49" fmla="*/ 457380 h 904763"/>
              <a:gd name="T50" fmla="*/ 410099 w 588121"/>
              <a:gd name="T51" fmla="*/ 545243 h 904763"/>
              <a:gd name="T52" fmla="*/ 330978 w 588121"/>
              <a:gd name="T53" fmla="*/ 637671 h 904763"/>
              <a:gd name="T54" fmla="*/ 285869 w 588121"/>
              <a:gd name="T55" fmla="*/ 692791 h 904763"/>
              <a:gd name="T56" fmla="*/ 261794 w 588121"/>
              <a:gd name="T57" fmla="*/ 759834 h 904763"/>
              <a:gd name="T58" fmla="*/ 217839 w 588121"/>
              <a:gd name="T59" fmla="*/ 832532 h 904763"/>
              <a:gd name="T60" fmla="*/ 156135 w 588121"/>
              <a:gd name="T61" fmla="*/ 852281 h 904763"/>
              <a:gd name="T62" fmla="*/ 292256 w 588121"/>
              <a:gd name="T63" fmla="*/ 818496 h 904763"/>
              <a:gd name="T64" fmla="*/ 320736 w 588121"/>
              <a:gd name="T65" fmla="*/ 724913 h 904763"/>
              <a:gd name="T66" fmla="*/ 345937 w 588121"/>
              <a:gd name="T67" fmla="*/ 680529 h 904763"/>
              <a:gd name="T68" fmla="*/ 420024 w 588121"/>
              <a:gd name="T69" fmla="*/ 605126 h 904763"/>
              <a:gd name="T70" fmla="*/ 464248 w 588121"/>
              <a:gd name="T71" fmla="*/ 560270 h 904763"/>
              <a:gd name="T72" fmla="*/ 519916 w 588121"/>
              <a:gd name="T73" fmla="*/ 494855 h 904763"/>
              <a:gd name="T74" fmla="*/ 563113 w 588121"/>
              <a:gd name="T75" fmla="*/ 420553 h 904763"/>
              <a:gd name="T76" fmla="*/ 586995 w 588121"/>
              <a:gd name="T77" fmla="*/ 315666 h 904763"/>
              <a:gd name="T78" fmla="*/ 587100 w 588121"/>
              <a:gd name="T79" fmla="*/ 257905 h 904763"/>
              <a:gd name="T80" fmla="*/ 558236 w 588121"/>
              <a:gd name="T81" fmla="*/ 144959 h 904763"/>
              <a:gd name="T82" fmla="*/ 506900 w 588121"/>
              <a:gd name="T83" fmla="*/ 72909 h 904763"/>
              <a:gd name="T84" fmla="*/ 312091 w 588121"/>
              <a:gd name="T85" fmla="*/ 0 h 904763"/>
              <a:gd name="T86" fmla="*/ 219636 w 588121"/>
              <a:gd name="T87" fmla="*/ 12370 h 904763"/>
              <a:gd name="T88" fmla="*/ 137752 w 588121"/>
              <a:gd name="T89" fmla="*/ 59023 h 904763"/>
              <a:gd name="T90" fmla="*/ 82668 w 588121"/>
              <a:gd name="T91" fmla="*/ 125500 h 904763"/>
              <a:gd name="T92" fmla="*/ 48062 w 588121"/>
              <a:gd name="T93" fmla="*/ 208452 h 904763"/>
              <a:gd name="T94" fmla="*/ 40792 w 588121"/>
              <a:gd name="T95" fmla="*/ 270941 h 904763"/>
              <a:gd name="T96" fmla="*/ 44311 w 588121"/>
              <a:gd name="T97" fmla="*/ 328775 h 904763"/>
              <a:gd name="T98" fmla="*/ 74900 w 588121"/>
              <a:gd name="T99" fmla="*/ 388478 h 904763"/>
              <a:gd name="T100" fmla="*/ 92076 w 588121"/>
              <a:gd name="T101" fmla="*/ 336326 h 904763"/>
              <a:gd name="T102" fmla="*/ 90817 w 588121"/>
              <a:gd name="T103" fmla="*/ 305421 h 904763"/>
              <a:gd name="T104" fmla="*/ 102663 w 588121"/>
              <a:gd name="T105" fmla="*/ 214458 h 904763"/>
              <a:gd name="T106" fmla="*/ 142640 w 588121"/>
              <a:gd name="T107" fmla="*/ 138007 h 904763"/>
              <a:gd name="T108" fmla="*/ 225604 w 588121"/>
              <a:gd name="T109" fmla="*/ 81887 h 904763"/>
              <a:gd name="T110" fmla="*/ 311884 w 588121"/>
              <a:gd name="T111" fmla="*/ 69997 h 904763"/>
              <a:gd name="T112" fmla="*/ 483412 w 588121"/>
              <a:gd name="T113" fmla="*/ 53064 h 904763"/>
              <a:gd name="T114" fmla="*/ 426066 w 588121"/>
              <a:gd name="T115" fmla="*/ 21616 h 904763"/>
              <a:gd name="T116" fmla="*/ 353990 w 588121"/>
              <a:gd name="T117" fmla="*/ 3357 h 904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78" name="object 28">
            <a:extLst>
              <a:ext uri="{FF2B5EF4-FFF2-40B4-BE49-F238E27FC236}">
                <a16:creationId xmlns:a16="http://schemas.microsoft.com/office/drawing/2014/main" id="{6BC383EB-4B0D-4D6C-B282-CB4235222BB6}"/>
              </a:ext>
            </a:extLst>
          </p:cNvPr>
          <p:cNvSpPr>
            <a:spLocks/>
          </p:cNvSpPr>
          <p:nvPr/>
        </p:nvSpPr>
        <p:spPr bwMode="auto">
          <a:xfrm>
            <a:off x="1032062" y="1003946"/>
            <a:ext cx="182452" cy="297974"/>
          </a:xfrm>
          <a:custGeom>
            <a:avLst/>
            <a:gdLst>
              <a:gd name="T0" fmla="*/ 116302 w 316928"/>
              <a:gd name="T1" fmla="*/ 6558 h 516362"/>
              <a:gd name="T2" fmla="*/ 40650 w 316928"/>
              <a:gd name="T3" fmla="*/ 59292 h 516362"/>
              <a:gd name="T4" fmla="*/ 5735 w 316928"/>
              <a:gd name="T5" fmla="*/ 153385 h 516362"/>
              <a:gd name="T6" fmla="*/ 6850 w 316928"/>
              <a:gd name="T7" fmla="*/ 183410 h 516362"/>
              <a:gd name="T8" fmla="*/ 50383 w 316928"/>
              <a:gd name="T9" fmla="*/ 256760 h 516362"/>
              <a:gd name="T10" fmla="*/ 75399 w 316928"/>
              <a:gd name="T11" fmla="*/ 301663 h 516362"/>
              <a:gd name="T12" fmla="*/ 56504 w 316928"/>
              <a:gd name="T13" fmla="*/ 354950 h 516362"/>
              <a:gd name="T14" fmla="*/ 21746 w 316928"/>
              <a:gd name="T15" fmla="*/ 396796 h 516362"/>
              <a:gd name="T16" fmla="*/ 0 w 316928"/>
              <a:gd name="T17" fmla="*/ 457668 h 516362"/>
              <a:gd name="T18" fmla="*/ 23904 w 316928"/>
              <a:gd name="T19" fmla="*/ 505926 h 516362"/>
              <a:gd name="T20" fmla="*/ 66855 w 316928"/>
              <a:gd name="T21" fmla="*/ 516148 h 516362"/>
              <a:gd name="T22" fmla="*/ 135018 w 316928"/>
              <a:gd name="T23" fmla="*/ 472237 h 516362"/>
              <a:gd name="T24" fmla="*/ 173394 w 316928"/>
              <a:gd name="T25" fmla="*/ 391952 h 516362"/>
              <a:gd name="T26" fmla="*/ 181435 w 316928"/>
              <a:gd name="T27" fmla="*/ 329399 h 516362"/>
              <a:gd name="T28" fmla="*/ 164823 w 316928"/>
              <a:gd name="T29" fmla="*/ 280356 h 516362"/>
              <a:gd name="T30" fmla="*/ 113805 w 316928"/>
              <a:gd name="T31" fmla="*/ 221310 h 516362"/>
              <a:gd name="T32" fmla="*/ 77246 w 316928"/>
              <a:gd name="T33" fmla="*/ 175233 h 516362"/>
              <a:gd name="T34" fmla="*/ 72350 w 316928"/>
              <a:gd name="T35" fmla="*/ 130695 h 516362"/>
              <a:gd name="T36" fmla="*/ 123508 w 316928"/>
              <a:gd name="T37" fmla="*/ 62141 h 516362"/>
              <a:gd name="T38" fmla="*/ 270522 w 316928"/>
              <a:gd name="T39" fmla="*/ 43427 h 516362"/>
              <a:gd name="T40" fmla="*/ 178968 w 316928"/>
              <a:gd name="T41" fmla="*/ 1160 h 516362"/>
              <a:gd name="T42" fmla="*/ 279719 w 316928"/>
              <a:gd name="T43" fmla="*/ 52434 h 516362"/>
              <a:gd name="T44" fmla="*/ 185681 w 316928"/>
              <a:gd name="T45" fmla="*/ 54007 h 516362"/>
              <a:gd name="T46" fmla="*/ 235994 w 316928"/>
              <a:gd name="T47" fmla="*/ 83205 h 516362"/>
              <a:gd name="T48" fmla="*/ 272545 w 316928"/>
              <a:gd name="T49" fmla="*/ 169243 h 516362"/>
              <a:gd name="T50" fmla="*/ 271587 w 316928"/>
              <a:gd name="T51" fmla="*/ 196507 h 516362"/>
              <a:gd name="T52" fmla="*/ 241764 w 316928"/>
              <a:gd name="T53" fmla="*/ 271203 h 516362"/>
              <a:gd name="T54" fmla="*/ 233594 w 316928"/>
              <a:gd name="T55" fmla="*/ 291147 h 516362"/>
              <a:gd name="T56" fmla="*/ 236431 w 316928"/>
              <a:gd name="T57" fmla="*/ 305369 h 516362"/>
              <a:gd name="T58" fmla="*/ 247970 w 316928"/>
              <a:gd name="T59" fmla="*/ 309990 h 516362"/>
              <a:gd name="T60" fmla="*/ 284064 w 316928"/>
              <a:gd name="T61" fmla="*/ 276912 h 516362"/>
              <a:gd name="T62" fmla="*/ 313905 w 316928"/>
              <a:gd name="T63" fmla="*/ 193989 h 516362"/>
              <a:gd name="T64" fmla="*/ 316454 w 316928"/>
              <a:gd name="T65" fmla="*/ 140912 h 516362"/>
              <a:gd name="T66" fmla="*/ 287917 w 316928"/>
              <a:gd name="T67" fmla="*/ 62043 h 516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79" name="object 29">
            <a:extLst>
              <a:ext uri="{FF2B5EF4-FFF2-40B4-BE49-F238E27FC236}">
                <a16:creationId xmlns:a16="http://schemas.microsoft.com/office/drawing/2014/main" id="{5DFD8F8E-2A3B-4B51-9C14-3567F7A22DE3}"/>
              </a:ext>
            </a:extLst>
          </p:cNvPr>
          <p:cNvSpPr>
            <a:spLocks/>
          </p:cNvSpPr>
          <p:nvPr/>
        </p:nvSpPr>
        <p:spPr bwMode="auto">
          <a:xfrm>
            <a:off x="1319952" y="940683"/>
            <a:ext cx="148529" cy="67847"/>
          </a:xfrm>
          <a:custGeom>
            <a:avLst/>
            <a:gdLst>
              <a:gd name="T0" fmla="*/ 242299 w 257462"/>
              <a:gd name="T1" fmla="*/ 0 h 117510"/>
              <a:gd name="T2" fmla="*/ 229923 w 257462"/>
              <a:gd name="T3" fmla="*/ 606 h 117510"/>
              <a:gd name="T4" fmla="*/ 5264 w 257462"/>
              <a:gd name="T5" fmla="*/ 79689 h 117510"/>
              <a:gd name="T6" fmla="*/ 0 w 257462"/>
              <a:gd name="T7" fmla="*/ 90374 h 117510"/>
              <a:gd name="T8" fmla="*/ 950 w 257462"/>
              <a:gd name="T9" fmla="*/ 103161 h 117510"/>
              <a:gd name="T10" fmla="*/ 9370 w 257462"/>
              <a:gd name="T11" fmla="*/ 113649 h 117510"/>
              <a:gd name="T12" fmla="*/ 21999 w 257462"/>
              <a:gd name="T13" fmla="*/ 117510 h 117510"/>
              <a:gd name="T14" fmla="*/ 24412 w 257462"/>
              <a:gd name="T15" fmla="*/ 117510 h 117510"/>
              <a:gd name="T16" fmla="*/ 26850 w 257462"/>
              <a:gd name="T17" fmla="*/ 117116 h 117510"/>
              <a:gd name="T18" fmla="*/ 250449 w 257462"/>
              <a:gd name="T19" fmla="*/ 40281 h 117510"/>
              <a:gd name="T20" fmla="*/ 256229 w 257462"/>
              <a:gd name="T21" fmla="*/ 32460 h 117510"/>
              <a:gd name="T22" fmla="*/ 257462 w 257462"/>
              <a:gd name="T23" fmla="*/ 20918 h 117510"/>
              <a:gd name="T24" fmla="*/ 252890 w 257462"/>
              <a:gd name="T25" fmla="*/ 5755 h 117510"/>
              <a:gd name="T26" fmla="*/ 242299 w 257462"/>
              <a:gd name="T27" fmla="*/ 0 h 117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80" name="object 30">
            <a:extLst>
              <a:ext uri="{FF2B5EF4-FFF2-40B4-BE49-F238E27FC236}">
                <a16:creationId xmlns:a16="http://schemas.microsoft.com/office/drawing/2014/main" id="{2B42CD99-54C6-4BDF-B553-C9D7AB6B88A4}"/>
              </a:ext>
            </a:extLst>
          </p:cNvPr>
          <p:cNvSpPr>
            <a:spLocks/>
          </p:cNvSpPr>
          <p:nvPr/>
        </p:nvSpPr>
        <p:spPr bwMode="auto">
          <a:xfrm>
            <a:off x="1329120" y="1107549"/>
            <a:ext cx="155864" cy="32090"/>
          </a:xfrm>
          <a:custGeom>
            <a:avLst/>
            <a:gdLst>
              <a:gd name="T0" fmla="*/ 21684 w 269961"/>
              <a:gd name="T1" fmla="*/ 0 h 55455"/>
              <a:gd name="T2" fmla="*/ 10604 w 269961"/>
              <a:gd name="T3" fmla="*/ 3125 h 55455"/>
              <a:gd name="T4" fmla="*/ 2724 w 269961"/>
              <a:gd name="T5" fmla="*/ 12997 h 55455"/>
              <a:gd name="T6" fmla="*/ 0 w 269961"/>
              <a:gd name="T7" fmla="*/ 29649 h 55455"/>
              <a:gd name="T8" fmla="*/ 7686 w 269961"/>
              <a:gd name="T9" fmla="*/ 40539 h 55455"/>
              <a:gd name="T10" fmla="*/ 20500 w 269961"/>
              <a:gd name="T11" fmla="*/ 45232 h 55455"/>
              <a:gd name="T12" fmla="*/ 247437 w 269961"/>
              <a:gd name="T13" fmla="*/ 55430 h 55455"/>
              <a:gd name="T14" fmla="*/ 248465 w 269961"/>
              <a:gd name="T15" fmla="*/ 55455 h 55455"/>
              <a:gd name="T16" fmla="*/ 259063 w 269961"/>
              <a:gd name="T17" fmla="*/ 52535 h 55455"/>
              <a:gd name="T18" fmla="*/ 267175 w 269961"/>
              <a:gd name="T19" fmla="*/ 42754 h 55455"/>
              <a:gd name="T20" fmla="*/ 269961 w 269961"/>
              <a:gd name="T21" fmla="*/ 25807 h 55455"/>
              <a:gd name="T22" fmla="*/ 262280 w 269961"/>
              <a:gd name="T23" fmla="*/ 14922 h 55455"/>
              <a:gd name="T24" fmla="*/ 249469 w 269961"/>
              <a:gd name="T25" fmla="*/ 10231 h 55455"/>
              <a:gd name="T26" fmla="*/ 21684 w 269961"/>
              <a:gd name="T27" fmla="*/ 0 h 55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81" name="object 31">
            <a:extLst>
              <a:ext uri="{FF2B5EF4-FFF2-40B4-BE49-F238E27FC236}">
                <a16:creationId xmlns:a16="http://schemas.microsoft.com/office/drawing/2014/main" id="{F3F5EA06-53EF-4C82-A5FC-FE27A67CF008}"/>
              </a:ext>
            </a:extLst>
          </p:cNvPr>
          <p:cNvSpPr>
            <a:spLocks/>
          </p:cNvSpPr>
          <p:nvPr/>
        </p:nvSpPr>
        <p:spPr bwMode="auto">
          <a:xfrm>
            <a:off x="1287862" y="1227656"/>
            <a:ext cx="137527" cy="94435"/>
          </a:xfrm>
          <a:custGeom>
            <a:avLst/>
            <a:gdLst>
              <a:gd name="T0" fmla="*/ 28484 w 237860"/>
              <a:gd name="T1" fmla="*/ 0 h 164749"/>
              <a:gd name="T2" fmla="*/ 18713 w 237860"/>
              <a:gd name="T3" fmla="*/ 454 h 164749"/>
              <a:gd name="T4" fmla="*/ 8922 w 237860"/>
              <a:gd name="T5" fmla="*/ 6983 h 164749"/>
              <a:gd name="T6" fmla="*/ 0 w 237860"/>
              <a:gd name="T7" fmla="*/ 20598 h 164749"/>
              <a:gd name="T8" fmla="*/ 2448 w 237860"/>
              <a:gd name="T9" fmla="*/ 32066 h 164749"/>
              <a:gd name="T10" fmla="*/ 10620 w 237860"/>
              <a:gd name="T11" fmla="*/ 40962 h 164749"/>
              <a:gd name="T12" fmla="*/ 207000 w 237860"/>
              <a:gd name="T13" fmla="*/ 163644 h 164749"/>
              <a:gd name="T14" fmla="*/ 211153 w 237860"/>
              <a:gd name="T15" fmla="*/ 164749 h 164749"/>
              <a:gd name="T16" fmla="*/ 215242 w 237860"/>
              <a:gd name="T17" fmla="*/ 164749 h 164749"/>
              <a:gd name="T18" fmla="*/ 219418 w 237860"/>
              <a:gd name="T19" fmla="*/ 164298 h 164749"/>
              <a:gd name="T20" fmla="*/ 228579 w 237860"/>
              <a:gd name="T21" fmla="*/ 158673 h 164749"/>
              <a:gd name="T22" fmla="*/ 237860 w 237860"/>
              <a:gd name="T23" fmla="*/ 143301 h 164749"/>
              <a:gd name="T24" fmla="*/ 235414 w 237860"/>
              <a:gd name="T25" fmla="*/ 131835 h 164749"/>
              <a:gd name="T26" fmla="*/ 227244 w 237860"/>
              <a:gd name="T27" fmla="*/ 122941 h 164749"/>
              <a:gd name="T28" fmla="*/ 28484 w 237860"/>
              <a:gd name="T29" fmla="*/ 0 h 164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82" name="object 32">
            <a:extLst>
              <a:ext uri="{FF2B5EF4-FFF2-40B4-BE49-F238E27FC236}">
                <a16:creationId xmlns:a16="http://schemas.microsoft.com/office/drawing/2014/main" id="{C1248012-5C8B-41B3-B5DF-3C1696332A44}"/>
              </a:ext>
            </a:extLst>
          </p:cNvPr>
          <p:cNvSpPr>
            <a:spLocks/>
          </p:cNvSpPr>
          <p:nvPr/>
        </p:nvSpPr>
        <p:spPr bwMode="auto">
          <a:xfrm>
            <a:off x="3006029" y="2150918"/>
            <a:ext cx="3296058" cy="609702"/>
          </a:xfrm>
          <a:custGeom>
            <a:avLst/>
            <a:gdLst>
              <a:gd name="T0" fmla="*/ 0 w 5707799"/>
              <a:gd name="T1" fmla="*/ 1055636 h 1055636"/>
              <a:gd name="T2" fmla="*/ 5707799 w 5707799"/>
              <a:gd name="T3" fmla="*/ 1055636 h 1055636"/>
              <a:gd name="T4" fmla="*/ 5707799 w 5707799"/>
              <a:gd name="T5" fmla="*/ 0 h 1055636"/>
              <a:gd name="T6" fmla="*/ 0 w 5707799"/>
              <a:gd name="T7" fmla="*/ 0 h 1055636"/>
              <a:gd name="T8" fmla="*/ 0 w 5707799"/>
              <a:gd name="T9" fmla="*/ 1055636 h 1055636"/>
            </a:gdLst>
            <a:ahLst/>
            <a:cxnLst>
              <a:cxn ang="0">
                <a:pos x="T0" y="T1"/>
              </a:cxn>
              <a:cxn ang="0">
                <a:pos x="T2" y="T3"/>
              </a:cxn>
              <a:cxn ang="0">
                <a:pos x="T4" y="T5"/>
              </a:cxn>
              <a:cxn ang="0">
                <a:pos x="T6" y="T7"/>
              </a:cxn>
              <a:cxn ang="0">
                <a:pos x="T8" y="T9"/>
              </a:cxn>
            </a:cxnLst>
            <a:rect l="0" t="0" r="r" b="b"/>
            <a:pathLst>
              <a:path w="5707799" h="1055636">
                <a:moveTo>
                  <a:pt x="0" y="1055636"/>
                </a:moveTo>
                <a:lnTo>
                  <a:pt x="5707799" y="1055636"/>
                </a:lnTo>
                <a:lnTo>
                  <a:pt x="570779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83" name="object 33">
            <a:extLst>
              <a:ext uri="{FF2B5EF4-FFF2-40B4-BE49-F238E27FC236}">
                <a16:creationId xmlns:a16="http://schemas.microsoft.com/office/drawing/2014/main" id="{CBBCDE46-FEE1-4C41-A7B1-8F74B2D73816}"/>
              </a:ext>
            </a:extLst>
          </p:cNvPr>
          <p:cNvSpPr>
            <a:spLocks/>
          </p:cNvSpPr>
          <p:nvPr/>
        </p:nvSpPr>
        <p:spPr bwMode="auto">
          <a:xfrm>
            <a:off x="3006029" y="4256911"/>
            <a:ext cx="3296058" cy="609702"/>
          </a:xfrm>
          <a:custGeom>
            <a:avLst/>
            <a:gdLst>
              <a:gd name="T0" fmla="*/ 0 w 5707799"/>
              <a:gd name="T1" fmla="*/ 1055636 h 1055636"/>
              <a:gd name="T2" fmla="*/ 5707799 w 5707799"/>
              <a:gd name="T3" fmla="*/ 1055636 h 1055636"/>
              <a:gd name="T4" fmla="*/ 5707799 w 5707799"/>
              <a:gd name="T5" fmla="*/ 0 h 1055636"/>
              <a:gd name="T6" fmla="*/ 0 w 5707799"/>
              <a:gd name="T7" fmla="*/ 0 h 1055636"/>
              <a:gd name="T8" fmla="*/ 0 w 5707799"/>
              <a:gd name="T9" fmla="*/ 1055636 h 1055636"/>
            </a:gdLst>
            <a:ahLst/>
            <a:cxnLst>
              <a:cxn ang="0">
                <a:pos x="T0" y="T1"/>
              </a:cxn>
              <a:cxn ang="0">
                <a:pos x="T2" y="T3"/>
              </a:cxn>
              <a:cxn ang="0">
                <a:pos x="T4" y="T5"/>
              </a:cxn>
              <a:cxn ang="0">
                <a:pos x="T6" y="T7"/>
              </a:cxn>
              <a:cxn ang="0">
                <a:pos x="T8" y="T9"/>
              </a:cxn>
            </a:cxnLst>
            <a:rect l="0" t="0" r="r" b="b"/>
            <a:pathLst>
              <a:path w="5707799" h="1055636">
                <a:moveTo>
                  <a:pt x="0" y="1055636"/>
                </a:moveTo>
                <a:lnTo>
                  <a:pt x="5707799" y="1055636"/>
                </a:lnTo>
                <a:lnTo>
                  <a:pt x="570779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4" name="object 34">
            <a:extLst>
              <a:ext uri="{FF2B5EF4-FFF2-40B4-BE49-F238E27FC236}">
                <a16:creationId xmlns:a16="http://schemas.microsoft.com/office/drawing/2014/main" id="{C06A7C6E-9AFE-45B0-B60C-3F1983724D7D}"/>
              </a:ext>
            </a:extLst>
          </p:cNvPr>
          <p:cNvSpPr txBox="1"/>
          <p:nvPr/>
        </p:nvSpPr>
        <p:spPr>
          <a:xfrm>
            <a:off x="3147223" y="2282944"/>
            <a:ext cx="2348957" cy="327314"/>
          </a:xfrm>
          <a:prstGeom prst="rect">
            <a:avLst/>
          </a:prstGeom>
        </p:spPr>
        <p:txBody>
          <a:bodyPr lIns="0" tIns="0" rIns="0" bIns="0"/>
          <a:lstStyle/>
          <a:p>
            <a:pPr marL="7334">
              <a:defRPr/>
            </a:pPr>
            <a:r>
              <a:rPr lang="en-US" sz="2079" dirty="0" err="1">
                <a:solidFill>
                  <a:srgbClr val="231F20"/>
                </a:solidFill>
                <a:latin typeface="Gill Sans Light"/>
                <a:cs typeface="Gill Sans Light"/>
              </a:rPr>
              <a:t>အာရုံစိုက်ခြင်း</a:t>
            </a:r>
            <a:endParaRPr sz="2079" dirty="0">
              <a:latin typeface="Gill Sans Light"/>
              <a:cs typeface="Gill Sans Light"/>
            </a:endParaRPr>
          </a:p>
        </p:txBody>
      </p:sp>
      <p:sp>
        <p:nvSpPr>
          <p:cNvPr id="35" name="object 35">
            <a:extLst>
              <a:ext uri="{FF2B5EF4-FFF2-40B4-BE49-F238E27FC236}">
                <a16:creationId xmlns:a16="http://schemas.microsoft.com/office/drawing/2014/main" id="{ED46AA45-EC08-4182-BD71-C69C20514D2F}"/>
              </a:ext>
            </a:extLst>
          </p:cNvPr>
          <p:cNvSpPr txBox="1"/>
          <p:nvPr/>
        </p:nvSpPr>
        <p:spPr>
          <a:xfrm>
            <a:off x="3147223" y="4388937"/>
            <a:ext cx="3317145" cy="326397"/>
          </a:xfrm>
          <a:prstGeom prst="rect">
            <a:avLst/>
          </a:prstGeom>
        </p:spPr>
        <p:txBody>
          <a:bodyPr lIns="0" tIns="0" rIns="0" bIns="0"/>
          <a:lstStyle/>
          <a:p>
            <a:pPr marL="7334">
              <a:defRPr/>
            </a:pPr>
            <a:r>
              <a:rPr lang="en-US" sz="2079" dirty="0" err="1">
                <a:solidFill>
                  <a:srgbClr val="231F20"/>
                </a:solidFill>
                <a:latin typeface="Gill Sans Light"/>
                <a:cs typeface="Gill Sans Light"/>
              </a:rPr>
              <a:t>အကျဥ</a:t>
            </a:r>
            <a:r>
              <a:rPr lang="en-US" sz="2079" dirty="0">
                <a:solidFill>
                  <a:srgbClr val="231F20"/>
                </a:solidFill>
                <a:latin typeface="Gill Sans Light"/>
                <a:cs typeface="Gill Sans Light"/>
              </a:rPr>
              <a:t>◌်</a:t>
            </a:r>
            <a:r>
              <a:rPr lang="en-US" sz="2079" dirty="0" err="1">
                <a:solidFill>
                  <a:srgbClr val="231F20"/>
                </a:solidFill>
                <a:latin typeface="Gill Sans Light"/>
                <a:cs typeface="Gill Sans Light"/>
              </a:rPr>
              <a:t>းချုပ်ခြင်း</a:t>
            </a:r>
            <a:endParaRPr lang="en-US" sz="2079" dirty="0">
              <a:latin typeface="Gill Sans Light"/>
              <a:cs typeface="Gill Sans Light"/>
            </a:endParaRPr>
          </a:p>
        </p:txBody>
      </p:sp>
      <p:sp>
        <p:nvSpPr>
          <p:cNvPr id="83986" name="object 36">
            <a:extLst>
              <a:ext uri="{FF2B5EF4-FFF2-40B4-BE49-F238E27FC236}">
                <a16:creationId xmlns:a16="http://schemas.microsoft.com/office/drawing/2014/main" id="{38340D43-4538-4EB9-9587-6DF54F8BCFDA}"/>
              </a:ext>
            </a:extLst>
          </p:cNvPr>
          <p:cNvSpPr>
            <a:spLocks/>
          </p:cNvSpPr>
          <p:nvPr/>
        </p:nvSpPr>
        <p:spPr bwMode="auto">
          <a:xfrm>
            <a:off x="3006029" y="2853221"/>
            <a:ext cx="3296058" cy="609702"/>
          </a:xfrm>
          <a:custGeom>
            <a:avLst/>
            <a:gdLst>
              <a:gd name="T0" fmla="*/ 0 w 5707799"/>
              <a:gd name="T1" fmla="*/ 1055636 h 1055636"/>
              <a:gd name="T2" fmla="*/ 5707799 w 5707799"/>
              <a:gd name="T3" fmla="*/ 1055636 h 1055636"/>
              <a:gd name="T4" fmla="*/ 5707799 w 5707799"/>
              <a:gd name="T5" fmla="*/ 0 h 1055636"/>
              <a:gd name="T6" fmla="*/ 0 w 5707799"/>
              <a:gd name="T7" fmla="*/ 0 h 1055636"/>
              <a:gd name="T8" fmla="*/ 0 w 5707799"/>
              <a:gd name="T9" fmla="*/ 1055636 h 1055636"/>
            </a:gdLst>
            <a:ahLst/>
            <a:cxnLst>
              <a:cxn ang="0">
                <a:pos x="T0" y="T1"/>
              </a:cxn>
              <a:cxn ang="0">
                <a:pos x="T2" y="T3"/>
              </a:cxn>
              <a:cxn ang="0">
                <a:pos x="T4" y="T5"/>
              </a:cxn>
              <a:cxn ang="0">
                <a:pos x="T6" y="T7"/>
              </a:cxn>
              <a:cxn ang="0">
                <a:pos x="T8" y="T9"/>
              </a:cxn>
            </a:cxnLst>
            <a:rect l="0" t="0" r="r" b="b"/>
            <a:pathLst>
              <a:path w="5707799" h="1055636">
                <a:moveTo>
                  <a:pt x="0" y="1055636"/>
                </a:moveTo>
                <a:lnTo>
                  <a:pt x="5707799" y="1055636"/>
                </a:lnTo>
                <a:lnTo>
                  <a:pt x="570779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3988" name="object 38">
            <a:extLst>
              <a:ext uri="{FF2B5EF4-FFF2-40B4-BE49-F238E27FC236}">
                <a16:creationId xmlns:a16="http://schemas.microsoft.com/office/drawing/2014/main" id="{67E429EB-9D5C-426C-A7F0-D74E58FA9460}"/>
              </a:ext>
            </a:extLst>
          </p:cNvPr>
          <p:cNvSpPr>
            <a:spLocks/>
          </p:cNvSpPr>
          <p:nvPr/>
        </p:nvSpPr>
        <p:spPr bwMode="auto">
          <a:xfrm>
            <a:off x="3006029" y="3554608"/>
            <a:ext cx="3296058" cy="609702"/>
          </a:xfrm>
          <a:custGeom>
            <a:avLst/>
            <a:gdLst>
              <a:gd name="T0" fmla="*/ 0 w 5707799"/>
              <a:gd name="T1" fmla="*/ 1055636 h 1055636"/>
              <a:gd name="T2" fmla="*/ 5707799 w 5707799"/>
              <a:gd name="T3" fmla="*/ 1055636 h 1055636"/>
              <a:gd name="T4" fmla="*/ 5707799 w 5707799"/>
              <a:gd name="T5" fmla="*/ 0 h 1055636"/>
              <a:gd name="T6" fmla="*/ 0 w 5707799"/>
              <a:gd name="T7" fmla="*/ 0 h 1055636"/>
              <a:gd name="T8" fmla="*/ 0 w 5707799"/>
              <a:gd name="T9" fmla="*/ 1055636 h 1055636"/>
            </a:gdLst>
            <a:ahLst/>
            <a:cxnLst>
              <a:cxn ang="0">
                <a:pos x="T0" y="T1"/>
              </a:cxn>
              <a:cxn ang="0">
                <a:pos x="T2" y="T3"/>
              </a:cxn>
              <a:cxn ang="0">
                <a:pos x="T4" y="T5"/>
              </a:cxn>
              <a:cxn ang="0">
                <a:pos x="T6" y="T7"/>
              </a:cxn>
              <a:cxn ang="0">
                <a:pos x="T8" y="T9"/>
              </a:cxn>
            </a:cxnLst>
            <a:rect l="0" t="0" r="r" b="b"/>
            <a:pathLst>
              <a:path w="5707799" h="1055636">
                <a:moveTo>
                  <a:pt x="0" y="1055636"/>
                </a:moveTo>
                <a:lnTo>
                  <a:pt x="5707799" y="1055636"/>
                </a:lnTo>
                <a:lnTo>
                  <a:pt x="570779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9" name="object 39">
            <a:extLst>
              <a:ext uri="{FF2B5EF4-FFF2-40B4-BE49-F238E27FC236}">
                <a16:creationId xmlns:a16="http://schemas.microsoft.com/office/drawing/2014/main" id="{C61F4485-473B-4DED-8DA8-3CAC10F72ABA}"/>
              </a:ext>
            </a:extLst>
          </p:cNvPr>
          <p:cNvSpPr txBox="1"/>
          <p:nvPr/>
        </p:nvSpPr>
        <p:spPr>
          <a:xfrm>
            <a:off x="3147223" y="2985247"/>
            <a:ext cx="2348957" cy="326397"/>
          </a:xfrm>
          <a:prstGeom prst="rect">
            <a:avLst/>
          </a:prstGeom>
        </p:spPr>
        <p:txBody>
          <a:bodyPr lIns="0" tIns="0" rIns="0" bIns="0"/>
          <a:lstStyle/>
          <a:p>
            <a:pPr marL="7334">
              <a:defRPr/>
            </a:pPr>
            <a:r>
              <a:rPr lang="en-US" sz="2079" spc="-43" dirty="0" err="1">
                <a:solidFill>
                  <a:srgbClr val="231F20"/>
                </a:solidFill>
                <a:latin typeface="Gill Sans Light"/>
                <a:cs typeface="Gill Sans Light"/>
              </a:rPr>
              <a:t>ခွန်အားပေးခြင်း</a:t>
            </a:r>
            <a:endParaRPr sz="2079" dirty="0">
              <a:latin typeface="Gill Sans Light"/>
              <a:cs typeface="Gill Sans Light"/>
            </a:endParaRPr>
          </a:p>
        </p:txBody>
      </p:sp>
      <p:sp>
        <p:nvSpPr>
          <p:cNvPr id="41" name="object 41">
            <a:extLst>
              <a:ext uri="{FF2B5EF4-FFF2-40B4-BE49-F238E27FC236}">
                <a16:creationId xmlns:a16="http://schemas.microsoft.com/office/drawing/2014/main" id="{33287E2A-99B2-4531-8B14-8AD79B1BF32D}"/>
              </a:ext>
            </a:extLst>
          </p:cNvPr>
          <p:cNvSpPr txBox="1"/>
          <p:nvPr/>
        </p:nvSpPr>
        <p:spPr>
          <a:xfrm>
            <a:off x="3147223" y="3686634"/>
            <a:ext cx="3154864" cy="326397"/>
          </a:xfrm>
          <a:prstGeom prst="rect">
            <a:avLst/>
          </a:prstGeom>
        </p:spPr>
        <p:txBody>
          <a:bodyPr lIns="0" tIns="0" rIns="0" bIns="0"/>
          <a:lstStyle/>
          <a:p>
            <a:pPr marL="7334">
              <a:defRPr/>
            </a:pPr>
            <a:r>
              <a:rPr lang="en-US" sz="2079" dirty="0" err="1">
                <a:solidFill>
                  <a:srgbClr val="231F20"/>
                </a:solidFill>
                <a:latin typeface="Gill Sans Light"/>
                <a:cs typeface="Gill Sans Light"/>
              </a:rPr>
              <a:t>မေးခွန်းမေးခြင်း</a:t>
            </a:r>
            <a:endParaRPr lang="en-US" sz="2079" dirty="0">
              <a:latin typeface="Gill Sans Light"/>
              <a:cs typeface="Gill Sans Light"/>
            </a:endParaRPr>
          </a:p>
        </p:txBody>
      </p:sp>
      <p:sp>
        <p:nvSpPr>
          <p:cNvPr id="42" name="object 42">
            <a:extLst>
              <a:ext uri="{FF2B5EF4-FFF2-40B4-BE49-F238E27FC236}">
                <a16:creationId xmlns:a16="http://schemas.microsoft.com/office/drawing/2014/main" id="{78D2DADC-F29B-4FE7-AC3A-4B04295E3DDE}"/>
              </a:ext>
            </a:extLst>
          </p:cNvPr>
          <p:cNvSpPr txBox="1"/>
          <p:nvPr/>
        </p:nvSpPr>
        <p:spPr>
          <a:xfrm>
            <a:off x="2505431" y="2192176"/>
            <a:ext cx="217293" cy="3300642"/>
          </a:xfrm>
          <a:prstGeom prst="rect">
            <a:avLst/>
          </a:prstGeom>
        </p:spPr>
        <p:txBody>
          <a:bodyPr lIns="0" tIns="0" rIns="0" bIns="0"/>
          <a:lstStyle/>
          <a:p>
            <a:pPr marL="7334">
              <a:defRPr/>
            </a:pPr>
            <a:r>
              <a:rPr sz="3176" dirty="0">
                <a:solidFill>
                  <a:srgbClr val="ED1C24"/>
                </a:solidFill>
                <a:latin typeface="Gill Sans"/>
                <a:cs typeface="Gill Sans"/>
              </a:rPr>
              <a:t>1</a:t>
            </a:r>
            <a:endParaRPr sz="3176" dirty="0">
              <a:latin typeface="Gill Sans"/>
              <a:cs typeface="Gill Sans"/>
            </a:endParaRPr>
          </a:p>
          <a:p>
            <a:pPr>
              <a:lnSpc>
                <a:spcPts val="549"/>
              </a:lnSpc>
              <a:spcBef>
                <a:spcPts val="12"/>
              </a:spcBef>
              <a:defRPr/>
            </a:pPr>
            <a:endParaRPr sz="549" dirty="0"/>
          </a:p>
          <a:p>
            <a:pPr>
              <a:lnSpc>
                <a:spcPts val="578"/>
              </a:lnSpc>
              <a:defRPr/>
            </a:pPr>
            <a:endParaRPr sz="578" dirty="0"/>
          </a:p>
          <a:p>
            <a:pPr>
              <a:lnSpc>
                <a:spcPts val="578"/>
              </a:lnSpc>
              <a:defRPr/>
            </a:pPr>
            <a:endParaRPr sz="578" dirty="0"/>
          </a:p>
          <a:p>
            <a:pPr marL="7334">
              <a:defRPr/>
            </a:pPr>
            <a:r>
              <a:rPr sz="3176" dirty="0">
                <a:solidFill>
                  <a:srgbClr val="ED1C24"/>
                </a:solidFill>
                <a:latin typeface="Gill Sans"/>
                <a:cs typeface="Gill Sans"/>
              </a:rPr>
              <a:t>2</a:t>
            </a:r>
            <a:endParaRPr sz="3176" dirty="0">
              <a:latin typeface="Gill Sans"/>
              <a:cs typeface="Gill Sans"/>
            </a:endParaRPr>
          </a:p>
          <a:p>
            <a:pPr>
              <a:lnSpc>
                <a:spcPts val="549"/>
              </a:lnSpc>
              <a:spcBef>
                <a:spcPts val="12"/>
              </a:spcBef>
              <a:defRPr/>
            </a:pPr>
            <a:endParaRPr sz="549" dirty="0"/>
          </a:p>
          <a:p>
            <a:pPr>
              <a:lnSpc>
                <a:spcPts val="578"/>
              </a:lnSpc>
              <a:defRPr/>
            </a:pPr>
            <a:endParaRPr sz="578" dirty="0"/>
          </a:p>
          <a:p>
            <a:pPr>
              <a:lnSpc>
                <a:spcPts val="578"/>
              </a:lnSpc>
              <a:defRPr/>
            </a:pPr>
            <a:endParaRPr sz="578" dirty="0"/>
          </a:p>
          <a:p>
            <a:pPr marL="7334">
              <a:defRPr/>
            </a:pPr>
            <a:r>
              <a:rPr sz="3176" dirty="0">
                <a:solidFill>
                  <a:srgbClr val="ED1C24"/>
                </a:solidFill>
                <a:latin typeface="Gill Sans"/>
                <a:cs typeface="Gill Sans"/>
              </a:rPr>
              <a:t>3</a:t>
            </a:r>
            <a:endParaRPr sz="3176" dirty="0">
              <a:latin typeface="Gill Sans"/>
              <a:cs typeface="Gill Sans"/>
            </a:endParaRPr>
          </a:p>
          <a:p>
            <a:pPr>
              <a:lnSpc>
                <a:spcPts val="549"/>
              </a:lnSpc>
              <a:spcBef>
                <a:spcPts val="12"/>
              </a:spcBef>
              <a:defRPr/>
            </a:pPr>
            <a:endParaRPr sz="549" dirty="0"/>
          </a:p>
          <a:p>
            <a:pPr>
              <a:lnSpc>
                <a:spcPts val="578"/>
              </a:lnSpc>
              <a:defRPr/>
            </a:pPr>
            <a:endParaRPr sz="578" dirty="0"/>
          </a:p>
          <a:p>
            <a:pPr>
              <a:lnSpc>
                <a:spcPts val="578"/>
              </a:lnSpc>
              <a:defRPr/>
            </a:pPr>
            <a:endParaRPr sz="578" dirty="0"/>
          </a:p>
          <a:p>
            <a:pPr marL="7334">
              <a:defRPr/>
            </a:pPr>
            <a:r>
              <a:rPr sz="3176" dirty="0">
                <a:solidFill>
                  <a:srgbClr val="ED1C24"/>
                </a:solidFill>
                <a:latin typeface="Gill Sans"/>
                <a:cs typeface="Gill Sans"/>
              </a:rPr>
              <a:t>4</a:t>
            </a:r>
            <a:endParaRPr sz="3176" dirty="0">
              <a:latin typeface="Gill Sans"/>
              <a:cs typeface="Gill Sans"/>
            </a:endParaRPr>
          </a:p>
          <a:p>
            <a:pPr>
              <a:lnSpc>
                <a:spcPts val="549"/>
              </a:lnSpc>
              <a:spcBef>
                <a:spcPts val="12"/>
              </a:spcBef>
              <a:defRPr/>
            </a:pPr>
            <a:endParaRPr sz="549" dirty="0"/>
          </a:p>
          <a:p>
            <a:pPr>
              <a:lnSpc>
                <a:spcPts val="578"/>
              </a:lnSpc>
              <a:defRPr/>
            </a:pPr>
            <a:endParaRPr sz="578" dirty="0"/>
          </a:p>
          <a:p>
            <a:pPr>
              <a:lnSpc>
                <a:spcPts val="578"/>
              </a:lnSpc>
              <a:defRPr/>
            </a:pPr>
            <a:endParaRPr sz="578" dirty="0"/>
          </a:p>
        </p:txBody>
      </p:sp>
      <p:sp>
        <p:nvSpPr>
          <p:cNvPr id="43" name="object 43">
            <a:extLst>
              <a:ext uri="{FF2B5EF4-FFF2-40B4-BE49-F238E27FC236}">
                <a16:creationId xmlns:a16="http://schemas.microsoft.com/office/drawing/2014/main" id="{3D4BC9C2-0B00-4F22-A313-B6F8F1AE48C7}"/>
              </a:ext>
            </a:extLst>
          </p:cNvPr>
          <p:cNvSpPr txBox="1"/>
          <p:nvPr/>
        </p:nvSpPr>
        <p:spPr>
          <a:xfrm>
            <a:off x="534215" y="2326036"/>
            <a:ext cx="1688828" cy="725224"/>
          </a:xfrm>
          <a:prstGeom prst="rect">
            <a:avLst/>
          </a:prstGeom>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a:lnSpc>
                <a:spcPts val="2830"/>
              </a:lnSpc>
            </a:pPr>
            <a:r>
              <a:rPr lang="en-US" altLang="en-US" sz="2772" dirty="0">
                <a:solidFill>
                  <a:srgbClr val="231F20"/>
                </a:solidFill>
                <a:latin typeface="Gill Sans" pitchFamily="34" charset="0"/>
                <a:cs typeface="Gill Sans" pitchFamily="34" charset="0"/>
              </a:rPr>
              <a:t>Four elements</a:t>
            </a:r>
            <a:endParaRPr lang="en-US" altLang="en-US" sz="2772" dirty="0">
              <a:latin typeface="Gill Sans" pitchFamily="34" charset="0"/>
              <a:cs typeface="Gill Sans" pitchFamily="34" charset="0"/>
            </a:endParaRPr>
          </a:p>
        </p:txBody>
      </p:sp>
      <p:sp>
        <p:nvSpPr>
          <p:cNvPr id="83994" name="object 44">
            <a:extLst>
              <a:ext uri="{FF2B5EF4-FFF2-40B4-BE49-F238E27FC236}">
                <a16:creationId xmlns:a16="http://schemas.microsoft.com/office/drawing/2014/main" id="{5F31C174-2104-44B1-81E7-7DB4C3F11826}"/>
              </a:ext>
            </a:extLst>
          </p:cNvPr>
          <p:cNvSpPr>
            <a:spLocks/>
          </p:cNvSpPr>
          <p:nvPr/>
        </p:nvSpPr>
        <p:spPr bwMode="auto">
          <a:xfrm>
            <a:off x="541550" y="3162198"/>
            <a:ext cx="475843" cy="377740"/>
          </a:xfrm>
          <a:custGeom>
            <a:avLst/>
            <a:gdLst>
              <a:gd name="T0" fmla="*/ 96018 w 822604"/>
              <a:gd name="T1" fmla="*/ 0 h 653947"/>
              <a:gd name="T2" fmla="*/ 57569 w 822604"/>
              <a:gd name="T3" fmla="*/ 6762 h 653947"/>
              <a:gd name="T4" fmla="*/ 23791 w 822604"/>
              <a:gd name="T5" fmla="*/ 31803 h 653947"/>
              <a:gd name="T6" fmla="*/ 1689 w 822604"/>
              <a:gd name="T7" fmla="*/ 72959 h 653947"/>
              <a:gd name="T8" fmla="*/ 0 w 822604"/>
              <a:gd name="T9" fmla="*/ 364434 h 653947"/>
              <a:gd name="T10" fmla="*/ 986 w 822604"/>
              <a:gd name="T11" fmla="*/ 378234 h 653947"/>
              <a:gd name="T12" fmla="*/ 16948 w 822604"/>
              <a:gd name="T13" fmla="*/ 413605 h 653947"/>
              <a:gd name="T14" fmla="*/ 57220 w 822604"/>
              <a:gd name="T15" fmla="*/ 445620 h 653947"/>
              <a:gd name="T16" fmla="*/ 476275 w 822604"/>
              <a:gd name="T17" fmla="*/ 453512 h 653947"/>
              <a:gd name="T18" fmla="*/ 426389 w 822604"/>
              <a:gd name="T19" fmla="*/ 506407 h 653947"/>
              <a:gd name="T20" fmla="*/ 403070 w 822604"/>
              <a:gd name="T21" fmla="*/ 541217 h 653947"/>
              <a:gd name="T22" fmla="*/ 402044 w 822604"/>
              <a:gd name="T23" fmla="*/ 581772 h 653947"/>
              <a:gd name="T24" fmla="*/ 427803 w 822604"/>
              <a:gd name="T25" fmla="*/ 623898 h 653947"/>
              <a:gd name="T26" fmla="*/ 469478 w 822604"/>
              <a:gd name="T27" fmla="*/ 650275 h 653947"/>
              <a:gd name="T28" fmla="*/ 494637 w 822604"/>
              <a:gd name="T29" fmla="*/ 653947 h 653947"/>
              <a:gd name="T30" fmla="*/ 506160 w 822604"/>
              <a:gd name="T31" fmla="*/ 652887 h 653947"/>
              <a:gd name="T32" fmla="*/ 552123 w 822604"/>
              <a:gd name="T33" fmla="*/ 627348 h 653947"/>
              <a:gd name="T34" fmla="*/ 638370 w 822604"/>
              <a:gd name="T35" fmla="*/ 546463 h 653947"/>
              <a:gd name="T36" fmla="*/ 675186 w 822604"/>
              <a:gd name="T37" fmla="*/ 511218 h 653947"/>
              <a:gd name="T38" fmla="*/ 711451 w 822604"/>
              <a:gd name="T39" fmla="*/ 475842 h 653947"/>
              <a:gd name="T40" fmla="*/ 822604 w 822604"/>
              <a:gd name="T41" fmla="*/ 364434 h 653947"/>
              <a:gd name="T42" fmla="*/ 733989 w 822604"/>
              <a:gd name="T43" fmla="*/ 275343 h 653947"/>
              <a:gd name="T44" fmla="*/ 185635 w 822604"/>
              <a:gd name="T45" fmla="*/ 275343 h 653947"/>
              <a:gd name="T46" fmla="*/ 185635 w 822604"/>
              <a:gd name="T47" fmla="*/ 94051 h 653947"/>
              <a:gd name="T48" fmla="*/ 178643 w 822604"/>
              <a:gd name="T49" fmla="*/ 55475 h 653947"/>
              <a:gd name="T50" fmla="*/ 152496 w 822604"/>
              <a:gd name="T51" fmla="*/ 22807 h 653947"/>
              <a:gd name="T52" fmla="*/ 109465 w 822604"/>
              <a:gd name="T53" fmla="*/ 1252 h 653947"/>
              <a:gd name="T54" fmla="*/ 96018 w 822604"/>
              <a:gd name="T55" fmla="*/ 0 h 653947"/>
              <a:gd name="T56" fmla="*/ 493102 w 822604"/>
              <a:gd name="T57" fmla="*/ 74899 h 653947"/>
              <a:gd name="T58" fmla="*/ 454268 w 822604"/>
              <a:gd name="T59" fmla="*/ 83468 h 653947"/>
              <a:gd name="T60" fmla="*/ 423685 w 822604"/>
              <a:gd name="T61" fmla="*/ 107223 h 653947"/>
              <a:gd name="T62" fmla="*/ 401796 w 822604"/>
              <a:gd name="T63" fmla="*/ 143331 h 653947"/>
              <a:gd name="T64" fmla="*/ 399534 w 822604"/>
              <a:gd name="T65" fmla="*/ 155112 h 653947"/>
              <a:gd name="T66" fmla="*/ 399785 w 822604"/>
              <a:gd name="T67" fmla="*/ 172261 h 653947"/>
              <a:gd name="T68" fmla="*/ 413469 w 822604"/>
              <a:gd name="T69" fmla="*/ 207985 h 653947"/>
              <a:gd name="T70" fmla="*/ 439657 w 822604"/>
              <a:gd name="T71" fmla="*/ 237120 h 653947"/>
              <a:gd name="T72" fmla="*/ 480923 w 822604"/>
              <a:gd name="T73" fmla="*/ 275343 h 653947"/>
              <a:gd name="T74" fmla="*/ 733989 w 822604"/>
              <a:gd name="T75" fmla="*/ 275343 h 653947"/>
              <a:gd name="T76" fmla="*/ 696974 w 822604"/>
              <a:gd name="T77" fmla="*/ 238809 h 653947"/>
              <a:gd name="T78" fmla="*/ 660488 w 822604"/>
              <a:gd name="T79" fmla="*/ 203486 h 653947"/>
              <a:gd name="T80" fmla="*/ 623450 w 822604"/>
              <a:gd name="T81" fmla="*/ 168294 h 653947"/>
              <a:gd name="T82" fmla="*/ 549376 w 822604"/>
              <a:gd name="T83" fmla="*/ 99397 h 653947"/>
              <a:gd name="T84" fmla="*/ 514720 w 822604"/>
              <a:gd name="T85" fmla="*/ 77421 h 653947"/>
              <a:gd name="T86" fmla="*/ 493102 w 822604"/>
              <a:gd name="T87" fmla="*/ 74899 h 65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2604" h="653947">
                <a:moveTo>
                  <a:pt x="96018" y="0"/>
                </a:moveTo>
                <a:lnTo>
                  <a:pt x="57569" y="6762"/>
                </a:lnTo>
                <a:lnTo>
                  <a:pt x="23791" y="31803"/>
                </a:lnTo>
                <a:lnTo>
                  <a:pt x="1689" y="72959"/>
                </a:lnTo>
                <a:lnTo>
                  <a:pt x="0" y="364434"/>
                </a:lnTo>
                <a:lnTo>
                  <a:pt x="986" y="378234"/>
                </a:lnTo>
                <a:lnTo>
                  <a:pt x="16948" y="413605"/>
                </a:lnTo>
                <a:lnTo>
                  <a:pt x="57220" y="445620"/>
                </a:lnTo>
                <a:lnTo>
                  <a:pt x="476275" y="453512"/>
                </a:lnTo>
                <a:lnTo>
                  <a:pt x="426389" y="506407"/>
                </a:lnTo>
                <a:lnTo>
                  <a:pt x="403070" y="541217"/>
                </a:lnTo>
                <a:lnTo>
                  <a:pt x="402044" y="581772"/>
                </a:lnTo>
                <a:lnTo>
                  <a:pt x="427803" y="623898"/>
                </a:lnTo>
                <a:lnTo>
                  <a:pt x="469478" y="650275"/>
                </a:lnTo>
                <a:lnTo>
                  <a:pt x="494637" y="653947"/>
                </a:lnTo>
                <a:lnTo>
                  <a:pt x="506160" y="652887"/>
                </a:lnTo>
                <a:lnTo>
                  <a:pt x="552123" y="627348"/>
                </a:lnTo>
                <a:lnTo>
                  <a:pt x="638370" y="546463"/>
                </a:lnTo>
                <a:lnTo>
                  <a:pt x="675186" y="511218"/>
                </a:lnTo>
                <a:lnTo>
                  <a:pt x="711451" y="475842"/>
                </a:lnTo>
                <a:lnTo>
                  <a:pt x="822604" y="364434"/>
                </a:lnTo>
                <a:lnTo>
                  <a:pt x="733989" y="275343"/>
                </a:lnTo>
                <a:lnTo>
                  <a:pt x="185635" y="275343"/>
                </a:lnTo>
                <a:lnTo>
                  <a:pt x="185635" y="94051"/>
                </a:lnTo>
                <a:lnTo>
                  <a:pt x="178643" y="55475"/>
                </a:lnTo>
                <a:lnTo>
                  <a:pt x="152496" y="22807"/>
                </a:lnTo>
                <a:lnTo>
                  <a:pt x="109465" y="1252"/>
                </a:lnTo>
                <a:lnTo>
                  <a:pt x="96018" y="0"/>
                </a:lnTo>
                <a:close/>
              </a:path>
              <a:path w="822604" h="653947">
                <a:moveTo>
                  <a:pt x="493102" y="74899"/>
                </a:moveTo>
                <a:lnTo>
                  <a:pt x="454268" y="83468"/>
                </a:lnTo>
                <a:lnTo>
                  <a:pt x="423685" y="107223"/>
                </a:lnTo>
                <a:lnTo>
                  <a:pt x="401796" y="143331"/>
                </a:lnTo>
                <a:lnTo>
                  <a:pt x="399534" y="155112"/>
                </a:lnTo>
                <a:lnTo>
                  <a:pt x="399785" y="172261"/>
                </a:lnTo>
                <a:lnTo>
                  <a:pt x="413469" y="207985"/>
                </a:lnTo>
                <a:lnTo>
                  <a:pt x="439657" y="237120"/>
                </a:lnTo>
                <a:lnTo>
                  <a:pt x="480923" y="275343"/>
                </a:lnTo>
                <a:lnTo>
                  <a:pt x="733989" y="275343"/>
                </a:lnTo>
                <a:lnTo>
                  <a:pt x="696974" y="238809"/>
                </a:lnTo>
                <a:lnTo>
                  <a:pt x="660488" y="203486"/>
                </a:lnTo>
                <a:lnTo>
                  <a:pt x="623450" y="168294"/>
                </a:lnTo>
                <a:lnTo>
                  <a:pt x="549376" y="99397"/>
                </a:lnTo>
                <a:lnTo>
                  <a:pt x="514720" y="77421"/>
                </a:lnTo>
                <a:lnTo>
                  <a:pt x="493102" y="748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45" name="object 45">
            <a:extLst>
              <a:ext uri="{FF2B5EF4-FFF2-40B4-BE49-F238E27FC236}">
                <a16:creationId xmlns:a16="http://schemas.microsoft.com/office/drawing/2014/main" id="{D736AE70-C018-43B1-95AB-EBA1F7E426C9}"/>
              </a:ext>
            </a:extLst>
          </p:cNvPr>
          <p:cNvSpPr txBox="1"/>
          <p:nvPr/>
        </p:nvSpPr>
        <p:spPr>
          <a:xfrm>
            <a:off x="9043328" y="4992806"/>
            <a:ext cx="69313" cy="763548"/>
          </a:xfrm>
          <a:prstGeom prst="rect">
            <a:avLst/>
          </a:prstGeom>
        </p:spPr>
        <p:txBody>
          <a:bodyPr vert="vert270" lIns="0" tIns="0" rIns="0" bIns="0"/>
          <a:lstStyle/>
          <a:p>
            <a:pPr marL="7334">
              <a:defRPr/>
            </a:pPr>
            <a:r>
              <a:rPr sz="404" dirty="0">
                <a:solidFill>
                  <a:srgbClr val="FFFFFF"/>
                </a:solidFill>
                <a:latin typeface="Gill Sans"/>
                <a:cs typeface="Gill Sans"/>
              </a:rPr>
              <a:t>Benedicte </a:t>
            </a:r>
            <a:r>
              <a:rPr sz="404" spc="-20" dirty="0">
                <a:solidFill>
                  <a:srgbClr val="FFFFFF"/>
                </a:solidFill>
                <a:latin typeface="Gill Sans"/>
                <a:cs typeface="Gill Sans"/>
              </a:rPr>
              <a:t>K</a:t>
            </a:r>
            <a:r>
              <a:rPr sz="404" dirty="0">
                <a:solidFill>
                  <a:srgbClr val="FFFFFF"/>
                </a:solidFill>
                <a:latin typeface="Gill Sans"/>
                <a:cs typeface="Gill Sans"/>
              </a:rPr>
              <a:t>urzen/S</a:t>
            </a:r>
            <a:r>
              <a:rPr sz="404" spc="-14" dirty="0">
                <a:solidFill>
                  <a:srgbClr val="FFFFFF"/>
                </a:solidFill>
                <a:latin typeface="Gill Sans"/>
                <a:cs typeface="Gill Sans"/>
              </a:rPr>
              <a:t>a</a:t>
            </a:r>
            <a:r>
              <a:rPr sz="404" spc="-9" dirty="0">
                <a:solidFill>
                  <a:srgbClr val="FFFFFF"/>
                </a:solidFill>
                <a:latin typeface="Gill Sans"/>
                <a:cs typeface="Gill Sans"/>
              </a:rPr>
              <a:t>v</a:t>
            </a:r>
            <a:r>
              <a:rPr sz="404" dirty="0">
                <a:solidFill>
                  <a:srgbClr val="FFFFFF"/>
                </a:solidFill>
                <a:latin typeface="Gill Sans"/>
                <a:cs typeface="Gill Sans"/>
              </a:rPr>
              <a:t>e the Child</a:t>
            </a:r>
            <a:r>
              <a:rPr sz="404" spc="-9" dirty="0">
                <a:solidFill>
                  <a:srgbClr val="FFFFFF"/>
                </a:solidFill>
                <a:latin typeface="Gill Sans"/>
                <a:cs typeface="Gill Sans"/>
              </a:rPr>
              <a:t>r</a:t>
            </a:r>
            <a:r>
              <a:rPr sz="404" dirty="0">
                <a:solidFill>
                  <a:srgbClr val="FFFFFF"/>
                </a:solidFill>
                <a:latin typeface="Gill Sans"/>
                <a:cs typeface="Gill Sans"/>
              </a:rPr>
              <a:t>en</a:t>
            </a:r>
            <a:endParaRPr sz="404">
              <a:latin typeface="Gill Sans"/>
              <a:cs typeface="Gill Sans"/>
            </a:endParaRPr>
          </a:p>
        </p:txBody>
      </p:sp>
      <p:sp>
        <p:nvSpPr>
          <p:cNvPr id="46" name="object 46">
            <a:extLst>
              <a:ext uri="{FF2B5EF4-FFF2-40B4-BE49-F238E27FC236}">
                <a16:creationId xmlns:a16="http://schemas.microsoft.com/office/drawing/2014/main" id="{A6CE1443-028B-4EDF-AAF2-7804EEC5457A}"/>
              </a:ext>
            </a:extLst>
          </p:cNvPr>
          <p:cNvSpPr>
            <a:spLocks noGrp="1"/>
          </p:cNvSpPr>
          <p:nvPr>
            <p:ph type="ftr" sz="quarter" idx="11"/>
          </p:nvPr>
        </p:nvSpPr>
        <p:spPr/>
        <p:txBody>
          <a:bodyPr vert="horz" wrap="square" lIns="0" tIns="0" rIns="0" bIns="0" numCol="1" rtlCol="0" anchor="t" anchorCtr="0" compatLnSpc="1">
            <a:prstTxWarp prst="textNoShape">
              <a:avLst/>
            </a:prstTxWarp>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27" name="object 24">
            <a:extLst>
              <a:ext uri="{FF2B5EF4-FFF2-40B4-BE49-F238E27FC236}">
                <a16:creationId xmlns:a16="http://schemas.microsoft.com/office/drawing/2014/main" id="{F95E56E4-5738-4AC2-91DE-FE79D790577E}"/>
              </a:ext>
            </a:extLst>
          </p:cNvPr>
          <p:cNvSpPr/>
          <p:nvPr/>
        </p:nvSpPr>
        <p:spPr>
          <a:xfrm>
            <a:off x="426170" y="898766"/>
            <a:ext cx="1182446" cy="1264329"/>
          </a:xfrm>
          <a:custGeom>
            <a:avLst/>
            <a:gdLst/>
            <a:ahLst/>
            <a:cxnLst/>
            <a:rect l="l" t="t" r="r" b="b"/>
            <a:pathLst>
              <a:path w="2217597" h="2373960">
                <a:moveTo>
                  <a:pt x="2217597" y="0"/>
                </a:moveTo>
                <a:lnTo>
                  <a:pt x="0" y="0"/>
                </a:lnTo>
                <a:lnTo>
                  <a:pt x="0" y="2373960"/>
                </a:lnTo>
                <a:lnTo>
                  <a:pt x="1784577" y="2373366"/>
                </a:lnTo>
                <a:lnTo>
                  <a:pt x="1852812" y="2371955"/>
                </a:lnTo>
                <a:lnTo>
                  <a:pt x="1913474" y="2369208"/>
                </a:lnTo>
                <a:lnTo>
                  <a:pt x="1967007" y="2364678"/>
                </a:lnTo>
                <a:lnTo>
                  <a:pt x="2013858" y="2357922"/>
                </a:lnTo>
                <a:lnTo>
                  <a:pt x="2054472" y="2348492"/>
                </a:lnTo>
                <a:lnTo>
                  <a:pt x="2118772" y="2319831"/>
                </a:lnTo>
                <a:lnTo>
                  <a:pt x="2163470" y="2275132"/>
                </a:lnTo>
                <a:lnTo>
                  <a:pt x="2192130" y="2210831"/>
                </a:lnTo>
                <a:lnTo>
                  <a:pt x="2201560" y="2170216"/>
                </a:lnTo>
                <a:lnTo>
                  <a:pt x="2208316" y="2123364"/>
                </a:lnTo>
                <a:lnTo>
                  <a:pt x="2212845" y="2069829"/>
                </a:lnTo>
                <a:lnTo>
                  <a:pt x="2215593" y="2009167"/>
                </a:lnTo>
                <a:lnTo>
                  <a:pt x="2217003" y="1940930"/>
                </a:lnTo>
                <a:lnTo>
                  <a:pt x="2217523" y="1864675"/>
                </a:lnTo>
                <a:lnTo>
                  <a:pt x="2217597" y="0"/>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28" name="object 25">
            <a:extLst>
              <a:ext uri="{FF2B5EF4-FFF2-40B4-BE49-F238E27FC236}">
                <a16:creationId xmlns:a16="http://schemas.microsoft.com/office/drawing/2014/main" id="{2F39D491-6E01-4D9C-BBF1-F432C3E56F80}"/>
              </a:ext>
            </a:extLst>
          </p:cNvPr>
          <p:cNvSpPr txBox="1"/>
          <p:nvPr/>
        </p:nvSpPr>
        <p:spPr>
          <a:xfrm>
            <a:off x="410576" y="1553394"/>
            <a:ext cx="1177859" cy="328230"/>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sz="1900" b="1">
                <a:solidFill>
                  <a:srgbClr val="FFFFFF"/>
                </a:solidFill>
                <a:latin typeface="Zawgyi-One" pitchFamily="34" charset="0"/>
                <a:cs typeface="Zawgyi-One" pitchFamily="34" charset="0"/>
              </a:rPr>
              <a:t>နားေထာင္ပါ</a:t>
            </a:r>
            <a:endParaRPr lang="en-US" sz="1900">
              <a:latin typeface="Zawgyi-One" pitchFamily="34" charset="0"/>
              <a:cs typeface="Zawgyi-One" pitchFamily="34" charset="0"/>
            </a:endParaRPr>
          </a:p>
        </p:txBody>
      </p:sp>
      <p:sp>
        <p:nvSpPr>
          <p:cNvPr id="29" name="object 27">
            <a:extLst>
              <a:ext uri="{FF2B5EF4-FFF2-40B4-BE49-F238E27FC236}">
                <a16:creationId xmlns:a16="http://schemas.microsoft.com/office/drawing/2014/main" id="{8FDD4EFF-2199-49F5-BAF7-68D71F0FFF1A}"/>
              </a:ext>
            </a:extLst>
          </p:cNvPr>
          <p:cNvSpPr/>
          <p:nvPr/>
        </p:nvSpPr>
        <p:spPr>
          <a:xfrm>
            <a:off x="814204" y="1030792"/>
            <a:ext cx="313729" cy="483177"/>
          </a:xfrm>
          <a:custGeom>
            <a:avLst/>
            <a:gdLst/>
            <a:ahLst/>
            <a:cxnLst/>
            <a:rect l="l" t="t"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0" name="object 28">
            <a:extLst>
              <a:ext uri="{FF2B5EF4-FFF2-40B4-BE49-F238E27FC236}">
                <a16:creationId xmlns:a16="http://schemas.microsoft.com/office/drawing/2014/main" id="{A0AE1E3C-0837-4415-921D-927D9C908713}"/>
              </a:ext>
            </a:extLst>
          </p:cNvPr>
          <p:cNvSpPr/>
          <p:nvPr/>
        </p:nvSpPr>
        <p:spPr>
          <a:xfrm>
            <a:off x="879334" y="1094971"/>
            <a:ext cx="167873" cy="275053"/>
          </a:xfrm>
          <a:custGeom>
            <a:avLst/>
            <a:gdLst/>
            <a:ahLst/>
            <a:cxnLst/>
            <a:rect l="l" t="t"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1" name="object 29">
            <a:extLst>
              <a:ext uri="{FF2B5EF4-FFF2-40B4-BE49-F238E27FC236}">
                <a16:creationId xmlns:a16="http://schemas.microsoft.com/office/drawing/2014/main" id="{7CF4BF2D-9948-41E2-A2A1-A7D14DA1C098}"/>
              </a:ext>
            </a:extLst>
          </p:cNvPr>
          <p:cNvSpPr/>
          <p:nvPr/>
        </p:nvSpPr>
        <p:spPr>
          <a:xfrm>
            <a:off x="1144445" y="1038127"/>
            <a:ext cx="137600" cy="63262"/>
          </a:xfrm>
          <a:custGeom>
            <a:avLst/>
            <a:gdLst/>
            <a:ahLst/>
            <a:cxnLst/>
            <a:rect l="l" t="t"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2" name="object 30">
            <a:extLst>
              <a:ext uri="{FF2B5EF4-FFF2-40B4-BE49-F238E27FC236}">
                <a16:creationId xmlns:a16="http://schemas.microsoft.com/office/drawing/2014/main" id="{C68F3805-2C26-4987-9615-2529BE425ACC}"/>
              </a:ext>
            </a:extLst>
          </p:cNvPr>
          <p:cNvSpPr/>
          <p:nvPr/>
        </p:nvSpPr>
        <p:spPr>
          <a:xfrm>
            <a:off x="1152700" y="1192156"/>
            <a:ext cx="144022" cy="28422"/>
          </a:xfrm>
          <a:custGeom>
            <a:avLst/>
            <a:gdLst/>
            <a:ahLst/>
            <a:cxnLst/>
            <a:rect l="l" t="t"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3" name="object 31">
            <a:extLst>
              <a:ext uri="{FF2B5EF4-FFF2-40B4-BE49-F238E27FC236}">
                <a16:creationId xmlns:a16="http://schemas.microsoft.com/office/drawing/2014/main" id="{4A59DD49-78AD-438B-B516-5EE05888C5DE}"/>
              </a:ext>
            </a:extLst>
          </p:cNvPr>
          <p:cNvSpPr/>
          <p:nvPr/>
        </p:nvSpPr>
        <p:spPr>
          <a:xfrm>
            <a:off x="1115090" y="1301261"/>
            <a:ext cx="127509" cy="88017"/>
          </a:xfrm>
          <a:custGeom>
            <a:avLst/>
            <a:gdLst/>
            <a:ahLst/>
            <a:cxnLst/>
            <a:rect l="l" t="t"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Tree>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object 2">
            <a:extLst>
              <a:ext uri="{FF2B5EF4-FFF2-40B4-BE49-F238E27FC236}">
                <a16:creationId xmlns:a16="http://schemas.microsoft.com/office/drawing/2014/main" id="{02D52517-BD55-48D4-AD32-3E0EA270EA78}"/>
              </a:ext>
            </a:extLst>
          </p:cNvPr>
          <p:cNvSpPr>
            <a:spLocks/>
          </p:cNvSpPr>
          <p:nvPr/>
        </p:nvSpPr>
        <p:spPr bwMode="auto">
          <a:xfrm>
            <a:off x="2445" y="5795377"/>
            <a:ext cx="9140027" cy="118273"/>
          </a:xfrm>
          <a:custGeom>
            <a:avLst/>
            <a:gdLst>
              <a:gd name="T0" fmla="*/ 0 w 15825596"/>
              <a:gd name="T1" fmla="*/ 0 h 204177"/>
              <a:gd name="T2" fmla="*/ 0 w 15825596"/>
              <a:gd name="T3" fmla="*/ 204787 h 204177"/>
              <a:gd name="T4" fmla="*/ 15825788 w 15825596"/>
              <a:gd name="T5" fmla="*/ 204787 h 204177"/>
              <a:gd name="T6" fmla="*/ 15825788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4995" name="object 3">
            <a:extLst>
              <a:ext uri="{FF2B5EF4-FFF2-40B4-BE49-F238E27FC236}">
                <a16:creationId xmlns:a16="http://schemas.microsoft.com/office/drawing/2014/main" id="{6A3E0B42-D593-474A-B80C-D66988F06722}"/>
              </a:ext>
            </a:extLst>
          </p:cNvPr>
          <p:cNvSpPr>
            <a:spLocks/>
          </p:cNvSpPr>
          <p:nvPr/>
        </p:nvSpPr>
        <p:spPr bwMode="auto">
          <a:xfrm>
            <a:off x="2445" y="5603756"/>
            <a:ext cx="1435779" cy="191621"/>
          </a:xfrm>
          <a:custGeom>
            <a:avLst/>
            <a:gdLst>
              <a:gd name="T0" fmla="*/ 0 w 2486525"/>
              <a:gd name="T1" fmla="*/ 331788 h 332638"/>
              <a:gd name="T2" fmla="*/ 2438511 w 2486525"/>
              <a:gd name="T3" fmla="*/ 331788 h 332638"/>
              <a:gd name="T4" fmla="*/ 2460677 w 2486525"/>
              <a:gd name="T5" fmla="*/ 331468 h 332638"/>
              <a:gd name="T6" fmla="*/ 2486017 w 2486525"/>
              <a:gd name="T7" fmla="*/ 291807 h 332638"/>
              <a:gd name="T8" fmla="*/ 2486025 w 2486525"/>
              <a:gd name="T9" fmla="*/ 47402 h 332638"/>
              <a:gd name="T10" fmla="*/ 2485704 w 2486525"/>
              <a:gd name="T11" fmla="*/ 25287 h 332638"/>
              <a:gd name="T12" fmla="*/ 2445950 w 2486525"/>
              <a:gd name="T13" fmla="*/ 7 h 332638"/>
              <a:gd name="T14" fmla="*/ 0 w 2486525"/>
              <a:gd name="T15" fmla="*/ 0 h 332638"/>
              <a:gd name="T16" fmla="*/ 0 w 2486525"/>
              <a:gd name="T17" fmla="*/ 331788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4996" name="object 5">
            <a:extLst>
              <a:ext uri="{FF2B5EF4-FFF2-40B4-BE49-F238E27FC236}">
                <a16:creationId xmlns:a16="http://schemas.microsoft.com/office/drawing/2014/main" id="{15BD71F6-CA35-4E66-A6C9-7D09BFE4E781}"/>
              </a:ext>
            </a:extLst>
          </p:cNvPr>
          <p:cNvSpPr>
            <a:spLocks/>
          </p:cNvSpPr>
          <p:nvPr/>
        </p:nvSpPr>
        <p:spPr bwMode="auto">
          <a:xfrm>
            <a:off x="8426416" y="264051"/>
            <a:ext cx="716056" cy="358487"/>
          </a:xfrm>
          <a:custGeom>
            <a:avLst/>
            <a:gdLst>
              <a:gd name="T0" fmla="*/ 1239838 w 1240164"/>
              <a:gd name="T1" fmla="*/ 0 h 621360"/>
              <a:gd name="T2" fmla="*/ 104563 w 1240164"/>
              <a:gd name="T3" fmla="*/ 249 h 621360"/>
              <a:gd name="T4" fmla="*/ 53443 w 1240164"/>
              <a:gd name="T5" fmla="*/ 3893 h 621360"/>
              <a:gd name="T6" fmla="*/ 15756 w 1240164"/>
              <a:gd name="T7" fmla="*/ 22707 h 621360"/>
              <a:gd name="T8" fmla="*/ 1922 w 1240164"/>
              <a:gd name="T9" fmla="*/ 68434 h 621360"/>
              <a:gd name="T10" fmla="*/ 0 w 1240164"/>
              <a:gd name="T11" fmla="*/ 127586 h 621360"/>
              <a:gd name="T12" fmla="*/ 2 w 1240164"/>
              <a:gd name="T13" fmla="*/ 493829 h 621360"/>
              <a:gd name="T14" fmla="*/ 813 w 1240164"/>
              <a:gd name="T15" fmla="*/ 535778 h 621360"/>
              <a:gd name="T16" fmla="*/ 6704 w 1240164"/>
              <a:gd name="T17" fmla="*/ 579586 h 621360"/>
              <a:gd name="T18" fmla="*/ 31144 w 1240164"/>
              <a:gd name="T19" fmla="*/ 610163 h 621360"/>
              <a:gd name="T20" fmla="*/ 68459 w 1240164"/>
              <a:gd name="T21" fmla="*/ 618763 h 621360"/>
              <a:gd name="T22" fmla="*/ 1239838 w 1240164"/>
              <a:gd name="T23" fmla="*/ 620713 h 621360"/>
              <a:gd name="T24" fmla="*/ 1239838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4997" name="object 6">
            <a:extLst>
              <a:ext uri="{FF2B5EF4-FFF2-40B4-BE49-F238E27FC236}">
                <a16:creationId xmlns:a16="http://schemas.microsoft.com/office/drawing/2014/main" id="{E8885CA6-46AE-40AA-8CF2-EC6FBE64C0EB}"/>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6</a:t>
            </a:r>
            <a:endParaRPr lang="en-US" altLang="en-US" sz="2021" dirty="0">
              <a:latin typeface="Gill Sans" pitchFamily="34" charset="0"/>
              <a:cs typeface="Gill Sans" pitchFamily="34" charset="0"/>
            </a:endParaRPr>
          </a:p>
        </p:txBody>
      </p:sp>
      <p:sp>
        <p:nvSpPr>
          <p:cNvPr id="25" name="object 25">
            <a:extLst>
              <a:ext uri="{FF2B5EF4-FFF2-40B4-BE49-F238E27FC236}">
                <a16:creationId xmlns:a16="http://schemas.microsoft.com/office/drawing/2014/main" id="{83307037-F06F-4D3F-8F92-47156E85416D}"/>
              </a:ext>
            </a:extLst>
          </p:cNvPr>
          <p:cNvSpPr txBox="1"/>
          <p:nvPr/>
        </p:nvSpPr>
        <p:spPr>
          <a:xfrm>
            <a:off x="721252" y="1499958"/>
            <a:ext cx="922346" cy="355736"/>
          </a:xfrm>
          <a:prstGeom prst="rect">
            <a:avLst/>
          </a:prstGeom>
        </p:spPr>
        <p:txBody>
          <a:bodyPr lIns="0" tIns="0" rIns="0" bIns="0"/>
          <a:lstStyle/>
          <a:p>
            <a:pPr marL="7334">
              <a:defRPr/>
            </a:pPr>
            <a:r>
              <a:rPr sz="2281" b="1" dirty="0">
                <a:solidFill>
                  <a:srgbClr val="FFFFFF"/>
                </a:solidFill>
                <a:latin typeface="Gill Sans"/>
                <a:cs typeface="Gill Sans"/>
              </a:rPr>
              <a:t>Listen</a:t>
            </a:r>
            <a:endParaRPr sz="2281">
              <a:latin typeface="Gill Sans"/>
              <a:cs typeface="Gill Sans"/>
            </a:endParaRPr>
          </a:p>
        </p:txBody>
      </p:sp>
      <p:sp>
        <p:nvSpPr>
          <p:cNvPr id="85000" name="object 26">
            <a:extLst>
              <a:ext uri="{FF2B5EF4-FFF2-40B4-BE49-F238E27FC236}">
                <a16:creationId xmlns:a16="http://schemas.microsoft.com/office/drawing/2014/main" id="{19BF9497-D469-4871-A75F-B94AD6FB20CF}"/>
              </a:ext>
            </a:extLst>
          </p:cNvPr>
          <p:cNvSpPr txBox="1">
            <a:spLocks noChangeArrowheads="1"/>
          </p:cNvSpPr>
          <p:nvPr/>
        </p:nvSpPr>
        <p:spPr bwMode="auto">
          <a:xfrm>
            <a:off x="2054344" y="871920"/>
            <a:ext cx="2605673" cy="1068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465">
                <a:solidFill>
                  <a:srgbClr val="ED1C24"/>
                </a:solidFill>
                <a:latin typeface="Gill Sans Light"/>
                <a:ea typeface="Gill Sans Light"/>
                <a:cs typeface="Gill Sans Light"/>
              </a:rPr>
              <a:t>Active listening...</a:t>
            </a:r>
            <a:endParaRPr lang="en-US" altLang="en-US" sz="3465">
              <a:latin typeface="Gill Sans Light"/>
              <a:ea typeface="Gill Sans Light"/>
              <a:cs typeface="Gill Sans Light"/>
            </a:endParaRPr>
          </a:p>
        </p:txBody>
      </p:sp>
      <p:sp>
        <p:nvSpPr>
          <p:cNvPr id="85001" name="object 27">
            <a:extLst>
              <a:ext uri="{FF2B5EF4-FFF2-40B4-BE49-F238E27FC236}">
                <a16:creationId xmlns:a16="http://schemas.microsoft.com/office/drawing/2014/main" id="{3DB1ABBB-2DB7-4E04-88A2-C390808BDC66}"/>
              </a:ext>
            </a:extLst>
          </p:cNvPr>
          <p:cNvSpPr>
            <a:spLocks/>
          </p:cNvSpPr>
          <p:nvPr/>
        </p:nvSpPr>
        <p:spPr bwMode="auto">
          <a:xfrm>
            <a:off x="961465" y="934265"/>
            <a:ext cx="339233" cy="522602"/>
          </a:xfrm>
          <a:custGeom>
            <a:avLst/>
            <a:gdLst>
              <a:gd name="T0" fmla="*/ 25005 w 588121"/>
              <a:gd name="T1" fmla="*/ 651327 h 904763"/>
              <a:gd name="T2" fmla="*/ 39 w 588121"/>
              <a:gd name="T3" fmla="*/ 737450 h 904763"/>
              <a:gd name="T4" fmla="*/ 226 w 588121"/>
              <a:gd name="T5" fmla="*/ 753814 h 904763"/>
              <a:gd name="T6" fmla="*/ 23425 w 588121"/>
              <a:gd name="T7" fmla="*/ 829816 h 904763"/>
              <a:gd name="T8" fmla="*/ 81038 w 588121"/>
              <a:gd name="T9" fmla="*/ 884201 h 904763"/>
              <a:gd name="T10" fmla="*/ 170121 w 588121"/>
              <a:gd name="T11" fmla="*/ 904875 h 904763"/>
              <a:gd name="T12" fmla="*/ 235328 w 588121"/>
              <a:gd name="T13" fmla="*/ 886120 h 904763"/>
              <a:gd name="T14" fmla="*/ 271554 w 588121"/>
              <a:gd name="T15" fmla="*/ 852387 h 904763"/>
              <a:gd name="T16" fmla="*/ 142250 w 588121"/>
              <a:gd name="T17" fmla="*/ 850755 h 904763"/>
              <a:gd name="T18" fmla="*/ 77366 w 588121"/>
              <a:gd name="T19" fmla="*/ 812109 h 904763"/>
              <a:gd name="T20" fmla="*/ 49426 w 588121"/>
              <a:gd name="T21" fmla="*/ 746762 h 904763"/>
              <a:gd name="T22" fmla="*/ 68732 w 588121"/>
              <a:gd name="T23" fmla="*/ 696390 h 904763"/>
              <a:gd name="T24" fmla="*/ 77275 w 588121"/>
              <a:gd name="T25" fmla="*/ 681684 h 904763"/>
              <a:gd name="T26" fmla="*/ 83735 w 588121"/>
              <a:gd name="T27" fmla="*/ 667411 h 904763"/>
              <a:gd name="T28" fmla="*/ 86229 w 588121"/>
              <a:gd name="T29" fmla="*/ 653207 h 904763"/>
              <a:gd name="T30" fmla="*/ 82877 w 588121"/>
              <a:gd name="T31" fmla="*/ 638706 h 904763"/>
              <a:gd name="T32" fmla="*/ 72229 w 588121"/>
              <a:gd name="T33" fmla="*/ 626298 h 904763"/>
              <a:gd name="T34" fmla="*/ 58839 w 588121"/>
              <a:gd name="T35" fmla="*/ 623637 h 904763"/>
              <a:gd name="T36" fmla="*/ 311488 w 588121"/>
              <a:gd name="T37" fmla="*/ 70006 h 904763"/>
              <a:gd name="T38" fmla="*/ 355488 w 588121"/>
              <a:gd name="T39" fmla="*/ 74531 h 904763"/>
              <a:gd name="T40" fmla="*/ 442253 w 588121"/>
              <a:gd name="T41" fmla="*/ 113634 h 904763"/>
              <a:gd name="T42" fmla="*/ 503565 w 588121"/>
              <a:gd name="T43" fmla="*/ 200208 h 904763"/>
              <a:gd name="T44" fmla="*/ 520016 w 588121"/>
              <a:gd name="T45" fmla="*/ 292318 h 904763"/>
              <a:gd name="T46" fmla="*/ 511753 w 588121"/>
              <a:gd name="T47" fmla="*/ 361545 h 904763"/>
              <a:gd name="T48" fmla="*/ 470648 w 588121"/>
              <a:gd name="T49" fmla="*/ 457437 h 904763"/>
              <a:gd name="T50" fmla="*/ 409579 w 588121"/>
              <a:gd name="T51" fmla="*/ 545310 h 904763"/>
              <a:gd name="T52" fmla="*/ 330558 w 588121"/>
              <a:gd name="T53" fmla="*/ 637750 h 904763"/>
              <a:gd name="T54" fmla="*/ 285506 w 588121"/>
              <a:gd name="T55" fmla="*/ 692877 h 904763"/>
              <a:gd name="T56" fmla="*/ 261462 w 588121"/>
              <a:gd name="T57" fmla="*/ 759928 h 904763"/>
              <a:gd name="T58" fmla="*/ 217563 w 588121"/>
              <a:gd name="T59" fmla="*/ 832635 h 904763"/>
              <a:gd name="T60" fmla="*/ 155937 w 588121"/>
              <a:gd name="T61" fmla="*/ 852387 h 904763"/>
              <a:gd name="T62" fmla="*/ 291885 w 588121"/>
              <a:gd name="T63" fmla="*/ 818597 h 904763"/>
              <a:gd name="T64" fmla="*/ 320329 w 588121"/>
              <a:gd name="T65" fmla="*/ 725003 h 904763"/>
              <a:gd name="T66" fmla="*/ 345498 w 588121"/>
              <a:gd name="T67" fmla="*/ 680613 h 904763"/>
              <a:gd name="T68" fmla="*/ 419491 w 588121"/>
              <a:gd name="T69" fmla="*/ 605201 h 904763"/>
              <a:gd name="T70" fmla="*/ 463659 w 588121"/>
              <a:gd name="T71" fmla="*/ 560339 h 904763"/>
              <a:gd name="T72" fmla="*/ 519257 w 588121"/>
              <a:gd name="T73" fmla="*/ 494916 h 904763"/>
              <a:gd name="T74" fmla="*/ 562399 w 588121"/>
              <a:gd name="T75" fmla="*/ 420605 h 904763"/>
              <a:gd name="T76" fmla="*/ 586250 w 588121"/>
              <a:gd name="T77" fmla="*/ 315705 h 904763"/>
              <a:gd name="T78" fmla="*/ 586355 w 588121"/>
              <a:gd name="T79" fmla="*/ 257937 h 904763"/>
              <a:gd name="T80" fmla="*/ 557528 w 588121"/>
              <a:gd name="T81" fmla="*/ 144977 h 904763"/>
              <a:gd name="T82" fmla="*/ 506257 w 588121"/>
              <a:gd name="T83" fmla="*/ 72918 h 904763"/>
              <a:gd name="T84" fmla="*/ 311695 w 588121"/>
              <a:gd name="T85" fmla="*/ 0 h 904763"/>
              <a:gd name="T86" fmla="*/ 219357 w 588121"/>
              <a:gd name="T87" fmla="*/ 12372 h 904763"/>
              <a:gd name="T88" fmla="*/ 137577 w 588121"/>
              <a:gd name="T89" fmla="*/ 59030 h 904763"/>
              <a:gd name="T90" fmla="*/ 82563 w 588121"/>
              <a:gd name="T91" fmla="*/ 125516 h 904763"/>
              <a:gd name="T92" fmla="*/ 48001 w 588121"/>
              <a:gd name="T93" fmla="*/ 208478 h 904763"/>
              <a:gd name="T94" fmla="*/ 40740 w 588121"/>
              <a:gd name="T95" fmla="*/ 270975 h 904763"/>
              <a:gd name="T96" fmla="*/ 44255 w 588121"/>
              <a:gd name="T97" fmla="*/ 328816 h 904763"/>
              <a:gd name="T98" fmla="*/ 74805 w 588121"/>
              <a:gd name="T99" fmla="*/ 388526 h 904763"/>
              <a:gd name="T100" fmla="*/ 91959 w 588121"/>
              <a:gd name="T101" fmla="*/ 336368 h 904763"/>
              <a:gd name="T102" fmla="*/ 90702 w 588121"/>
              <a:gd name="T103" fmla="*/ 305459 h 904763"/>
              <a:gd name="T104" fmla="*/ 102533 w 588121"/>
              <a:gd name="T105" fmla="*/ 214485 h 904763"/>
              <a:gd name="T106" fmla="*/ 142459 w 588121"/>
              <a:gd name="T107" fmla="*/ 138024 h 904763"/>
              <a:gd name="T108" fmla="*/ 225318 w 588121"/>
              <a:gd name="T109" fmla="*/ 81897 h 904763"/>
              <a:gd name="T110" fmla="*/ 311488 w 588121"/>
              <a:gd name="T111" fmla="*/ 70006 h 904763"/>
              <a:gd name="T112" fmla="*/ 482799 w 588121"/>
              <a:gd name="T113" fmla="*/ 53071 h 904763"/>
              <a:gd name="T114" fmla="*/ 425526 w 588121"/>
              <a:gd name="T115" fmla="*/ 21619 h 904763"/>
              <a:gd name="T116" fmla="*/ 353541 w 588121"/>
              <a:gd name="T117" fmla="*/ 3357 h 9047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5002" name="object 28">
            <a:extLst>
              <a:ext uri="{FF2B5EF4-FFF2-40B4-BE49-F238E27FC236}">
                <a16:creationId xmlns:a16="http://schemas.microsoft.com/office/drawing/2014/main" id="{48952946-2CE9-493F-B2D7-4AD275CEB363}"/>
              </a:ext>
            </a:extLst>
          </p:cNvPr>
          <p:cNvSpPr>
            <a:spLocks/>
          </p:cNvSpPr>
          <p:nvPr/>
        </p:nvSpPr>
        <p:spPr bwMode="auto">
          <a:xfrm>
            <a:off x="1032062" y="1003946"/>
            <a:ext cx="182452" cy="297974"/>
          </a:xfrm>
          <a:custGeom>
            <a:avLst/>
            <a:gdLst>
              <a:gd name="T0" fmla="*/ 115929 w 316928"/>
              <a:gd name="T1" fmla="*/ 6553 h 516362"/>
              <a:gd name="T2" fmla="*/ 40520 w 316928"/>
              <a:gd name="T3" fmla="*/ 59243 h 516362"/>
              <a:gd name="T4" fmla="*/ 5717 w 316928"/>
              <a:gd name="T5" fmla="*/ 153259 h 516362"/>
              <a:gd name="T6" fmla="*/ 6828 w 316928"/>
              <a:gd name="T7" fmla="*/ 183259 h 516362"/>
              <a:gd name="T8" fmla="*/ 50221 w 316928"/>
              <a:gd name="T9" fmla="*/ 256549 h 516362"/>
              <a:gd name="T10" fmla="*/ 75157 w 316928"/>
              <a:gd name="T11" fmla="*/ 301415 h 516362"/>
              <a:gd name="T12" fmla="*/ 56323 w 316928"/>
              <a:gd name="T13" fmla="*/ 354658 h 516362"/>
              <a:gd name="T14" fmla="*/ 21676 w 316928"/>
              <a:gd name="T15" fmla="*/ 396469 h 516362"/>
              <a:gd name="T16" fmla="*/ 0 w 316928"/>
              <a:gd name="T17" fmla="*/ 457291 h 516362"/>
              <a:gd name="T18" fmla="*/ 23827 w 316928"/>
              <a:gd name="T19" fmla="*/ 505510 h 516362"/>
              <a:gd name="T20" fmla="*/ 66641 w 316928"/>
              <a:gd name="T21" fmla="*/ 515723 h 516362"/>
              <a:gd name="T22" fmla="*/ 134585 w 316928"/>
              <a:gd name="T23" fmla="*/ 471848 h 516362"/>
              <a:gd name="T24" fmla="*/ 172838 w 316928"/>
              <a:gd name="T25" fmla="*/ 391629 h 516362"/>
              <a:gd name="T26" fmla="*/ 180853 w 316928"/>
              <a:gd name="T27" fmla="*/ 329128 h 516362"/>
              <a:gd name="T28" fmla="*/ 164295 w 316928"/>
              <a:gd name="T29" fmla="*/ 280125 h 516362"/>
              <a:gd name="T30" fmla="*/ 113440 w 316928"/>
              <a:gd name="T31" fmla="*/ 221128 h 516362"/>
              <a:gd name="T32" fmla="*/ 76998 w 316928"/>
              <a:gd name="T33" fmla="*/ 175089 h 516362"/>
              <a:gd name="T34" fmla="*/ 72118 w 316928"/>
              <a:gd name="T35" fmla="*/ 130587 h 516362"/>
              <a:gd name="T36" fmla="*/ 123112 w 316928"/>
              <a:gd name="T37" fmla="*/ 62090 h 516362"/>
              <a:gd name="T38" fmla="*/ 269655 w 316928"/>
              <a:gd name="T39" fmla="*/ 43391 h 516362"/>
              <a:gd name="T40" fmla="*/ 178394 w 316928"/>
              <a:gd name="T41" fmla="*/ 1159 h 516362"/>
              <a:gd name="T42" fmla="*/ 278822 w 316928"/>
              <a:gd name="T43" fmla="*/ 52391 h 516362"/>
              <a:gd name="T44" fmla="*/ 185086 w 316928"/>
              <a:gd name="T45" fmla="*/ 53963 h 516362"/>
              <a:gd name="T46" fmla="*/ 235237 w 316928"/>
              <a:gd name="T47" fmla="*/ 83137 h 516362"/>
              <a:gd name="T48" fmla="*/ 271671 w 316928"/>
              <a:gd name="T49" fmla="*/ 169104 h 516362"/>
              <a:gd name="T50" fmla="*/ 270716 w 316928"/>
              <a:gd name="T51" fmla="*/ 196345 h 516362"/>
              <a:gd name="T52" fmla="*/ 240989 w 316928"/>
              <a:gd name="T53" fmla="*/ 270980 h 516362"/>
              <a:gd name="T54" fmla="*/ 232845 w 316928"/>
              <a:gd name="T55" fmla="*/ 290907 h 516362"/>
              <a:gd name="T56" fmla="*/ 235673 w 316928"/>
              <a:gd name="T57" fmla="*/ 305118 h 516362"/>
              <a:gd name="T58" fmla="*/ 247175 w 316928"/>
              <a:gd name="T59" fmla="*/ 309735 h 516362"/>
              <a:gd name="T60" fmla="*/ 283153 w 316928"/>
              <a:gd name="T61" fmla="*/ 276684 h 516362"/>
              <a:gd name="T62" fmla="*/ 312899 w 316928"/>
              <a:gd name="T63" fmla="*/ 193829 h 516362"/>
              <a:gd name="T64" fmla="*/ 315440 w 316928"/>
              <a:gd name="T65" fmla="*/ 140796 h 516362"/>
              <a:gd name="T66" fmla="*/ 286994 w 316928"/>
              <a:gd name="T67" fmla="*/ 61992 h 5163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5003" name="object 29">
            <a:extLst>
              <a:ext uri="{FF2B5EF4-FFF2-40B4-BE49-F238E27FC236}">
                <a16:creationId xmlns:a16="http://schemas.microsoft.com/office/drawing/2014/main" id="{23E2FBC0-50ED-4FC1-84B8-0B3D710E3270}"/>
              </a:ext>
            </a:extLst>
          </p:cNvPr>
          <p:cNvSpPr>
            <a:spLocks/>
          </p:cNvSpPr>
          <p:nvPr/>
        </p:nvSpPr>
        <p:spPr bwMode="auto">
          <a:xfrm>
            <a:off x="1319952" y="940683"/>
            <a:ext cx="148529" cy="67847"/>
          </a:xfrm>
          <a:custGeom>
            <a:avLst/>
            <a:gdLst>
              <a:gd name="T0" fmla="*/ 242029 w 257462"/>
              <a:gd name="T1" fmla="*/ 0 h 117510"/>
              <a:gd name="T2" fmla="*/ 229667 w 257462"/>
              <a:gd name="T3" fmla="*/ 606 h 117510"/>
              <a:gd name="T4" fmla="*/ 5258 w 257462"/>
              <a:gd name="T5" fmla="*/ 79665 h 117510"/>
              <a:gd name="T6" fmla="*/ 0 w 257462"/>
              <a:gd name="T7" fmla="*/ 90347 h 117510"/>
              <a:gd name="T8" fmla="*/ 949 w 257462"/>
              <a:gd name="T9" fmla="*/ 103130 h 117510"/>
              <a:gd name="T10" fmla="*/ 9360 w 257462"/>
              <a:gd name="T11" fmla="*/ 113615 h 117510"/>
              <a:gd name="T12" fmla="*/ 21974 w 257462"/>
              <a:gd name="T13" fmla="*/ 117475 h 117510"/>
              <a:gd name="T14" fmla="*/ 24385 w 257462"/>
              <a:gd name="T15" fmla="*/ 117475 h 117510"/>
              <a:gd name="T16" fmla="*/ 26820 w 257462"/>
              <a:gd name="T17" fmla="*/ 117081 h 117510"/>
              <a:gd name="T18" fmla="*/ 250170 w 257462"/>
              <a:gd name="T19" fmla="*/ 40269 h 117510"/>
              <a:gd name="T20" fmla="*/ 255943 w 257462"/>
              <a:gd name="T21" fmla="*/ 32450 h 117510"/>
              <a:gd name="T22" fmla="*/ 257175 w 257462"/>
              <a:gd name="T23" fmla="*/ 20912 h 117510"/>
              <a:gd name="T24" fmla="*/ 252608 w 257462"/>
              <a:gd name="T25" fmla="*/ 5753 h 117510"/>
              <a:gd name="T26" fmla="*/ 242029 w 257462"/>
              <a:gd name="T27" fmla="*/ 0 h 1175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5004" name="object 30">
            <a:extLst>
              <a:ext uri="{FF2B5EF4-FFF2-40B4-BE49-F238E27FC236}">
                <a16:creationId xmlns:a16="http://schemas.microsoft.com/office/drawing/2014/main" id="{434A8233-8293-41CD-ADC1-7615C6E6F058}"/>
              </a:ext>
            </a:extLst>
          </p:cNvPr>
          <p:cNvSpPr>
            <a:spLocks/>
          </p:cNvSpPr>
          <p:nvPr/>
        </p:nvSpPr>
        <p:spPr bwMode="auto">
          <a:xfrm>
            <a:off x="1329120" y="1107549"/>
            <a:ext cx="155864" cy="32090"/>
          </a:xfrm>
          <a:custGeom>
            <a:avLst/>
            <a:gdLst>
              <a:gd name="T0" fmla="*/ 21677 w 269961"/>
              <a:gd name="T1" fmla="*/ 0 h 55455"/>
              <a:gd name="T2" fmla="*/ 10601 w 269961"/>
              <a:gd name="T3" fmla="*/ 3131 h 55455"/>
              <a:gd name="T4" fmla="*/ 2723 w 269961"/>
              <a:gd name="T5" fmla="*/ 13022 h 55455"/>
              <a:gd name="T6" fmla="*/ 0 w 269961"/>
              <a:gd name="T7" fmla="*/ 29707 h 55455"/>
              <a:gd name="T8" fmla="*/ 7684 w 269961"/>
              <a:gd name="T9" fmla="*/ 40618 h 55455"/>
              <a:gd name="T10" fmla="*/ 20493 w 269961"/>
              <a:gd name="T11" fmla="*/ 45320 h 55455"/>
              <a:gd name="T12" fmla="*/ 247358 w 269961"/>
              <a:gd name="T13" fmla="*/ 55538 h 55455"/>
              <a:gd name="T14" fmla="*/ 248386 w 269961"/>
              <a:gd name="T15" fmla="*/ 55563 h 55455"/>
              <a:gd name="T16" fmla="*/ 258980 w 269961"/>
              <a:gd name="T17" fmla="*/ 52637 h 55455"/>
              <a:gd name="T18" fmla="*/ 267090 w 269961"/>
              <a:gd name="T19" fmla="*/ 42837 h 55455"/>
              <a:gd name="T20" fmla="*/ 269875 w 269961"/>
              <a:gd name="T21" fmla="*/ 25857 h 55455"/>
              <a:gd name="T22" fmla="*/ 262196 w 269961"/>
              <a:gd name="T23" fmla="*/ 14951 h 55455"/>
              <a:gd name="T24" fmla="*/ 249390 w 269961"/>
              <a:gd name="T25" fmla="*/ 10251 h 55455"/>
              <a:gd name="T26" fmla="*/ 21677 w 269961"/>
              <a:gd name="T27" fmla="*/ 0 h 554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5005" name="object 31">
            <a:extLst>
              <a:ext uri="{FF2B5EF4-FFF2-40B4-BE49-F238E27FC236}">
                <a16:creationId xmlns:a16="http://schemas.microsoft.com/office/drawing/2014/main" id="{84E1431A-E597-418E-BA8B-BB7FAAA9E5B8}"/>
              </a:ext>
            </a:extLst>
          </p:cNvPr>
          <p:cNvSpPr>
            <a:spLocks/>
          </p:cNvSpPr>
          <p:nvPr/>
        </p:nvSpPr>
        <p:spPr bwMode="auto">
          <a:xfrm>
            <a:off x="1287862" y="1227656"/>
            <a:ext cx="137527" cy="94435"/>
          </a:xfrm>
          <a:custGeom>
            <a:avLst/>
            <a:gdLst>
              <a:gd name="T0" fmla="*/ 28516 w 237860"/>
              <a:gd name="T1" fmla="*/ 0 h 164749"/>
              <a:gd name="T2" fmla="*/ 18734 w 237860"/>
              <a:gd name="T3" fmla="*/ 451 h 164749"/>
              <a:gd name="T4" fmla="*/ 8932 w 237860"/>
              <a:gd name="T5" fmla="*/ 6931 h 164749"/>
              <a:gd name="T6" fmla="*/ 0 w 237860"/>
              <a:gd name="T7" fmla="*/ 20443 h 164749"/>
              <a:gd name="T8" fmla="*/ 2451 w 237860"/>
              <a:gd name="T9" fmla="*/ 31825 h 164749"/>
              <a:gd name="T10" fmla="*/ 10632 w 237860"/>
              <a:gd name="T11" fmla="*/ 40654 h 164749"/>
              <a:gd name="T12" fmla="*/ 207231 w 237860"/>
              <a:gd name="T13" fmla="*/ 162415 h 164749"/>
              <a:gd name="T14" fmla="*/ 211388 w 237860"/>
              <a:gd name="T15" fmla="*/ 163512 h 164749"/>
              <a:gd name="T16" fmla="*/ 215482 w 237860"/>
              <a:gd name="T17" fmla="*/ 163512 h 164749"/>
              <a:gd name="T18" fmla="*/ 219662 w 237860"/>
              <a:gd name="T19" fmla="*/ 163064 h 164749"/>
              <a:gd name="T20" fmla="*/ 228834 w 237860"/>
              <a:gd name="T21" fmla="*/ 157482 h 164749"/>
              <a:gd name="T22" fmla="*/ 238125 w 237860"/>
              <a:gd name="T23" fmla="*/ 142225 h 164749"/>
              <a:gd name="T24" fmla="*/ 235676 w 237860"/>
              <a:gd name="T25" fmla="*/ 130845 h 164749"/>
              <a:gd name="T26" fmla="*/ 227497 w 237860"/>
              <a:gd name="T27" fmla="*/ 122018 h 164749"/>
              <a:gd name="T28" fmla="*/ 28516 w 237860"/>
              <a:gd name="T29" fmla="*/ 0 h 1647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5006" name="object 32">
            <a:extLst>
              <a:ext uri="{FF2B5EF4-FFF2-40B4-BE49-F238E27FC236}">
                <a16:creationId xmlns:a16="http://schemas.microsoft.com/office/drawing/2014/main" id="{ED792EEB-499F-442B-A24E-AA3B07613BB3}"/>
              </a:ext>
            </a:extLst>
          </p:cNvPr>
          <p:cNvSpPr txBox="1">
            <a:spLocks noChangeArrowheads="1"/>
          </p:cNvSpPr>
          <p:nvPr/>
        </p:nvSpPr>
        <p:spPr bwMode="auto">
          <a:xfrm>
            <a:off x="186221" y="2454395"/>
            <a:ext cx="2056585" cy="725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marL="7334">
              <a:defRPr/>
            </a:pPr>
            <a:r>
              <a:rPr lang="my-MM" sz="2800" dirty="0">
                <a:solidFill>
                  <a:srgbClr val="231F20"/>
                </a:solidFill>
                <a:latin typeface="Gill Sans Light"/>
                <a:cs typeface="Gill Sans Light"/>
              </a:rPr>
              <a:t>အာရုံစိုက်ခြင်း</a:t>
            </a:r>
            <a:endParaRPr lang="my-MM" sz="2800" dirty="0">
              <a:latin typeface="Gill Sans Light"/>
              <a:cs typeface="Gill Sans Light"/>
            </a:endParaRPr>
          </a:p>
        </p:txBody>
      </p:sp>
      <p:sp>
        <p:nvSpPr>
          <p:cNvPr id="85007" name="object 33">
            <a:extLst>
              <a:ext uri="{FF2B5EF4-FFF2-40B4-BE49-F238E27FC236}">
                <a16:creationId xmlns:a16="http://schemas.microsoft.com/office/drawing/2014/main" id="{8F7D1CA5-2C76-4E77-89C1-021FA3810720}"/>
              </a:ext>
            </a:extLst>
          </p:cNvPr>
          <p:cNvSpPr>
            <a:spLocks/>
          </p:cNvSpPr>
          <p:nvPr/>
        </p:nvSpPr>
        <p:spPr bwMode="auto">
          <a:xfrm>
            <a:off x="541550" y="3162198"/>
            <a:ext cx="475843" cy="377740"/>
          </a:xfrm>
          <a:custGeom>
            <a:avLst/>
            <a:gdLst>
              <a:gd name="T0" fmla="*/ 96171 w 822604"/>
              <a:gd name="T1" fmla="*/ 0 h 653947"/>
              <a:gd name="T2" fmla="*/ 57661 w 822604"/>
              <a:gd name="T3" fmla="*/ 6763 h 653947"/>
              <a:gd name="T4" fmla="*/ 23829 w 822604"/>
              <a:gd name="T5" fmla="*/ 31808 h 653947"/>
              <a:gd name="T6" fmla="*/ 1692 w 822604"/>
              <a:gd name="T7" fmla="*/ 72970 h 653947"/>
              <a:gd name="T8" fmla="*/ 0 w 822604"/>
              <a:gd name="T9" fmla="*/ 364491 h 653947"/>
              <a:gd name="T10" fmla="*/ 988 w 822604"/>
              <a:gd name="T11" fmla="*/ 378294 h 653947"/>
              <a:gd name="T12" fmla="*/ 16975 w 822604"/>
              <a:gd name="T13" fmla="*/ 413670 h 653947"/>
              <a:gd name="T14" fmla="*/ 57311 w 822604"/>
              <a:gd name="T15" fmla="*/ 445690 h 653947"/>
              <a:gd name="T16" fmla="*/ 477033 w 822604"/>
              <a:gd name="T17" fmla="*/ 453583 h 653947"/>
              <a:gd name="T18" fmla="*/ 427068 w 822604"/>
              <a:gd name="T19" fmla="*/ 506487 h 653947"/>
              <a:gd name="T20" fmla="*/ 403711 w 822604"/>
              <a:gd name="T21" fmla="*/ 541302 h 653947"/>
              <a:gd name="T22" fmla="*/ 402684 w 822604"/>
              <a:gd name="T23" fmla="*/ 581864 h 653947"/>
              <a:gd name="T24" fmla="*/ 428484 w 822604"/>
              <a:gd name="T25" fmla="*/ 623996 h 653947"/>
              <a:gd name="T26" fmla="*/ 470225 w 822604"/>
              <a:gd name="T27" fmla="*/ 650377 h 653947"/>
              <a:gd name="T28" fmla="*/ 495424 w 822604"/>
              <a:gd name="T29" fmla="*/ 654050 h 653947"/>
              <a:gd name="T30" fmla="*/ 506965 w 822604"/>
              <a:gd name="T31" fmla="*/ 652990 h 653947"/>
              <a:gd name="T32" fmla="*/ 553002 w 822604"/>
              <a:gd name="T33" fmla="*/ 627447 h 653947"/>
              <a:gd name="T34" fmla="*/ 639386 w 822604"/>
              <a:gd name="T35" fmla="*/ 546549 h 653947"/>
              <a:gd name="T36" fmla="*/ 676260 w 822604"/>
              <a:gd name="T37" fmla="*/ 511299 h 653947"/>
              <a:gd name="T38" fmla="*/ 712583 w 822604"/>
              <a:gd name="T39" fmla="*/ 475917 h 653947"/>
              <a:gd name="T40" fmla="*/ 823913 w 822604"/>
              <a:gd name="T41" fmla="*/ 364491 h 653947"/>
              <a:gd name="T42" fmla="*/ 735157 w 822604"/>
              <a:gd name="T43" fmla="*/ 275386 h 653947"/>
              <a:gd name="T44" fmla="*/ 185930 w 822604"/>
              <a:gd name="T45" fmla="*/ 275386 h 653947"/>
              <a:gd name="T46" fmla="*/ 185930 w 822604"/>
              <a:gd name="T47" fmla="*/ 94066 h 653947"/>
              <a:gd name="T48" fmla="*/ 178927 w 822604"/>
              <a:gd name="T49" fmla="*/ 55484 h 653947"/>
              <a:gd name="T50" fmla="*/ 152739 w 822604"/>
              <a:gd name="T51" fmla="*/ 22811 h 653947"/>
              <a:gd name="T52" fmla="*/ 109639 w 822604"/>
              <a:gd name="T53" fmla="*/ 1252 h 653947"/>
              <a:gd name="T54" fmla="*/ 96171 w 822604"/>
              <a:gd name="T55" fmla="*/ 0 h 653947"/>
              <a:gd name="T56" fmla="*/ 493887 w 822604"/>
              <a:gd name="T57" fmla="*/ 74911 h 653947"/>
              <a:gd name="T58" fmla="*/ 454991 w 822604"/>
              <a:gd name="T59" fmla="*/ 83481 h 653947"/>
              <a:gd name="T60" fmla="*/ 424359 w 822604"/>
              <a:gd name="T61" fmla="*/ 107240 h 653947"/>
              <a:gd name="T62" fmla="*/ 402435 w 822604"/>
              <a:gd name="T63" fmla="*/ 143354 h 653947"/>
              <a:gd name="T64" fmla="*/ 400170 w 822604"/>
              <a:gd name="T65" fmla="*/ 155136 h 653947"/>
              <a:gd name="T66" fmla="*/ 400421 w 822604"/>
              <a:gd name="T67" fmla="*/ 172288 h 653947"/>
              <a:gd name="T68" fmla="*/ 414127 w 822604"/>
              <a:gd name="T69" fmla="*/ 208018 h 653947"/>
              <a:gd name="T70" fmla="*/ 440357 w 822604"/>
              <a:gd name="T71" fmla="*/ 237157 h 653947"/>
              <a:gd name="T72" fmla="*/ 481688 w 822604"/>
              <a:gd name="T73" fmla="*/ 275386 h 653947"/>
              <a:gd name="T74" fmla="*/ 735157 w 822604"/>
              <a:gd name="T75" fmla="*/ 275386 h 653947"/>
              <a:gd name="T76" fmla="*/ 698083 w 822604"/>
              <a:gd name="T77" fmla="*/ 238847 h 653947"/>
              <a:gd name="T78" fmla="*/ 661539 w 822604"/>
              <a:gd name="T79" fmla="*/ 203518 h 653947"/>
              <a:gd name="T80" fmla="*/ 624442 w 822604"/>
              <a:gd name="T81" fmla="*/ 168321 h 653947"/>
              <a:gd name="T82" fmla="*/ 550250 w 822604"/>
              <a:gd name="T83" fmla="*/ 99413 h 653947"/>
              <a:gd name="T84" fmla="*/ 515539 w 822604"/>
              <a:gd name="T85" fmla="*/ 77433 h 653947"/>
              <a:gd name="T86" fmla="*/ 493887 w 822604"/>
              <a:gd name="T87" fmla="*/ 74911 h 65394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822604" h="653947">
                <a:moveTo>
                  <a:pt x="96018" y="0"/>
                </a:moveTo>
                <a:lnTo>
                  <a:pt x="57569" y="6762"/>
                </a:lnTo>
                <a:lnTo>
                  <a:pt x="23791" y="31803"/>
                </a:lnTo>
                <a:lnTo>
                  <a:pt x="1689" y="72959"/>
                </a:lnTo>
                <a:lnTo>
                  <a:pt x="0" y="364434"/>
                </a:lnTo>
                <a:lnTo>
                  <a:pt x="986" y="378234"/>
                </a:lnTo>
                <a:lnTo>
                  <a:pt x="16948" y="413605"/>
                </a:lnTo>
                <a:lnTo>
                  <a:pt x="57220" y="445620"/>
                </a:lnTo>
                <a:lnTo>
                  <a:pt x="476275" y="453512"/>
                </a:lnTo>
                <a:lnTo>
                  <a:pt x="426389" y="506407"/>
                </a:lnTo>
                <a:lnTo>
                  <a:pt x="403070" y="541217"/>
                </a:lnTo>
                <a:lnTo>
                  <a:pt x="402044" y="581772"/>
                </a:lnTo>
                <a:lnTo>
                  <a:pt x="427803" y="623898"/>
                </a:lnTo>
                <a:lnTo>
                  <a:pt x="469478" y="650275"/>
                </a:lnTo>
                <a:lnTo>
                  <a:pt x="494637" y="653947"/>
                </a:lnTo>
                <a:lnTo>
                  <a:pt x="506160" y="652887"/>
                </a:lnTo>
                <a:lnTo>
                  <a:pt x="552123" y="627348"/>
                </a:lnTo>
                <a:lnTo>
                  <a:pt x="638370" y="546463"/>
                </a:lnTo>
                <a:lnTo>
                  <a:pt x="675186" y="511218"/>
                </a:lnTo>
                <a:lnTo>
                  <a:pt x="711451" y="475842"/>
                </a:lnTo>
                <a:lnTo>
                  <a:pt x="822604" y="364434"/>
                </a:lnTo>
                <a:lnTo>
                  <a:pt x="733989" y="275343"/>
                </a:lnTo>
                <a:lnTo>
                  <a:pt x="185635" y="275343"/>
                </a:lnTo>
                <a:lnTo>
                  <a:pt x="185635" y="94051"/>
                </a:lnTo>
                <a:lnTo>
                  <a:pt x="178643" y="55475"/>
                </a:lnTo>
                <a:lnTo>
                  <a:pt x="152496" y="22807"/>
                </a:lnTo>
                <a:lnTo>
                  <a:pt x="109465" y="1252"/>
                </a:lnTo>
                <a:lnTo>
                  <a:pt x="96018" y="0"/>
                </a:lnTo>
                <a:close/>
              </a:path>
              <a:path w="822604" h="653947">
                <a:moveTo>
                  <a:pt x="493102" y="74899"/>
                </a:moveTo>
                <a:lnTo>
                  <a:pt x="454268" y="83468"/>
                </a:lnTo>
                <a:lnTo>
                  <a:pt x="423685" y="107223"/>
                </a:lnTo>
                <a:lnTo>
                  <a:pt x="401796" y="143331"/>
                </a:lnTo>
                <a:lnTo>
                  <a:pt x="399534" y="155112"/>
                </a:lnTo>
                <a:lnTo>
                  <a:pt x="399785" y="172261"/>
                </a:lnTo>
                <a:lnTo>
                  <a:pt x="413469" y="207985"/>
                </a:lnTo>
                <a:lnTo>
                  <a:pt x="439657" y="237120"/>
                </a:lnTo>
                <a:lnTo>
                  <a:pt x="480923" y="275343"/>
                </a:lnTo>
                <a:lnTo>
                  <a:pt x="733989" y="275343"/>
                </a:lnTo>
                <a:lnTo>
                  <a:pt x="696974" y="238809"/>
                </a:lnTo>
                <a:lnTo>
                  <a:pt x="660488" y="203486"/>
                </a:lnTo>
                <a:lnTo>
                  <a:pt x="623450" y="168294"/>
                </a:lnTo>
                <a:lnTo>
                  <a:pt x="549376" y="99397"/>
                </a:lnTo>
                <a:lnTo>
                  <a:pt x="514720" y="77421"/>
                </a:lnTo>
                <a:lnTo>
                  <a:pt x="493102" y="748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42" name="object 42">
            <a:extLst>
              <a:ext uri="{FF2B5EF4-FFF2-40B4-BE49-F238E27FC236}">
                <a16:creationId xmlns:a16="http://schemas.microsoft.com/office/drawing/2014/main" id="{9143EB80-9917-453B-8848-11B1BC066DF5}"/>
              </a:ext>
            </a:extLst>
          </p:cNvPr>
          <p:cNvSpPr>
            <a:spLocks noGrp="1"/>
          </p:cNvSpPr>
          <p:nvPr>
            <p:ph type="ftr" sz="quarter" idx="11"/>
          </p:nvPr>
        </p:nvSpPr>
        <p:spPr/>
        <p:txBody>
          <a:bodyPr vert="horz" wrap="square" lIns="0" tIns="0" rIns="0" bIns="0" numCol="1" rtlCol="0" anchor="t" anchorCtr="0" compatLnSpc="1">
            <a:prstTxWarp prst="textNoShape">
              <a:avLst/>
            </a:prstTxWarp>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26" name="Content Placeholder 2">
            <a:extLst>
              <a:ext uri="{FF2B5EF4-FFF2-40B4-BE49-F238E27FC236}">
                <a16:creationId xmlns:a16="http://schemas.microsoft.com/office/drawing/2014/main" id="{C6F43E72-91BF-403C-8A73-ACD60A4CC687}"/>
              </a:ext>
            </a:extLst>
          </p:cNvPr>
          <p:cNvSpPr>
            <a:spLocks noGrp="1"/>
          </p:cNvSpPr>
          <p:nvPr>
            <p:ph idx="1"/>
          </p:nvPr>
        </p:nvSpPr>
        <p:spPr>
          <a:xfrm>
            <a:off x="2368020" y="2212347"/>
            <a:ext cx="6623580" cy="3417081"/>
          </a:xfrm>
        </p:spPr>
        <p:txBody>
          <a:bodyPr/>
          <a:lstStyle/>
          <a:p>
            <a:pPr>
              <a:lnSpc>
                <a:spcPct val="150000"/>
              </a:lnSpc>
            </a:pPr>
            <a:r>
              <a:rPr lang="en-US" sz="2800" dirty="0" err="1"/>
              <a:t>များများနားထောင</a:t>
            </a:r>
            <a:r>
              <a:rPr lang="en-US" sz="2800" dirty="0"/>
              <a:t>် </a:t>
            </a:r>
            <a:r>
              <a:rPr lang="en-US" sz="2800" dirty="0" err="1"/>
              <a:t>နည်းနည်းပြော</a:t>
            </a:r>
            <a:endParaRPr lang="en-US" sz="2800" dirty="0"/>
          </a:p>
          <a:p>
            <a:pPr>
              <a:lnSpc>
                <a:spcPct val="150000"/>
              </a:lnSpc>
            </a:pPr>
            <a:r>
              <a:rPr lang="en-US" sz="2800" dirty="0" err="1"/>
              <a:t>စိတ်မလွင</a:t>
            </a:r>
            <a:r>
              <a:rPr lang="en-US" sz="2800" dirty="0"/>
              <a:t>့်</a:t>
            </a:r>
            <a:r>
              <a:rPr lang="en-US" sz="2800" dirty="0" err="1"/>
              <a:t>စေနှင</a:t>
            </a:r>
            <a:r>
              <a:rPr lang="en-US" sz="2800" dirty="0"/>
              <a:t>့်</a:t>
            </a:r>
          </a:p>
          <a:p>
            <a:pPr>
              <a:lnSpc>
                <a:spcPct val="150000"/>
              </a:lnSpc>
            </a:pPr>
            <a:r>
              <a:rPr lang="en-US" sz="2800" dirty="0" err="1"/>
              <a:t>ကိုယ်နှင</a:t>
            </a:r>
            <a:r>
              <a:rPr lang="en-US" sz="2800" dirty="0"/>
              <a:t>့် </a:t>
            </a:r>
            <a:r>
              <a:rPr lang="en-US" sz="2800" dirty="0" err="1"/>
              <a:t>ကလေးခံစားချက်တွေ</a:t>
            </a:r>
            <a:r>
              <a:rPr lang="en-US" sz="2800" dirty="0"/>
              <a:t> </a:t>
            </a:r>
            <a:r>
              <a:rPr lang="en-US" sz="2800" dirty="0" err="1"/>
              <a:t>သတိပြုပ</a:t>
            </a:r>
            <a:r>
              <a:rPr lang="en-US" sz="2800" dirty="0"/>
              <a:t>ါ</a:t>
            </a:r>
          </a:p>
        </p:txBody>
      </p:sp>
      <p:sp>
        <p:nvSpPr>
          <p:cNvPr id="18" name="object 24">
            <a:extLst>
              <a:ext uri="{FF2B5EF4-FFF2-40B4-BE49-F238E27FC236}">
                <a16:creationId xmlns:a16="http://schemas.microsoft.com/office/drawing/2014/main" id="{E326E8B4-0E0C-4913-8ECA-17D7B8D60AAE}"/>
              </a:ext>
            </a:extLst>
          </p:cNvPr>
          <p:cNvSpPr/>
          <p:nvPr/>
        </p:nvSpPr>
        <p:spPr>
          <a:xfrm>
            <a:off x="513836" y="994777"/>
            <a:ext cx="1182446" cy="1264329"/>
          </a:xfrm>
          <a:custGeom>
            <a:avLst/>
            <a:gdLst/>
            <a:ahLst/>
            <a:cxnLst/>
            <a:rect l="l" t="t" r="r" b="b"/>
            <a:pathLst>
              <a:path w="2217597" h="2373960">
                <a:moveTo>
                  <a:pt x="2217597" y="0"/>
                </a:moveTo>
                <a:lnTo>
                  <a:pt x="0" y="0"/>
                </a:lnTo>
                <a:lnTo>
                  <a:pt x="0" y="2373960"/>
                </a:lnTo>
                <a:lnTo>
                  <a:pt x="1784577" y="2373366"/>
                </a:lnTo>
                <a:lnTo>
                  <a:pt x="1852812" y="2371955"/>
                </a:lnTo>
                <a:lnTo>
                  <a:pt x="1913474" y="2369208"/>
                </a:lnTo>
                <a:lnTo>
                  <a:pt x="1967007" y="2364678"/>
                </a:lnTo>
                <a:lnTo>
                  <a:pt x="2013858" y="2357922"/>
                </a:lnTo>
                <a:lnTo>
                  <a:pt x="2054472" y="2348492"/>
                </a:lnTo>
                <a:lnTo>
                  <a:pt x="2118772" y="2319831"/>
                </a:lnTo>
                <a:lnTo>
                  <a:pt x="2163470" y="2275132"/>
                </a:lnTo>
                <a:lnTo>
                  <a:pt x="2192130" y="2210831"/>
                </a:lnTo>
                <a:lnTo>
                  <a:pt x="2201560" y="2170216"/>
                </a:lnTo>
                <a:lnTo>
                  <a:pt x="2208316" y="2123364"/>
                </a:lnTo>
                <a:lnTo>
                  <a:pt x="2212845" y="2069829"/>
                </a:lnTo>
                <a:lnTo>
                  <a:pt x="2215593" y="2009167"/>
                </a:lnTo>
                <a:lnTo>
                  <a:pt x="2217003" y="1940930"/>
                </a:lnTo>
                <a:lnTo>
                  <a:pt x="2217523" y="1864675"/>
                </a:lnTo>
                <a:lnTo>
                  <a:pt x="2217597" y="0"/>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19" name="object 25">
            <a:extLst>
              <a:ext uri="{FF2B5EF4-FFF2-40B4-BE49-F238E27FC236}">
                <a16:creationId xmlns:a16="http://schemas.microsoft.com/office/drawing/2014/main" id="{4F8F4101-6658-4B23-B704-7573253B18D0}"/>
              </a:ext>
            </a:extLst>
          </p:cNvPr>
          <p:cNvSpPr txBox="1"/>
          <p:nvPr/>
        </p:nvSpPr>
        <p:spPr>
          <a:xfrm>
            <a:off x="498242" y="1649405"/>
            <a:ext cx="1177859" cy="328230"/>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sz="1900" b="1">
                <a:solidFill>
                  <a:srgbClr val="FFFFFF"/>
                </a:solidFill>
                <a:latin typeface="Zawgyi-One" pitchFamily="34" charset="0"/>
                <a:cs typeface="Zawgyi-One" pitchFamily="34" charset="0"/>
              </a:rPr>
              <a:t>နားေထာင္ပါ</a:t>
            </a:r>
            <a:endParaRPr lang="en-US" sz="1900">
              <a:latin typeface="Zawgyi-One" pitchFamily="34" charset="0"/>
              <a:cs typeface="Zawgyi-One" pitchFamily="34" charset="0"/>
            </a:endParaRPr>
          </a:p>
        </p:txBody>
      </p:sp>
      <p:sp>
        <p:nvSpPr>
          <p:cNvPr id="20" name="object 27">
            <a:extLst>
              <a:ext uri="{FF2B5EF4-FFF2-40B4-BE49-F238E27FC236}">
                <a16:creationId xmlns:a16="http://schemas.microsoft.com/office/drawing/2014/main" id="{4E69E681-0CDB-4BB3-8F52-A75A13E513CD}"/>
              </a:ext>
            </a:extLst>
          </p:cNvPr>
          <p:cNvSpPr/>
          <p:nvPr/>
        </p:nvSpPr>
        <p:spPr>
          <a:xfrm>
            <a:off x="901870" y="1126803"/>
            <a:ext cx="313729" cy="483177"/>
          </a:xfrm>
          <a:custGeom>
            <a:avLst/>
            <a:gdLst/>
            <a:ahLst/>
            <a:cxnLst/>
            <a:rect l="l" t="t"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21" name="object 28">
            <a:extLst>
              <a:ext uri="{FF2B5EF4-FFF2-40B4-BE49-F238E27FC236}">
                <a16:creationId xmlns:a16="http://schemas.microsoft.com/office/drawing/2014/main" id="{643FD44D-D284-4E64-AEE1-B4AAC0370C43}"/>
              </a:ext>
            </a:extLst>
          </p:cNvPr>
          <p:cNvSpPr/>
          <p:nvPr/>
        </p:nvSpPr>
        <p:spPr>
          <a:xfrm>
            <a:off x="967000" y="1190982"/>
            <a:ext cx="167873" cy="275053"/>
          </a:xfrm>
          <a:custGeom>
            <a:avLst/>
            <a:gdLst/>
            <a:ahLst/>
            <a:cxnLst/>
            <a:rect l="l" t="t"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22" name="object 29">
            <a:extLst>
              <a:ext uri="{FF2B5EF4-FFF2-40B4-BE49-F238E27FC236}">
                <a16:creationId xmlns:a16="http://schemas.microsoft.com/office/drawing/2014/main" id="{60AE02D1-A682-44DB-BF10-7F2F02ACE0F8}"/>
              </a:ext>
            </a:extLst>
          </p:cNvPr>
          <p:cNvSpPr/>
          <p:nvPr/>
        </p:nvSpPr>
        <p:spPr>
          <a:xfrm>
            <a:off x="1232111" y="1134138"/>
            <a:ext cx="137600" cy="63262"/>
          </a:xfrm>
          <a:custGeom>
            <a:avLst/>
            <a:gdLst/>
            <a:ahLst/>
            <a:cxnLst/>
            <a:rect l="l" t="t"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23" name="object 30">
            <a:extLst>
              <a:ext uri="{FF2B5EF4-FFF2-40B4-BE49-F238E27FC236}">
                <a16:creationId xmlns:a16="http://schemas.microsoft.com/office/drawing/2014/main" id="{15B117C2-D846-4FCE-9AB8-0540E8FE50B8}"/>
              </a:ext>
            </a:extLst>
          </p:cNvPr>
          <p:cNvSpPr/>
          <p:nvPr/>
        </p:nvSpPr>
        <p:spPr>
          <a:xfrm>
            <a:off x="1240366" y="1288167"/>
            <a:ext cx="144022" cy="28422"/>
          </a:xfrm>
          <a:custGeom>
            <a:avLst/>
            <a:gdLst/>
            <a:ahLst/>
            <a:cxnLst/>
            <a:rect l="l" t="t"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24" name="object 31">
            <a:extLst>
              <a:ext uri="{FF2B5EF4-FFF2-40B4-BE49-F238E27FC236}">
                <a16:creationId xmlns:a16="http://schemas.microsoft.com/office/drawing/2014/main" id="{CD7184A0-FAD6-45CB-AC6F-CD9BAD6FD808}"/>
              </a:ext>
            </a:extLst>
          </p:cNvPr>
          <p:cNvSpPr/>
          <p:nvPr/>
        </p:nvSpPr>
        <p:spPr>
          <a:xfrm>
            <a:off x="1202756" y="1397272"/>
            <a:ext cx="127509" cy="88017"/>
          </a:xfrm>
          <a:custGeom>
            <a:avLst/>
            <a:gdLst/>
            <a:ahLst/>
            <a:cxnLst/>
            <a:rect l="l" t="t"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Tree>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object 2">
            <a:extLst>
              <a:ext uri="{FF2B5EF4-FFF2-40B4-BE49-F238E27FC236}">
                <a16:creationId xmlns:a16="http://schemas.microsoft.com/office/drawing/2014/main" id="{651B7D66-17DE-48F8-9E42-57250F23DDE8}"/>
              </a:ext>
            </a:extLst>
          </p:cNvPr>
          <p:cNvSpPr>
            <a:spLocks/>
          </p:cNvSpPr>
          <p:nvPr/>
        </p:nvSpPr>
        <p:spPr bwMode="auto">
          <a:xfrm>
            <a:off x="2445" y="5795377"/>
            <a:ext cx="9140027" cy="118273"/>
          </a:xfrm>
          <a:custGeom>
            <a:avLst/>
            <a:gdLst>
              <a:gd name="T0" fmla="*/ 0 w 15825596"/>
              <a:gd name="T1" fmla="*/ 0 h 204177"/>
              <a:gd name="T2" fmla="*/ 0 w 15825596"/>
              <a:gd name="T3" fmla="*/ 204177 h 204177"/>
              <a:gd name="T4" fmla="*/ 15825596 w 15825596"/>
              <a:gd name="T5" fmla="*/ 204177 h 204177"/>
              <a:gd name="T6" fmla="*/ 15825596 w 15825596"/>
              <a:gd name="T7" fmla="*/ 0 h 204177"/>
              <a:gd name="T8" fmla="*/ 0 w 15825596"/>
              <a:gd name="T9" fmla="*/ 0 h 204177"/>
            </a:gdLst>
            <a:ahLst/>
            <a:cxnLst>
              <a:cxn ang="0">
                <a:pos x="T0" y="T1"/>
              </a:cxn>
              <a:cxn ang="0">
                <a:pos x="T2" y="T3"/>
              </a:cxn>
              <a:cxn ang="0">
                <a:pos x="T4" y="T5"/>
              </a:cxn>
              <a:cxn ang="0">
                <a:pos x="T6" y="T7"/>
              </a:cxn>
              <a:cxn ang="0">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43" name="object 3">
            <a:extLst>
              <a:ext uri="{FF2B5EF4-FFF2-40B4-BE49-F238E27FC236}">
                <a16:creationId xmlns:a16="http://schemas.microsoft.com/office/drawing/2014/main" id="{9E99AD36-6EDE-44C5-9C34-0B14C964A4C3}"/>
              </a:ext>
            </a:extLst>
          </p:cNvPr>
          <p:cNvSpPr>
            <a:spLocks/>
          </p:cNvSpPr>
          <p:nvPr/>
        </p:nvSpPr>
        <p:spPr bwMode="auto">
          <a:xfrm>
            <a:off x="2445" y="5603756"/>
            <a:ext cx="1435779" cy="191621"/>
          </a:xfrm>
          <a:custGeom>
            <a:avLst/>
            <a:gdLst>
              <a:gd name="T0" fmla="*/ 0 w 2486525"/>
              <a:gd name="T1" fmla="*/ 332638 h 332638"/>
              <a:gd name="T2" fmla="*/ 2439001 w 2486525"/>
              <a:gd name="T3" fmla="*/ 332638 h 332638"/>
              <a:gd name="T4" fmla="*/ 2461172 w 2486525"/>
              <a:gd name="T5" fmla="*/ 332317 h 332638"/>
              <a:gd name="T6" fmla="*/ 2486517 w 2486525"/>
              <a:gd name="T7" fmla="*/ 292555 h 332638"/>
              <a:gd name="T8" fmla="*/ 2486525 w 2486525"/>
              <a:gd name="T9" fmla="*/ 47523 h 332638"/>
              <a:gd name="T10" fmla="*/ 2486204 w 2486525"/>
              <a:gd name="T11" fmla="*/ 25352 h 332638"/>
              <a:gd name="T12" fmla="*/ 2446442 w 2486525"/>
              <a:gd name="T13" fmla="*/ 7 h 332638"/>
              <a:gd name="T14" fmla="*/ 0 w 2486525"/>
              <a:gd name="T15" fmla="*/ 0 h 332638"/>
              <a:gd name="T16" fmla="*/ 0 w 2486525"/>
              <a:gd name="T17" fmla="*/ 332638 h 332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44" name="object 5">
            <a:extLst>
              <a:ext uri="{FF2B5EF4-FFF2-40B4-BE49-F238E27FC236}">
                <a16:creationId xmlns:a16="http://schemas.microsoft.com/office/drawing/2014/main" id="{58466C7F-398F-45AC-A2B8-306EE842B02C}"/>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45" name="object 6">
            <a:extLst>
              <a:ext uri="{FF2B5EF4-FFF2-40B4-BE49-F238E27FC236}">
                <a16:creationId xmlns:a16="http://schemas.microsoft.com/office/drawing/2014/main" id="{5A894EDD-E772-4790-9EEA-A2369F357D0D}"/>
              </a:ext>
            </a:extLst>
          </p:cNvPr>
          <p:cNvSpPr txBox="1">
            <a:spLocks noChangeArrowheads="1"/>
          </p:cNvSpPr>
          <p:nvPr/>
        </p:nvSpPr>
        <p:spPr bwMode="auto">
          <a:xfrm>
            <a:off x="8503431" y="230985"/>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7</a:t>
            </a:r>
            <a:endParaRPr lang="en-US" altLang="en-US" sz="2021" dirty="0">
              <a:latin typeface="Gill Sans" pitchFamily="34" charset="0"/>
              <a:cs typeface="Gill Sans" pitchFamily="34" charset="0"/>
            </a:endParaRPr>
          </a:p>
        </p:txBody>
      </p:sp>
      <p:sp>
        <p:nvSpPr>
          <p:cNvPr id="26" name="object 26">
            <a:extLst>
              <a:ext uri="{FF2B5EF4-FFF2-40B4-BE49-F238E27FC236}">
                <a16:creationId xmlns:a16="http://schemas.microsoft.com/office/drawing/2014/main" id="{E916F57D-0705-4F58-86A1-EDDF59CAAB74}"/>
              </a:ext>
            </a:extLst>
          </p:cNvPr>
          <p:cNvSpPr txBox="1"/>
          <p:nvPr/>
        </p:nvSpPr>
        <p:spPr>
          <a:xfrm>
            <a:off x="721252" y="1499958"/>
            <a:ext cx="922346" cy="355736"/>
          </a:xfrm>
          <a:prstGeom prst="rect">
            <a:avLst/>
          </a:prstGeom>
        </p:spPr>
        <p:txBody>
          <a:bodyPr lIns="0" tIns="0" rIns="0" bIns="0"/>
          <a:lstStyle/>
          <a:p>
            <a:pPr marL="7334">
              <a:defRPr/>
            </a:pPr>
            <a:r>
              <a:rPr sz="2281" b="1" dirty="0">
                <a:solidFill>
                  <a:srgbClr val="FFFFFF"/>
                </a:solidFill>
                <a:latin typeface="Gill Sans"/>
                <a:cs typeface="Gill Sans"/>
              </a:rPr>
              <a:t>Listen</a:t>
            </a:r>
            <a:endParaRPr sz="2281" dirty="0">
              <a:latin typeface="Gill Sans"/>
              <a:cs typeface="Gill Sans"/>
            </a:endParaRPr>
          </a:p>
        </p:txBody>
      </p:sp>
      <p:sp>
        <p:nvSpPr>
          <p:cNvPr id="27" name="object 27">
            <a:extLst>
              <a:ext uri="{FF2B5EF4-FFF2-40B4-BE49-F238E27FC236}">
                <a16:creationId xmlns:a16="http://schemas.microsoft.com/office/drawing/2014/main" id="{B52F758F-07B5-4353-AD46-06F000A9C5D2}"/>
              </a:ext>
            </a:extLst>
          </p:cNvPr>
          <p:cNvSpPr txBox="1"/>
          <p:nvPr/>
        </p:nvSpPr>
        <p:spPr>
          <a:xfrm>
            <a:off x="2399536" y="136609"/>
            <a:ext cx="4344928" cy="1068124"/>
          </a:xfrm>
          <a:prstGeom prst="rect">
            <a:avLst/>
          </a:prstGeom>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465" dirty="0">
                <a:solidFill>
                  <a:schemeClr val="bg1"/>
                </a:solidFill>
                <a:latin typeface="Gill Sans Light"/>
                <a:ea typeface="Gill Sans Light"/>
                <a:cs typeface="Gill Sans Light"/>
              </a:rPr>
              <a:t>Active listening...</a:t>
            </a:r>
          </a:p>
        </p:txBody>
      </p:sp>
      <p:sp>
        <p:nvSpPr>
          <p:cNvPr id="87050" name="object 28">
            <a:extLst>
              <a:ext uri="{FF2B5EF4-FFF2-40B4-BE49-F238E27FC236}">
                <a16:creationId xmlns:a16="http://schemas.microsoft.com/office/drawing/2014/main" id="{5A382949-DED2-4B10-B938-EA83B269F93A}"/>
              </a:ext>
            </a:extLst>
          </p:cNvPr>
          <p:cNvSpPr>
            <a:spLocks/>
          </p:cNvSpPr>
          <p:nvPr/>
        </p:nvSpPr>
        <p:spPr bwMode="auto">
          <a:xfrm>
            <a:off x="961465" y="934265"/>
            <a:ext cx="339233" cy="522602"/>
          </a:xfrm>
          <a:custGeom>
            <a:avLst/>
            <a:gdLst>
              <a:gd name="T0" fmla="*/ 25037 w 588121"/>
              <a:gd name="T1" fmla="*/ 651246 h 904763"/>
              <a:gd name="T2" fmla="*/ 39 w 588121"/>
              <a:gd name="T3" fmla="*/ 737359 h 904763"/>
              <a:gd name="T4" fmla="*/ 226 w 588121"/>
              <a:gd name="T5" fmla="*/ 753721 h 904763"/>
              <a:gd name="T6" fmla="*/ 23455 w 588121"/>
              <a:gd name="T7" fmla="*/ 829713 h 904763"/>
              <a:gd name="T8" fmla="*/ 81141 w 588121"/>
              <a:gd name="T9" fmla="*/ 884092 h 904763"/>
              <a:gd name="T10" fmla="*/ 170337 w 588121"/>
              <a:gd name="T11" fmla="*/ 904763 h 904763"/>
              <a:gd name="T12" fmla="*/ 235627 w 588121"/>
              <a:gd name="T13" fmla="*/ 886010 h 904763"/>
              <a:gd name="T14" fmla="*/ 271899 w 588121"/>
              <a:gd name="T15" fmla="*/ 852281 h 904763"/>
              <a:gd name="T16" fmla="*/ 142431 w 588121"/>
              <a:gd name="T17" fmla="*/ 850650 h 904763"/>
              <a:gd name="T18" fmla="*/ 77464 w 588121"/>
              <a:gd name="T19" fmla="*/ 812008 h 904763"/>
              <a:gd name="T20" fmla="*/ 49489 w 588121"/>
              <a:gd name="T21" fmla="*/ 746670 h 904763"/>
              <a:gd name="T22" fmla="*/ 68819 w 588121"/>
              <a:gd name="T23" fmla="*/ 696304 h 904763"/>
              <a:gd name="T24" fmla="*/ 77373 w 588121"/>
              <a:gd name="T25" fmla="*/ 681600 h 904763"/>
              <a:gd name="T26" fmla="*/ 83841 w 588121"/>
              <a:gd name="T27" fmla="*/ 667328 h 904763"/>
              <a:gd name="T28" fmla="*/ 86339 w 588121"/>
              <a:gd name="T29" fmla="*/ 653126 h 904763"/>
              <a:gd name="T30" fmla="*/ 82982 w 588121"/>
              <a:gd name="T31" fmla="*/ 638627 h 904763"/>
              <a:gd name="T32" fmla="*/ 72321 w 588121"/>
              <a:gd name="T33" fmla="*/ 626220 h 904763"/>
              <a:gd name="T34" fmla="*/ 58914 w 588121"/>
              <a:gd name="T35" fmla="*/ 623560 h 904763"/>
              <a:gd name="T36" fmla="*/ 311884 w 588121"/>
              <a:gd name="T37" fmla="*/ 69997 h 904763"/>
              <a:gd name="T38" fmla="*/ 355939 w 588121"/>
              <a:gd name="T39" fmla="*/ 74522 h 904763"/>
              <a:gd name="T40" fmla="*/ 442815 w 588121"/>
              <a:gd name="T41" fmla="*/ 113620 h 904763"/>
              <a:gd name="T42" fmla="*/ 504205 w 588121"/>
              <a:gd name="T43" fmla="*/ 200183 h 904763"/>
              <a:gd name="T44" fmla="*/ 520676 w 588121"/>
              <a:gd name="T45" fmla="*/ 292282 h 904763"/>
              <a:gd name="T46" fmla="*/ 512403 w 588121"/>
              <a:gd name="T47" fmla="*/ 361500 h 904763"/>
              <a:gd name="T48" fmla="*/ 471246 w 588121"/>
              <a:gd name="T49" fmla="*/ 457380 h 904763"/>
              <a:gd name="T50" fmla="*/ 410099 w 588121"/>
              <a:gd name="T51" fmla="*/ 545243 h 904763"/>
              <a:gd name="T52" fmla="*/ 330978 w 588121"/>
              <a:gd name="T53" fmla="*/ 637671 h 904763"/>
              <a:gd name="T54" fmla="*/ 285869 w 588121"/>
              <a:gd name="T55" fmla="*/ 692791 h 904763"/>
              <a:gd name="T56" fmla="*/ 261794 w 588121"/>
              <a:gd name="T57" fmla="*/ 759834 h 904763"/>
              <a:gd name="T58" fmla="*/ 217839 w 588121"/>
              <a:gd name="T59" fmla="*/ 832532 h 904763"/>
              <a:gd name="T60" fmla="*/ 156135 w 588121"/>
              <a:gd name="T61" fmla="*/ 852281 h 904763"/>
              <a:gd name="T62" fmla="*/ 292256 w 588121"/>
              <a:gd name="T63" fmla="*/ 818496 h 904763"/>
              <a:gd name="T64" fmla="*/ 320736 w 588121"/>
              <a:gd name="T65" fmla="*/ 724913 h 904763"/>
              <a:gd name="T66" fmla="*/ 345937 w 588121"/>
              <a:gd name="T67" fmla="*/ 680529 h 904763"/>
              <a:gd name="T68" fmla="*/ 420024 w 588121"/>
              <a:gd name="T69" fmla="*/ 605126 h 904763"/>
              <a:gd name="T70" fmla="*/ 464248 w 588121"/>
              <a:gd name="T71" fmla="*/ 560270 h 904763"/>
              <a:gd name="T72" fmla="*/ 519916 w 588121"/>
              <a:gd name="T73" fmla="*/ 494855 h 904763"/>
              <a:gd name="T74" fmla="*/ 563113 w 588121"/>
              <a:gd name="T75" fmla="*/ 420553 h 904763"/>
              <a:gd name="T76" fmla="*/ 586995 w 588121"/>
              <a:gd name="T77" fmla="*/ 315666 h 904763"/>
              <a:gd name="T78" fmla="*/ 587100 w 588121"/>
              <a:gd name="T79" fmla="*/ 257905 h 904763"/>
              <a:gd name="T80" fmla="*/ 558236 w 588121"/>
              <a:gd name="T81" fmla="*/ 144959 h 904763"/>
              <a:gd name="T82" fmla="*/ 506900 w 588121"/>
              <a:gd name="T83" fmla="*/ 72909 h 904763"/>
              <a:gd name="T84" fmla="*/ 312091 w 588121"/>
              <a:gd name="T85" fmla="*/ 0 h 904763"/>
              <a:gd name="T86" fmla="*/ 219636 w 588121"/>
              <a:gd name="T87" fmla="*/ 12370 h 904763"/>
              <a:gd name="T88" fmla="*/ 137752 w 588121"/>
              <a:gd name="T89" fmla="*/ 59023 h 904763"/>
              <a:gd name="T90" fmla="*/ 82668 w 588121"/>
              <a:gd name="T91" fmla="*/ 125500 h 904763"/>
              <a:gd name="T92" fmla="*/ 48062 w 588121"/>
              <a:gd name="T93" fmla="*/ 208452 h 904763"/>
              <a:gd name="T94" fmla="*/ 40792 w 588121"/>
              <a:gd name="T95" fmla="*/ 270941 h 904763"/>
              <a:gd name="T96" fmla="*/ 44311 w 588121"/>
              <a:gd name="T97" fmla="*/ 328775 h 904763"/>
              <a:gd name="T98" fmla="*/ 74900 w 588121"/>
              <a:gd name="T99" fmla="*/ 388478 h 904763"/>
              <a:gd name="T100" fmla="*/ 92076 w 588121"/>
              <a:gd name="T101" fmla="*/ 336326 h 904763"/>
              <a:gd name="T102" fmla="*/ 90817 w 588121"/>
              <a:gd name="T103" fmla="*/ 305421 h 904763"/>
              <a:gd name="T104" fmla="*/ 102663 w 588121"/>
              <a:gd name="T105" fmla="*/ 214458 h 904763"/>
              <a:gd name="T106" fmla="*/ 142640 w 588121"/>
              <a:gd name="T107" fmla="*/ 138007 h 904763"/>
              <a:gd name="T108" fmla="*/ 225604 w 588121"/>
              <a:gd name="T109" fmla="*/ 81887 h 904763"/>
              <a:gd name="T110" fmla="*/ 311884 w 588121"/>
              <a:gd name="T111" fmla="*/ 69997 h 904763"/>
              <a:gd name="T112" fmla="*/ 483412 w 588121"/>
              <a:gd name="T113" fmla="*/ 53064 h 904763"/>
              <a:gd name="T114" fmla="*/ 426066 w 588121"/>
              <a:gd name="T115" fmla="*/ 21616 h 904763"/>
              <a:gd name="T116" fmla="*/ 353990 w 588121"/>
              <a:gd name="T117" fmla="*/ 3357 h 904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1" name="object 29">
            <a:extLst>
              <a:ext uri="{FF2B5EF4-FFF2-40B4-BE49-F238E27FC236}">
                <a16:creationId xmlns:a16="http://schemas.microsoft.com/office/drawing/2014/main" id="{B78F816F-05AA-4DF3-BDD9-891FCFF2650D}"/>
              </a:ext>
            </a:extLst>
          </p:cNvPr>
          <p:cNvSpPr>
            <a:spLocks/>
          </p:cNvSpPr>
          <p:nvPr/>
        </p:nvSpPr>
        <p:spPr bwMode="auto">
          <a:xfrm>
            <a:off x="1032062" y="1003946"/>
            <a:ext cx="182452" cy="297974"/>
          </a:xfrm>
          <a:custGeom>
            <a:avLst/>
            <a:gdLst>
              <a:gd name="T0" fmla="*/ 116302 w 316928"/>
              <a:gd name="T1" fmla="*/ 6558 h 516362"/>
              <a:gd name="T2" fmla="*/ 40650 w 316928"/>
              <a:gd name="T3" fmla="*/ 59292 h 516362"/>
              <a:gd name="T4" fmla="*/ 5735 w 316928"/>
              <a:gd name="T5" fmla="*/ 153385 h 516362"/>
              <a:gd name="T6" fmla="*/ 6850 w 316928"/>
              <a:gd name="T7" fmla="*/ 183410 h 516362"/>
              <a:gd name="T8" fmla="*/ 50383 w 316928"/>
              <a:gd name="T9" fmla="*/ 256760 h 516362"/>
              <a:gd name="T10" fmla="*/ 75399 w 316928"/>
              <a:gd name="T11" fmla="*/ 301663 h 516362"/>
              <a:gd name="T12" fmla="*/ 56504 w 316928"/>
              <a:gd name="T13" fmla="*/ 354950 h 516362"/>
              <a:gd name="T14" fmla="*/ 21746 w 316928"/>
              <a:gd name="T15" fmla="*/ 396796 h 516362"/>
              <a:gd name="T16" fmla="*/ 0 w 316928"/>
              <a:gd name="T17" fmla="*/ 457668 h 516362"/>
              <a:gd name="T18" fmla="*/ 23904 w 316928"/>
              <a:gd name="T19" fmla="*/ 505926 h 516362"/>
              <a:gd name="T20" fmla="*/ 66855 w 316928"/>
              <a:gd name="T21" fmla="*/ 516148 h 516362"/>
              <a:gd name="T22" fmla="*/ 135018 w 316928"/>
              <a:gd name="T23" fmla="*/ 472237 h 516362"/>
              <a:gd name="T24" fmla="*/ 173394 w 316928"/>
              <a:gd name="T25" fmla="*/ 391952 h 516362"/>
              <a:gd name="T26" fmla="*/ 181435 w 316928"/>
              <a:gd name="T27" fmla="*/ 329399 h 516362"/>
              <a:gd name="T28" fmla="*/ 164823 w 316928"/>
              <a:gd name="T29" fmla="*/ 280356 h 516362"/>
              <a:gd name="T30" fmla="*/ 113805 w 316928"/>
              <a:gd name="T31" fmla="*/ 221310 h 516362"/>
              <a:gd name="T32" fmla="*/ 77246 w 316928"/>
              <a:gd name="T33" fmla="*/ 175233 h 516362"/>
              <a:gd name="T34" fmla="*/ 72350 w 316928"/>
              <a:gd name="T35" fmla="*/ 130695 h 516362"/>
              <a:gd name="T36" fmla="*/ 123508 w 316928"/>
              <a:gd name="T37" fmla="*/ 62141 h 516362"/>
              <a:gd name="T38" fmla="*/ 270522 w 316928"/>
              <a:gd name="T39" fmla="*/ 43427 h 516362"/>
              <a:gd name="T40" fmla="*/ 178968 w 316928"/>
              <a:gd name="T41" fmla="*/ 1160 h 516362"/>
              <a:gd name="T42" fmla="*/ 279719 w 316928"/>
              <a:gd name="T43" fmla="*/ 52434 h 516362"/>
              <a:gd name="T44" fmla="*/ 185681 w 316928"/>
              <a:gd name="T45" fmla="*/ 54007 h 516362"/>
              <a:gd name="T46" fmla="*/ 235994 w 316928"/>
              <a:gd name="T47" fmla="*/ 83205 h 516362"/>
              <a:gd name="T48" fmla="*/ 272545 w 316928"/>
              <a:gd name="T49" fmla="*/ 169243 h 516362"/>
              <a:gd name="T50" fmla="*/ 271587 w 316928"/>
              <a:gd name="T51" fmla="*/ 196507 h 516362"/>
              <a:gd name="T52" fmla="*/ 241764 w 316928"/>
              <a:gd name="T53" fmla="*/ 271203 h 516362"/>
              <a:gd name="T54" fmla="*/ 233594 w 316928"/>
              <a:gd name="T55" fmla="*/ 291147 h 516362"/>
              <a:gd name="T56" fmla="*/ 236431 w 316928"/>
              <a:gd name="T57" fmla="*/ 305369 h 516362"/>
              <a:gd name="T58" fmla="*/ 247970 w 316928"/>
              <a:gd name="T59" fmla="*/ 309990 h 516362"/>
              <a:gd name="T60" fmla="*/ 284064 w 316928"/>
              <a:gd name="T61" fmla="*/ 276912 h 516362"/>
              <a:gd name="T62" fmla="*/ 313905 w 316928"/>
              <a:gd name="T63" fmla="*/ 193989 h 516362"/>
              <a:gd name="T64" fmla="*/ 316454 w 316928"/>
              <a:gd name="T65" fmla="*/ 140912 h 516362"/>
              <a:gd name="T66" fmla="*/ 287917 w 316928"/>
              <a:gd name="T67" fmla="*/ 62043 h 516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2" name="object 30">
            <a:extLst>
              <a:ext uri="{FF2B5EF4-FFF2-40B4-BE49-F238E27FC236}">
                <a16:creationId xmlns:a16="http://schemas.microsoft.com/office/drawing/2014/main" id="{55A3DD91-148D-4E25-9192-75DF68E309F0}"/>
              </a:ext>
            </a:extLst>
          </p:cNvPr>
          <p:cNvSpPr>
            <a:spLocks/>
          </p:cNvSpPr>
          <p:nvPr/>
        </p:nvSpPr>
        <p:spPr bwMode="auto">
          <a:xfrm>
            <a:off x="1319952" y="940683"/>
            <a:ext cx="148529" cy="67847"/>
          </a:xfrm>
          <a:custGeom>
            <a:avLst/>
            <a:gdLst>
              <a:gd name="T0" fmla="*/ 242299 w 257462"/>
              <a:gd name="T1" fmla="*/ 0 h 117510"/>
              <a:gd name="T2" fmla="*/ 229923 w 257462"/>
              <a:gd name="T3" fmla="*/ 606 h 117510"/>
              <a:gd name="T4" fmla="*/ 5264 w 257462"/>
              <a:gd name="T5" fmla="*/ 79689 h 117510"/>
              <a:gd name="T6" fmla="*/ 0 w 257462"/>
              <a:gd name="T7" fmla="*/ 90374 h 117510"/>
              <a:gd name="T8" fmla="*/ 950 w 257462"/>
              <a:gd name="T9" fmla="*/ 103161 h 117510"/>
              <a:gd name="T10" fmla="*/ 9370 w 257462"/>
              <a:gd name="T11" fmla="*/ 113649 h 117510"/>
              <a:gd name="T12" fmla="*/ 21999 w 257462"/>
              <a:gd name="T13" fmla="*/ 117510 h 117510"/>
              <a:gd name="T14" fmla="*/ 24412 w 257462"/>
              <a:gd name="T15" fmla="*/ 117510 h 117510"/>
              <a:gd name="T16" fmla="*/ 26850 w 257462"/>
              <a:gd name="T17" fmla="*/ 117116 h 117510"/>
              <a:gd name="T18" fmla="*/ 250449 w 257462"/>
              <a:gd name="T19" fmla="*/ 40281 h 117510"/>
              <a:gd name="T20" fmla="*/ 256229 w 257462"/>
              <a:gd name="T21" fmla="*/ 32460 h 117510"/>
              <a:gd name="T22" fmla="*/ 257462 w 257462"/>
              <a:gd name="T23" fmla="*/ 20918 h 117510"/>
              <a:gd name="T24" fmla="*/ 252890 w 257462"/>
              <a:gd name="T25" fmla="*/ 5755 h 117510"/>
              <a:gd name="T26" fmla="*/ 242299 w 257462"/>
              <a:gd name="T27" fmla="*/ 0 h 117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3" name="object 31">
            <a:extLst>
              <a:ext uri="{FF2B5EF4-FFF2-40B4-BE49-F238E27FC236}">
                <a16:creationId xmlns:a16="http://schemas.microsoft.com/office/drawing/2014/main" id="{F1D7F4A2-B77F-44BC-920B-D4451E95310E}"/>
              </a:ext>
            </a:extLst>
          </p:cNvPr>
          <p:cNvSpPr>
            <a:spLocks/>
          </p:cNvSpPr>
          <p:nvPr/>
        </p:nvSpPr>
        <p:spPr bwMode="auto">
          <a:xfrm>
            <a:off x="1329120" y="1107549"/>
            <a:ext cx="155864" cy="32090"/>
          </a:xfrm>
          <a:custGeom>
            <a:avLst/>
            <a:gdLst>
              <a:gd name="T0" fmla="*/ 21684 w 269961"/>
              <a:gd name="T1" fmla="*/ 0 h 55455"/>
              <a:gd name="T2" fmla="*/ 10604 w 269961"/>
              <a:gd name="T3" fmla="*/ 3125 h 55455"/>
              <a:gd name="T4" fmla="*/ 2724 w 269961"/>
              <a:gd name="T5" fmla="*/ 12997 h 55455"/>
              <a:gd name="T6" fmla="*/ 0 w 269961"/>
              <a:gd name="T7" fmla="*/ 29649 h 55455"/>
              <a:gd name="T8" fmla="*/ 7686 w 269961"/>
              <a:gd name="T9" fmla="*/ 40539 h 55455"/>
              <a:gd name="T10" fmla="*/ 20500 w 269961"/>
              <a:gd name="T11" fmla="*/ 45232 h 55455"/>
              <a:gd name="T12" fmla="*/ 247437 w 269961"/>
              <a:gd name="T13" fmla="*/ 55430 h 55455"/>
              <a:gd name="T14" fmla="*/ 248465 w 269961"/>
              <a:gd name="T15" fmla="*/ 55455 h 55455"/>
              <a:gd name="T16" fmla="*/ 259063 w 269961"/>
              <a:gd name="T17" fmla="*/ 52535 h 55455"/>
              <a:gd name="T18" fmla="*/ 267175 w 269961"/>
              <a:gd name="T19" fmla="*/ 42754 h 55455"/>
              <a:gd name="T20" fmla="*/ 269961 w 269961"/>
              <a:gd name="T21" fmla="*/ 25807 h 55455"/>
              <a:gd name="T22" fmla="*/ 262280 w 269961"/>
              <a:gd name="T23" fmla="*/ 14922 h 55455"/>
              <a:gd name="T24" fmla="*/ 249469 w 269961"/>
              <a:gd name="T25" fmla="*/ 10231 h 55455"/>
              <a:gd name="T26" fmla="*/ 21684 w 269961"/>
              <a:gd name="T27" fmla="*/ 0 h 55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4" name="object 32">
            <a:extLst>
              <a:ext uri="{FF2B5EF4-FFF2-40B4-BE49-F238E27FC236}">
                <a16:creationId xmlns:a16="http://schemas.microsoft.com/office/drawing/2014/main" id="{7985B711-27E2-46FA-9B37-42ADF6A9727C}"/>
              </a:ext>
            </a:extLst>
          </p:cNvPr>
          <p:cNvSpPr>
            <a:spLocks/>
          </p:cNvSpPr>
          <p:nvPr/>
        </p:nvSpPr>
        <p:spPr bwMode="auto">
          <a:xfrm>
            <a:off x="1287862" y="1227656"/>
            <a:ext cx="137527" cy="94435"/>
          </a:xfrm>
          <a:custGeom>
            <a:avLst/>
            <a:gdLst>
              <a:gd name="T0" fmla="*/ 28484 w 237860"/>
              <a:gd name="T1" fmla="*/ 0 h 164749"/>
              <a:gd name="T2" fmla="*/ 18713 w 237860"/>
              <a:gd name="T3" fmla="*/ 454 h 164749"/>
              <a:gd name="T4" fmla="*/ 8922 w 237860"/>
              <a:gd name="T5" fmla="*/ 6983 h 164749"/>
              <a:gd name="T6" fmla="*/ 0 w 237860"/>
              <a:gd name="T7" fmla="*/ 20598 h 164749"/>
              <a:gd name="T8" fmla="*/ 2448 w 237860"/>
              <a:gd name="T9" fmla="*/ 32066 h 164749"/>
              <a:gd name="T10" fmla="*/ 10620 w 237860"/>
              <a:gd name="T11" fmla="*/ 40962 h 164749"/>
              <a:gd name="T12" fmla="*/ 207000 w 237860"/>
              <a:gd name="T13" fmla="*/ 163644 h 164749"/>
              <a:gd name="T14" fmla="*/ 211153 w 237860"/>
              <a:gd name="T15" fmla="*/ 164749 h 164749"/>
              <a:gd name="T16" fmla="*/ 215242 w 237860"/>
              <a:gd name="T17" fmla="*/ 164749 h 164749"/>
              <a:gd name="T18" fmla="*/ 219418 w 237860"/>
              <a:gd name="T19" fmla="*/ 164298 h 164749"/>
              <a:gd name="T20" fmla="*/ 228579 w 237860"/>
              <a:gd name="T21" fmla="*/ 158673 h 164749"/>
              <a:gd name="T22" fmla="*/ 237860 w 237860"/>
              <a:gd name="T23" fmla="*/ 143301 h 164749"/>
              <a:gd name="T24" fmla="*/ 235414 w 237860"/>
              <a:gd name="T25" fmla="*/ 131835 h 164749"/>
              <a:gd name="T26" fmla="*/ 227244 w 237860"/>
              <a:gd name="T27" fmla="*/ 122941 h 164749"/>
              <a:gd name="T28" fmla="*/ 28484 w 237860"/>
              <a:gd name="T29" fmla="*/ 0 h 164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5" name="object 33">
            <a:extLst>
              <a:ext uri="{FF2B5EF4-FFF2-40B4-BE49-F238E27FC236}">
                <a16:creationId xmlns:a16="http://schemas.microsoft.com/office/drawing/2014/main" id="{A0AE0E01-2823-4011-80C7-75E6DCD719D7}"/>
              </a:ext>
            </a:extLst>
          </p:cNvPr>
          <p:cNvSpPr>
            <a:spLocks/>
          </p:cNvSpPr>
          <p:nvPr/>
        </p:nvSpPr>
        <p:spPr bwMode="auto">
          <a:xfrm>
            <a:off x="541550" y="3154864"/>
            <a:ext cx="475843" cy="376823"/>
          </a:xfrm>
          <a:custGeom>
            <a:avLst/>
            <a:gdLst>
              <a:gd name="T0" fmla="*/ 96018 w 822604"/>
              <a:gd name="T1" fmla="*/ 0 h 653947"/>
              <a:gd name="T2" fmla="*/ 57569 w 822604"/>
              <a:gd name="T3" fmla="*/ 6762 h 653947"/>
              <a:gd name="T4" fmla="*/ 23791 w 822604"/>
              <a:gd name="T5" fmla="*/ 31803 h 653947"/>
              <a:gd name="T6" fmla="*/ 1689 w 822604"/>
              <a:gd name="T7" fmla="*/ 72959 h 653947"/>
              <a:gd name="T8" fmla="*/ 0 w 822604"/>
              <a:gd name="T9" fmla="*/ 364434 h 653947"/>
              <a:gd name="T10" fmla="*/ 986 w 822604"/>
              <a:gd name="T11" fmla="*/ 378234 h 653947"/>
              <a:gd name="T12" fmla="*/ 16948 w 822604"/>
              <a:gd name="T13" fmla="*/ 413605 h 653947"/>
              <a:gd name="T14" fmla="*/ 57220 w 822604"/>
              <a:gd name="T15" fmla="*/ 445620 h 653947"/>
              <a:gd name="T16" fmla="*/ 476275 w 822604"/>
              <a:gd name="T17" fmla="*/ 453512 h 653947"/>
              <a:gd name="T18" fmla="*/ 426389 w 822604"/>
              <a:gd name="T19" fmla="*/ 506407 h 653947"/>
              <a:gd name="T20" fmla="*/ 403070 w 822604"/>
              <a:gd name="T21" fmla="*/ 541217 h 653947"/>
              <a:gd name="T22" fmla="*/ 402044 w 822604"/>
              <a:gd name="T23" fmla="*/ 581772 h 653947"/>
              <a:gd name="T24" fmla="*/ 427803 w 822604"/>
              <a:gd name="T25" fmla="*/ 623898 h 653947"/>
              <a:gd name="T26" fmla="*/ 469478 w 822604"/>
              <a:gd name="T27" fmla="*/ 650275 h 653947"/>
              <a:gd name="T28" fmla="*/ 494637 w 822604"/>
              <a:gd name="T29" fmla="*/ 653947 h 653947"/>
              <a:gd name="T30" fmla="*/ 506160 w 822604"/>
              <a:gd name="T31" fmla="*/ 652887 h 653947"/>
              <a:gd name="T32" fmla="*/ 552123 w 822604"/>
              <a:gd name="T33" fmla="*/ 627348 h 653947"/>
              <a:gd name="T34" fmla="*/ 638370 w 822604"/>
              <a:gd name="T35" fmla="*/ 546463 h 653947"/>
              <a:gd name="T36" fmla="*/ 675186 w 822604"/>
              <a:gd name="T37" fmla="*/ 511218 h 653947"/>
              <a:gd name="T38" fmla="*/ 711451 w 822604"/>
              <a:gd name="T39" fmla="*/ 475842 h 653947"/>
              <a:gd name="T40" fmla="*/ 822604 w 822604"/>
              <a:gd name="T41" fmla="*/ 364434 h 653947"/>
              <a:gd name="T42" fmla="*/ 733989 w 822604"/>
              <a:gd name="T43" fmla="*/ 275343 h 653947"/>
              <a:gd name="T44" fmla="*/ 185635 w 822604"/>
              <a:gd name="T45" fmla="*/ 275343 h 653947"/>
              <a:gd name="T46" fmla="*/ 185635 w 822604"/>
              <a:gd name="T47" fmla="*/ 94051 h 653947"/>
              <a:gd name="T48" fmla="*/ 178643 w 822604"/>
              <a:gd name="T49" fmla="*/ 55475 h 653947"/>
              <a:gd name="T50" fmla="*/ 152496 w 822604"/>
              <a:gd name="T51" fmla="*/ 22807 h 653947"/>
              <a:gd name="T52" fmla="*/ 109465 w 822604"/>
              <a:gd name="T53" fmla="*/ 1252 h 653947"/>
              <a:gd name="T54" fmla="*/ 96018 w 822604"/>
              <a:gd name="T55" fmla="*/ 0 h 653947"/>
              <a:gd name="T56" fmla="*/ 493102 w 822604"/>
              <a:gd name="T57" fmla="*/ 74899 h 653947"/>
              <a:gd name="T58" fmla="*/ 454268 w 822604"/>
              <a:gd name="T59" fmla="*/ 83468 h 653947"/>
              <a:gd name="T60" fmla="*/ 423685 w 822604"/>
              <a:gd name="T61" fmla="*/ 107223 h 653947"/>
              <a:gd name="T62" fmla="*/ 401796 w 822604"/>
              <a:gd name="T63" fmla="*/ 143331 h 653947"/>
              <a:gd name="T64" fmla="*/ 399534 w 822604"/>
              <a:gd name="T65" fmla="*/ 155112 h 653947"/>
              <a:gd name="T66" fmla="*/ 399785 w 822604"/>
              <a:gd name="T67" fmla="*/ 172261 h 653947"/>
              <a:gd name="T68" fmla="*/ 413469 w 822604"/>
              <a:gd name="T69" fmla="*/ 207985 h 653947"/>
              <a:gd name="T70" fmla="*/ 439657 w 822604"/>
              <a:gd name="T71" fmla="*/ 237120 h 653947"/>
              <a:gd name="T72" fmla="*/ 480923 w 822604"/>
              <a:gd name="T73" fmla="*/ 275343 h 653947"/>
              <a:gd name="T74" fmla="*/ 733989 w 822604"/>
              <a:gd name="T75" fmla="*/ 275343 h 653947"/>
              <a:gd name="T76" fmla="*/ 696974 w 822604"/>
              <a:gd name="T77" fmla="*/ 238809 h 653947"/>
              <a:gd name="T78" fmla="*/ 660488 w 822604"/>
              <a:gd name="T79" fmla="*/ 203486 h 653947"/>
              <a:gd name="T80" fmla="*/ 623450 w 822604"/>
              <a:gd name="T81" fmla="*/ 168294 h 653947"/>
              <a:gd name="T82" fmla="*/ 549376 w 822604"/>
              <a:gd name="T83" fmla="*/ 99397 h 653947"/>
              <a:gd name="T84" fmla="*/ 514720 w 822604"/>
              <a:gd name="T85" fmla="*/ 77421 h 653947"/>
              <a:gd name="T86" fmla="*/ 493102 w 822604"/>
              <a:gd name="T87" fmla="*/ 74899 h 653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2604" h="653947">
                <a:moveTo>
                  <a:pt x="96018" y="0"/>
                </a:moveTo>
                <a:lnTo>
                  <a:pt x="57569" y="6762"/>
                </a:lnTo>
                <a:lnTo>
                  <a:pt x="23791" y="31803"/>
                </a:lnTo>
                <a:lnTo>
                  <a:pt x="1689" y="72959"/>
                </a:lnTo>
                <a:lnTo>
                  <a:pt x="0" y="364434"/>
                </a:lnTo>
                <a:lnTo>
                  <a:pt x="986" y="378234"/>
                </a:lnTo>
                <a:lnTo>
                  <a:pt x="16948" y="413605"/>
                </a:lnTo>
                <a:lnTo>
                  <a:pt x="57220" y="445620"/>
                </a:lnTo>
                <a:lnTo>
                  <a:pt x="476275" y="453512"/>
                </a:lnTo>
                <a:lnTo>
                  <a:pt x="426389" y="506407"/>
                </a:lnTo>
                <a:lnTo>
                  <a:pt x="403070" y="541217"/>
                </a:lnTo>
                <a:lnTo>
                  <a:pt x="402044" y="581772"/>
                </a:lnTo>
                <a:lnTo>
                  <a:pt x="427803" y="623898"/>
                </a:lnTo>
                <a:lnTo>
                  <a:pt x="469478" y="650275"/>
                </a:lnTo>
                <a:lnTo>
                  <a:pt x="494637" y="653947"/>
                </a:lnTo>
                <a:lnTo>
                  <a:pt x="506160" y="652887"/>
                </a:lnTo>
                <a:lnTo>
                  <a:pt x="552123" y="627348"/>
                </a:lnTo>
                <a:lnTo>
                  <a:pt x="638370" y="546463"/>
                </a:lnTo>
                <a:lnTo>
                  <a:pt x="675186" y="511218"/>
                </a:lnTo>
                <a:lnTo>
                  <a:pt x="711451" y="475842"/>
                </a:lnTo>
                <a:lnTo>
                  <a:pt x="822604" y="364434"/>
                </a:lnTo>
                <a:lnTo>
                  <a:pt x="733989" y="275343"/>
                </a:lnTo>
                <a:lnTo>
                  <a:pt x="185635" y="275343"/>
                </a:lnTo>
                <a:lnTo>
                  <a:pt x="185635" y="94051"/>
                </a:lnTo>
                <a:lnTo>
                  <a:pt x="178643" y="55475"/>
                </a:lnTo>
                <a:lnTo>
                  <a:pt x="152496" y="22807"/>
                </a:lnTo>
                <a:lnTo>
                  <a:pt x="109465" y="1252"/>
                </a:lnTo>
                <a:lnTo>
                  <a:pt x="96018" y="0"/>
                </a:lnTo>
                <a:close/>
              </a:path>
              <a:path w="822604" h="653947">
                <a:moveTo>
                  <a:pt x="493102" y="74899"/>
                </a:moveTo>
                <a:lnTo>
                  <a:pt x="454268" y="83468"/>
                </a:lnTo>
                <a:lnTo>
                  <a:pt x="423685" y="107223"/>
                </a:lnTo>
                <a:lnTo>
                  <a:pt x="401796" y="143331"/>
                </a:lnTo>
                <a:lnTo>
                  <a:pt x="399534" y="155112"/>
                </a:lnTo>
                <a:lnTo>
                  <a:pt x="399785" y="172261"/>
                </a:lnTo>
                <a:lnTo>
                  <a:pt x="413469" y="207985"/>
                </a:lnTo>
                <a:lnTo>
                  <a:pt x="439657" y="237120"/>
                </a:lnTo>
                <a:lnTo>
                  <a:pt x="480923" y="275343"/>
                </a:lnTo>
                <a:lnTo>
                  <a:pt x="733989" y="275343"/>
                </a:lnTo>
                <a:lnTo>
                  <a:pt x="696974" y="238809"/>
                </a:lnTo>
                <a:lnTo>
                  <a:pt x="660488" y="203486"/>
                </a:lnTo>
                <a:lnTo>
                  <a:pt x="623450" y="168294"/>
                </a:lnTo>
                <a:lnTo>
                  <a:pt x="549376" y="99397"/>
                </a:lnTo>
                <a:lnTo>
                  <a:pt x="514720" y="77421"/>
                </a:lnTo>
                <a:lnTo>
                  <a:pt x="493102" y="748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6" name="object 34">
            <a:extLst>
              <a:ext uri="{FF2B5EF4-FFF2-40B4-BE49-F238E27FC236}">
                <a16:creationId xmlns:a16="http://schemas.microsoft.com/office/drawing/2014/main" id="{567A9D04-E94C-4369-8701-4134EC596DA8}"/>
              </a:ext>
            </a:extLst>
          </p:cNvPr>
          <p:cNvSpPr>
            <a:spLocks/>
          </p:cNvSpPr>
          <p:nvPr/>
        </p:nvSpPr>
        <p:spPr bwMode="auto">
          <a:xfrm>
            <a:off x="2732810" y="2835802"/>
            <a:ext cx="4344928" cy="609702"/>
          </a:xfrm>
          <a:custGeom>
            <a:avLst/>
            <a:gdLst>
              <a:gd name="T0" fmla="*/ 0 w 7522197"/>
              <a:gd name="T1" fmla="*/ 1055636 h 1055636"/>
              <a:gd name="T2" fmla="*/ 7522197 w 7522197"/>
              <a:gd name="T3" fmla="*/ 1055636 h 1055636"/>
              <a:gd name="T4" fmla="*/ 7522197 w 7522197"/>
              <a:gd name="T5" fmla="*/ 0 h 1055636"/>
              <a:gd name="T6" fmla="*/ 0 w 7522197"/>
              <a:gd name="T7" fmla="*/ 0 h 1055636"/>
              <a:gd name="T8" fmla="*/ 0 w 7522197"/>
              <a:gd name="T9" fmla="*/ 1055636 h 1055636"/>
            </a:gdLst>
            <a:ahLst/>
            <a:cxnLst>
              <a:cxn ang="0">
                <a:pos x="T0" y="T1"/>
              </a:cxn>
              <a:cxn ang="0">
                <a:pos x="T2" y="T3"/>
              </a:cxn>
              <a:cxn ang="0">
                <a:pos x="T4" y="T5"/>
              </a:cxn>
              <a:cxn ang="0">
                <a:pos x="T6" y="T7"/>
              </a:cxn>
              <a:cxn ang="0">
                <a:pos x="T8" y="T9"/>
              </a:cxn>
            </a:cxnLst>
            <a:rect l="0" t="0" r="r" b="b"/>
            <a:pathLst>
              <a:path w="7522197" h="1055636">
                <a:moveTo>
                  <a:pt x="0" y="1055636"/>
                </a:moveTo>
                <a:lnTo>
                  <a:pt x="7522197" y="1055636"/>
                </a:lnTo>
                <a:lnTo>
                  <a:pt x="7522197"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7" name="object 35">
            <a:extLst>
              <a:ext uri="{FF2B5EF4-FFF2-40B4-BE49-F238E27FC236}">
                <a16:creationId xmlns:a16="http://schemas.microsoft.com/office/drawing/2014/main" id="{7F03B111-DBA1-405A-BD62-678C09F0F7C2}"/>
              </a:ext>
            </a:extLst>
          </p:cNvPr>
          <p:cNvSpPr>
            <a:spLocks/>
          </p:cNvSpPr>
          <p:nvPr/>
        </p:nvSpPr>
        <p:spPr bwMode="auto">
          <a:xfrm>
            <a:off x="1981200" y="1466433"/>
            <a:ext cx="474009" cy="391492"/>
          </a:xfrm>
          <a:custGeom>
            <a:avLst/>
            <a:gdLst>
              <a:gd name="T0" fmla="*/ 408900 w 820679"/>
              <a:gd name="T1" fmla="*/ 7394 h 676895"/>
              <a:gd name="T2" fmla="*/ 99441 w 820679"/>
              <a:gd name="T3" fmla="*/ 195974 h 676895"/>
              <a:gd name="T4" fmla="*/ 16408 w 820679"/>
              <a:gd name="T5" fmla="*/ 199515 h 676895"/>
              <a:gd name="T6" fmla="*/ 0 w 820679"/>
              <a:gd name="T7" fmla="*/ 206868 h 676895"/>
              <a:gd name="T8" fmla="*/ 3989 w 820679"/>
              <a:gd name="T9" fmla="*/ 582262 h 676895"/>
              <a:gd name="T10" fmla="*/ 466813 w 820679"/>
              <a:gd name="T11" fmla="*/ 676895 h 676895"/>
              <a:gd name="T12" fmla="*/ 518053 w 820679"/>
              <a:gd name="T13" fmla="*/ 663601 h 676895"/>
              <a:gd name="T14" fmla="*/ 261937 w 820679"/>
              <a:gd name="T15" fmla="*/ 629613 h 676895"/>
              <a:gd name="T16" fmla="*/ 62610 w 820679"/>
              <a:gd name="T17" fmla="*/ 559471 h 676895"/>
              <a:gd name="T18" fmla="*/ 54635 w 820679"/>
              <a:gd name="T19" fmla="*/ 246797 h 676895"/>
              <a:gd name="T20" fmla="*/ 106593 w 820679"/>
              <a:gd name="T21" fmla="*/ 245098 h 676895"/>
              <a:gd name="T22" fmla="*/ 419417 w 820679"/>
              <a:gd name="T23" fmla="*/ 53554 h 676895"/>
              <a:gd name="T24" fmla="*/ 445021 w 820679"/>
              <a:gd name="T25" fmla="*/ 47862 h 676895"/>
              <a:gd name="T26" fmla="*/ 508994 w 820679"/>
              <a:gd name="T27" fmla="*/ 47293 h 676895"/>
              <a:gd name="T28" fmla="*/ 481889 w 820679"/>
              <a:gd name="T29" fmla="*/ 7119 h 676895"/>
              <a:gd name="T30" fmla="*/ 452597 w 820679"/>
              <a:gd name="T31" fmla="*/ 0 h 676895"/>
              <a:gd name="T32" fmla="*/ 533438 w 820679"/>
              <a:gd name="T33" fmla="*/ 513404 h 676895"/>
              <a:gd name="T34" fmla="*/ 443991 w 820679"/>
              <a:gd name="T35" fmla="*/ 520038 h 676895"/>
              <a:gd name="T36" fmla="*/ 427570 w 820679"/>
              <a:gd name="T37" fmla="*/ 527391 h 676895"/>
              <a:gd name="T38" fmla="*/ 434924 w 820679"/>
              <a:gd name="T39" fmla="*/ 567332 h 676895"/>
              <a:gd name="T40" fmla="*/ 497166 w 820679"/>
              <a:gd name="T41" fmla="*/ 616697 h 676895"/>
              <a:gd name="T42" fmla="*/ 542308 w 820679"/>
              <a:gd name="T43" fmla="*/ 629613 h 676895"/>
              <a:gd name="T44" fmla="*/ 544368 w 820679"/>
              <a:gd name="T45" fmla="*/ 618291 h 676895"/>
              <a:gd name="T46" fmla="*/ 559905 w 820679"/>
              <a:gd name="T47" fmla="*/ 552547 h 676895"/>
              <a:gd name="T48" fmla="*/ 585233 w 820679"/>
              <a:gd name="T49" fmla="*/ 509344 h 676895"/>
              <a:gd name="T50" fmla="*/ 537997 w 820679"/>
              <a:gd name="T51" fmla="*/ 507668 h 676895"/>
              <a:gd name="T52" fmla="*/ 587082 w 820679"/>
              <a:gd name="T53" fmla="*/ 328572 h 676895"/>
              <a:gd name="T54" fmla="*/ 584326 w 820679"/>
              <a:gd name="T55" fmla="*/ 393919 h 676895"/>
              <a:gd name="T56" fmla="*/ 557311 w 820679"/>
              <a:gd name="T57" fmla="*/ 406900 h 676895"/>
              <a:gd name="T58" fmla="*/ 480707 w 820679"/>
              <a:gd name="T59" fmla="*/ 407211 h 676895"/>
              <a:gd name="T60" fmla="*/ 473354 w 820679"/>
              <a:gd name="T61" fmla="*/ 447140 h 676895"/>
              <a:gd name="T62" fmla="*/ 538022 w 820679"/>
              <a:gd name="T63" fmla="*/ 454493 h 676895"/>
              <a:gd name="T64" fmla="*/ 585233 w 820679"/>
              <a:gd name="T65" fmla="*/ 509344 h 676895"/>
              <a:gd name="T66" fmla="*/ 600873 w 820679"/>
              <a:gd name="T67" fmla="*/ 441738 h 676895"/>
              <a:gd name="T68" fmla="*/ 634365 w 820679"/>
              <a:gd name="T69" fmla="*/ 391374 h 676895"/>
              <a:gd name="T70" fmla="*/ 814483 w 820679"/>
              <a:gd name="T71" fmla="*/ 207529 h 676895"/>
              <a:gd name="T72" fmla="*/ 758812 w 820679"/>
              <a:gd name="T73" fmla="*/ 208011 h 676895"/>
              <a:gd name="T74" fmla="*/ 769645 w 820679"/>
              <a:gd name="T75" fmla="*/ 221790 h 676895"/>
              <a:gd name="T76" fmla="*/ 772560 w 820679"/>
              <a:gd name="T77" fmla="*/ 252140 h 676895"/>
              <a:gd name="T78" fmla="*/ 480656 w 820679"/>
              <a:gd name="T79" fmla="*/ 281341 h 676895"/>
              <a:gd name="T80" fmla="*/ 473354 w 820679"/>
              <a:gd name="T81" fmla="*/ 321219 h 676895"/>
              <a:gd name="T82" fmla="*/ 752233 w 820679"/>
              <a:gd name="T83" fmla="*/ 328572 h 676895"/>
              <a:gd name="T84" fmla="*/ 797220 w 820679"/>
              <a:gd name="T85" fmla="*/ 310025 h 676895"/>
              <a:gd name="T86" fmla="*/ 756818 w 820679"/>
              <a:gd name="T87" fmla="*/ 281341 h 676895"/>
              <a:gd name="T88" fmla="*/ 816697 w 820679"/>
              <a:gd name="T89" fmla="*/ 277225 h 676895"/>
              <a:gd name="T90" fmla="*/ 820679 w 820679"/>
              <a:gd name="T91" fmla="*/ 252140 h 676895"/>
              <a:gd name="T92" fmla="*/ 818137 w 820679"/>
              <a:gd name="T93" fmla="*/ 221232 h 676895"/>
              <a:gd name="T94" fmla="*/ 814483 w 820679"/>
              <a:gd name="T95" fmla="*/ 207529 h 676895"/>
              <a:gd name="T96" fmla="*/ 458825 w 820679"/>
              <a:gd name="T97" fmla="*/ 47293 h 676895"/>
              <a:gd name="T98" fmla="*/ 464011 w 820679"/>
              <a:gd name="T99" fmla="*/ 56407 h 676895"/>
              <a:gd name="T100" fmla="*/ 464483 w 820679"/>
              <a:gd name="T101" fmla="*/ 82045 h 676895"/>
              <a:gd name="T102" fmla="*/ 435543 w 820679"/>
              <a:gd name="T103" fmla="*/ 124802 h 676895"/>
              <a:gd name="T104" fmla="*/ 395198 w 820679"/>
              <a:gd name="T105" fmla="*/ 160272 h 676895"/>
              <a:gd name="T106" fmla="*/ 343363 w 820679"/>
              <a:gd name="T107" fmla="*/ 161202 h 676895"/>
              <a:gd name="T108" fmla="*/ 318023 w 820679"/>
              <a:gd name="T109" fmla="*/ 175500 h 676895"/>
              <a:gd name="T110" fmla="*/ 329970 w 820679"/>
              <a:gd name="T111" fmla="*/ 203199 h 676895"/>
              <a:gd name="T112" fmla="*/ 354685 w 820679"/>
              <a:gd name="T113" fmla="*/ 207553 h 676895"/>
              <a:gd name="T114" fmla="*/ 782510 w 820679"/>
              <a:gd name="T115" fmla="*/ 168567 h 676895"/>
              <a:gd name="T116" fmla="*/ 478600 w 820679"/>
              <a:gd name="T117" fmla="*/ 148393 h 676895"/>
              <a:gd name="T118" fmla="*/ 513100 w 820679"/>
              <a:gd name="T119" fmla="*/ 81787 h 676895"/>
              <a:gd name="T120" fmla="*/ 508994 w 820679"/>
              <a:gd name="T121" fmla="*/ 47293 h 676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58" name="object 36">
            <a:extLst>
              <a:ext uri="{FF2B5EF4-FFF2-40B4-BE49-F238E27FC236}">
                <a16:creationId xmlns:a16="http://schemas.microsoft.com/office/drawing/2014/main" id="{9FEEBD8D-55C5-40A0-AF50-8EC6DF01F360}"/>
              </a:ext>
            </a:extLst>
          </p:cNvPr>
          <p:cNvSpPr>
            <a:spLocks/>
          </p:cNvSpPr>
          <p:nvPr/>
        </p:nvSpPr>
        <p:spPr bwMode="auto">
          <a:xfrm>
            <a:off x="2732810" y="3798489"/>
            <a:ext cx="4344928" cy="609702"/>
          </a:xfrm>
          <a:custGeom>
            <a:avLst/>
            <a:gdLst>
              <a:gd name="T0" fmla="*/ 0 w 7522197"/>
              <a:gd name="T1" fmla="*/ 1055636 h 1055636"/>
              <a:gd name="T2" fmla="*/ 7522197 w 7522197"/>
              <a:gd name="T3" fmla="*/ 1055636 h 1055636"/>
              <a:gd name="T4" fmla="*/ 7522197 w 7522197"/>
              <a:gd name="T5" fmla="*/ 0 h 1055636"/>
              <a:gd name="T6" fmla="*/ 0 w 7522197"/>
              <a:gd name="T7" fmla="*/ 0 h 1055636"/>
              <a:gd name="T8" fmla="*/ 0 w 7522197"/>
              <a:gd name="T9" fmla="*/ 1055636 h 1055636"/>
            </a:gdLst>
            <a:ahLst/>
            <a:cxnLst>
              <a:cxn ang="0">
                <a:pos x="T0" y="T1"/>
              </a:cxn>
              <a:cxn ang="0">
                <a:pos x="T2" y="T3"/>
              </a:cxn>
              <a:cxn ang="0">
                <a:pos x="T4" y="T5"/>
              </a:cxn>
              <a:cxn ang="0">
                <a:pos x="T6" y="T7"/>
              </a:cxn>
              <a:cxn ang="0">
                <a:pos x="T8" y="T9"/>
              </a:cxn>
            </a:cxnLst>
            <a:rect l="0" t="0" r="r" b="b"/>
            <a:pathLst>
              <a:path w="7522197" h="1055636">
                <a:moveTo>
                  <a:pt x="0" y="1055636"/>
                </a:moveTo>
                <a:lnTo>
                  <a:pt x="7522197" y="1055636"/>
                </a:lnTo>
                <a:lnTo>
                  <a:pt x="7522197"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7060" name="object 38">
            <a:extLst>
              <a:ext uri="{FF2B5EF4-FFF2-40B4-BE49-F238E27FC236}">
                <a16:creationId xmlns:a16="http://schemas.microsoft.com/office/drawing/2014/main" id="{09935310-F4DD-4990-87E6-891ED2103236}"/>
              </a:ext>
            </a:extLst>
          </p:cNvPr>
          <p:cNvSpPr>
            <a:spLocks/>
          </p:cNvSpPr>
          <p:nvPr/>
        </p:nvSpPr>
        <p:spPr bwMode="auto">
          <a:xfrm>
            <a:off x="1987989" y="4355029"/>
            <a:ext cx="474009" cy="390576"/>
          </a:xfrm>
          <a:custGeom>
            <a:avLst/>
            <a:gdLst>
              <a:gd name="T0" fmla="*/ 408900 w 820679"/>
              <a:gd name="T1" fmla="*/ 7394 h 676895"/>
              <a:gd name="T2" fmla="*/ 99441 w 820679"/>
              <a:gd name="T3" fmla="*/ 195974 h 676895"/>
              <a:gd name="T4" fmla="*/ 16408 w 820679"/>
              <a:gd name="T5" fmla="*/ 199515 h 676895"/>
              <a:gd name="T6" fmla="*/ 0 w 820679"/>
              <a:gd name="T7" fmla="*/ 206868 h 676895"/>
              <a:gd name="T8" fmla="*/ 3989 w 820679"/>
              <a:gd name="T9" fmla="*/ 582262 h 676895"/>
              <a:gd name="T10" fmla="*/ 466813 w 820679"/>
              <a:gd name="T11" fmla="*/ 676895 h 676895"/>
              <a:gd name="T12" fmla="*/ 518053 w 820679"/>
              <a:gd name="T13" fmla="*/ 663601 h 676895"/>
              <a:gd name="T14" fmla="*/ 261937 w 820679"/>
              <a:gd name="T15" fmla="*/ 629613 h 676895"/>
              <a:gd name="T16" fmla="*/ 62610 w 820679"/>
              <a:gd name="T17" fmla="*/ 559471 h 676895"/>
              <a:gd name="T18" fmla="*/ 54635 w 820679"/>
              <a:gd name="T19" fmla="*/ 246797 h 676895"/>
              <a:gd name="T20" fmla="*/ 106593 w 820679"/>
              <a:gd name="T21" fmla="*/ 245098 h 676895"/>
              <a:gd name="T22" fmla="*/ 419417 w 820679"/>
              <a:gd name="T23" fmla="*/ 53554 h 676895"/>
              <a:gd name="T24" fmla="*/ 445021 w 820679"/>
              <a:gd name="T25" fmla="*/ 47862 h 676895"/>
              <a:gd name="T26" fmla="*/ 508994 w 820679"/>
              <a:gd name="T27" fmla="*/ 47293 h 676895"/>
              <a:gd name="T28" fmla="*/ 481889 w 820679"/>
              <a:gd name="T29" fmla="*/ 7119 h 676895"/>
              <a:gd name="T30" fmla="*/ 452597 w 820679"/>
              <a:gd name="T31" fmla="*/ 0 h 676895"/>
              <a:gd name="T32" fmla="*/ 533438 w 820679"/>
              <a:gd name="T33" fmla="*/ 513404 h 676895"/>
              <a:gd name="T34" fmla="*/ 443991 w 820679"/>
              <a:gd name="T35" fmla="*/ 520038 h 676895"/>
              <a:gd name="T36" fmla="*/ 427570 w 820679"/>
              <a:gd name="T37" fmla="*/ 527391 h 676895"/>
              <a:gd name="T38" fmla="*/ 434924 w 820679"/>
              <a:gd name="T39" fmla="*/ 567332 h 676895"/>
              <a:gd name="T40" fmla="*/ 497166 w 820679"/>
              <a:gd name="T41" fmla="*/ 616697 h 676895"/>
              <a:gd name="T42" fmla="*/ 542308 w 820679"/>
              <a:gd name="T43" fmla="*/ 629613 h 676895"/>
              <a:gd name="T44" fmla="*/ 544368 w 820679"/>
              <a:gd name="T45" fmla="*/ 618291 h 676895"/>
              <a:gd name="T46" fmla="*/ 559905 w 820679"/>
              <a:gd name="T47" fmla="*/ 552547 h 676895"/>
              <a:gd name="T48" fmla="*/ 585233 w 820679"/>
              <a:gd name="T49" fmla="*/ 509344 h 676895"/>
              <a:gd name="T50" fmla="*/ 537997 w 820679"/>
              <a:gd name="T51" fmla="*/ 507668 h 676895"/>
              <a:gd name="T52" fmla="*/ 587082 w 820679"/>
              <a:gd name="T53" fmla="*/ 328572 h 676895"/>
              <a:gd name="T54" fmla="*/ 584326 w 820679"/>
              <a:gd name="T55" fmla="*/ 393919 h 676895"/>
              <a:gd name="T56" fmla="*/ 557311 w 820679"/>
              <a:gd name="T57" fmla="*/ 406900 h 676895"/>
              <a:gd name="T58" fmla="*/ 480707 w 820679"/>
              <a:gd name="T59" fmla="*/ 407211 h 676895"/>
              <a:gd name="T60" fmla="*/ 473354 w 820679"/>
              <a:gd name="T61" fmla="*/ 447140 h 676895"/>
              <a:gd name="T62" fmla="*/ 538022 w 820679"/>
              <a:gd name="T63" fmla="*/ 454493 h 676895"/>
              <a:gd name="T64" fmla="*/ 585233 w 820679"/>
              <a:gd name="T65" fmla="*/ 509344 h 676895"/>
              <a:gd name="T66" fmla="*/ 600873 w 820679"/>
              <a:gd name="T67" fmla="*/ 441738 h 676895"/>
              <a:gd name="T68" fmla="*/ 634365 w 820679"/>
              <a:gd name="T69" fmla="*/ 391374 h 676895"/>
              <a:gd name="T70" fmla="*/ 814483 w 820679"/>
              <a:gd name="T71" fmla="*/ 207529 h 676895"/>
              <a:gd name="T72" fmla="*/ 758812 w 820679"/>
              <a:gd name="T73" fmla="*/ 208011 h 676895"/>
              <a:gd name="T74" fmla="*/ 769645 w 820679"/>
              <a:gd name="T75" fmla="*/ 221790 h 676895"/>
              <a:gd name="T76" fmla="*/ 772560 w 820679"/>
              <a:gd name="T77" fmla="*/ 252140 h 676895"/>
              <a:gd name="T78" fmla="*/ 480656 w 820679"/>
              <a:gd name="T79" fmla="*/ 281341 h 676895"/>
              <a:gd name="T80" fmla="*/ 473354 w 820679"/>
              <a:gd name="T81" fmla="*/ 321219 h 676895"/>
              <a:gd name="T82" fmla="*/ 752233 w 820679"/>
              <a:gd name="T83" fmla="*/ 328572 h 676895"/>
              <a:gd name="T84" fmla="*/ 797220 w 820679"/>
              <a:gd name="T85" fmla="*/ 310025 h 676895"/>
              <a:gd name="T86" fmla="*/ 756818 w 820679"/>
              <a:gd name="T87" fmla="*/ 281341 h 676895"/>
              <a:gd name="T88" fmla="*/ 816697 w 820679"/>
              <a:gd name="T89" fmla="*/ 277225 h 676895"/>
              <a:gd name="T90" fmla="*/ 820679 w 820679"/>
              <a:gd name="T91" fmla="*/ 252140 h 676895"/>
              <a:gd name="T92" fmla="*/ 818137 w 820679"/>
              <a:gd name="T93" fmla="*/ 221232 h 676895"/>
              <a:gd name="T94" fmla="*/ 814483 w 820679"/>
              <a:gd name="T95" fmla="*/ 207529 h 676895"/>
              <a:gd name="T96" fmla="*/ 458825 w 820679"/>
              <a:gd name="T97" fmla="*/ 47293 h 676895"/>
              <a:gd name="T98" fmla="*/ 464011 w 820679"/>
              <a:gd name="T99" fmla="*/ 56407 h 676895"/>
              <a:gd name="T100" fmla="*/ 464483 w 820679"/>
              <a:gd name="T101" fmla="*/ 82045 h 676895"/>
              <a:gd name="T102" fmla="*/ 435543 w 820679"/>
              <a:gd name="T103" fmla="*/ 124802 h 676895"/>
              <a:gd name="T104" fmla="*/ 395198 w 820679"/>
              <a:gd name="T105" fmla="*/ 160272 h 676895"/>
              <a:gd name="T106" fmla="*/ 343363 w 820679"/>
              <a:gd name="T107" fmla="*/ 161202 h 676895"/>
              <a:gd name="T108" fmla="*/ 318023 w 820679"/>
              <a:gd name="T109" fmla="*/ 175500 h 676895"/>
              <a:gd name="T110" fmla="*/ 329970 w 820679"/>
              <a:gd name="T111" fmla="*/ 203199 h 676895"/>
              <a:gd name="T112" fmla="*/ 354685 w 820679"/>
              <a:gd name="T113" fmla="*/ 207553 h 676895"/>
              <a:gd name="T114" fmla="*/ 782510 w 820679"/>
              <a:gd name="T115" fmla="*/ 168567 h 676895"/>
              <a:gd name="T116" fmla="*/ 478600 w 820679"/>
              <a:gd name="T117" fmla="*/ 148393 h 676895"/>
              <a:gd name="T118" fmla="*/ 513100 w 820679"/>
              <a:gd name="T119" fmla="*/ 81787 h 676895"/>
              <a:gd name="T120" fmla="*/ 508994 w 820679"/>
              <a:gd name="T121" fmla="*/ 47293 h 676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9" name="object 39">
            <a:extLst>
              <a:ext uri="{FF2B5EF4-FFF2-40B4-BE49-F238E27FC236}">
                <a16:creationId xmlns:a16="http://schemas.microsoft.com/office/drawing/2014/main" id="{32461DE3-9CB9-4D2E-AE86-0223363A29B8}"/>
              </a:ext>
            </a:extLst>
          </p:cNvPr>
          <p:cNvSpPr>
            <a:spLocks noGrp="1"/>
          </p:cNvSpPr>
          <p:nvPr>
            <p:ph type="ftr" sz="quarter" idx="11"/>
          </p:nvPr>
        </p:nvSpPr>
        <p:spPr/>
        <p:txBody>
          <a:bodyPr vert="horz" wrap="square" lIns="0" tIns="0" rIns="0" bIns="0" numCol="1" rtlCol="0" anchor="t" anchorCtr="0" compatLnSpc="1">
            <a:prstTxWarp prst="textNoShape">
              <a:avLst/>
            </a:prstTxWarp>
            <a:noAutofit/>
          </a:bodyPr>
          <a:lstStyle/>
          <a:p>
            <a:pPr marL="7334">
              <a:defRPr/>
            </a:pPr>
            <a:r>
              <a:rPr sz="1213" b="1" spc="-9" dirty="0">
                <a:solidFill>
                  <a:srgbClr val="FFFFFF"/>
                </a:solidFill>
                <a:latin typeface="Gill Sans"/>
                <a:cs typeface="Gill Sans"/>
              </a:rPr>
              <a:t>S</a:t>
            </a:r>
            <a:r>
              <a:rPr sz="1213" b="1" dirty="0">
                <a:solidFill>
                  <a:srgbClr val="FFFFFF"/>
                </a:solidFill>
                <a:latin typeface="Gill Sans"/>
                <a:cs typeface="Gill Sans"/>
              </a:rPr>
              <a:t>e</a:t>
            </a:r>
            <a:r>
              <a:rPr sz="1213" b="1" spc="9" dirty="0">
                <a:solidFill>
                  <a:srgbClr val="FFFFFF"/>
                </a:solidFill>
                <a:latin typeface="Gill Sans"/>
                <a:cs typeface="Gill Sans"/>
              </a:rPr>
              <a:t>c</a:t>
            </a:r>
            <a:r>
              <a:rPr sz="1213" b="1" spc="12" dirty="0">
                <a:solidFill>
                  <a:srgbClr val="FFFFFF"/>
                </a:solidFill>
                <a:latin typeface="Gill Sans"/>
                <a:cs typeface="Gill Sans"/>
              </a:rPr>
              <a:t>t</a:t>
            </a:r>
            <a:r>
              <a:rPr sz="1213" b="1" spc="-6" dirty="0">
                <a:solidFill>
                  <a:srgbClr val="FFFFFF"/>
                </a:solidFill>
                <a:latin typeface="Gill Sans"/>
                <a:cs typeface="Gill Sans"/>
              </a:rPr>
              <a:t>i</a:t>
            </a:r>
            <a:r>
              <a:rPr sz="1213" b="1" dirty="0">
                <a:solidFill>
                  <a:srgbClr val="FFFFFF"/>
                </a:solidFill>
                <a:latin typeface="Gill Sans"/>
                <a:cs typeface="Gill Sans"/>
              </a:rPr>
              <a:t>on</a:t>
            </a:r>
            <a:r>
              <a:rPr sz="1213" b="1" spc="3" dirty="0">
                <a:solidFill>
                  <a:srgbClr val="FFFFFF"/>
                </a:solidFill>
                <a:latin typeface="Gill Sans"/>
                <a:cs typeface="Gill Sans"/>
              </a:rPr>
              <a:t> </a:t>
            </a:r>
            <a:r>
              <a:rPr sz="1213" b="1" spc="9" dirty="0">
                <a:solidFill>
                  <a:srgbClr val="FFFFFF"/>
                </a:solidFill>
                <a:latin typeface="Gill Sans"/>
                <a:cs typeface="Gill Sans"/>
              </a:rPr>
              <a:t>B</a:t>
            </a:r>
            <a:r>
              <a:rPr sz="1213" b="1" dirty="0">
                <a:solidFill>
                  <a:srgbClr val="FFFFFF"/>
                </a:solidFill>
                <a:latin typeface="Gill Sans"/>
                <a:cs typeface="Gill Sans"/>
              </a:rPr>
              <a:t>:</a:t>
            </a:r>
            <a:endParaRPr sz="1213">
              <a:latin typeface="Gill Sans"/>
              <a:cs typeface="Gill Sans"/>
            </a:endParaRPr>
          </a:p>
        </p:txBody>
      </p:sp>
      <p:sp>
        <p:nvSpPr>
          <p:cNvPr id="24" name="Content Placeholder 2">
            <a:extLst>
              <a:ext uri="{FF2B5EF4-FFF2-40B4-BE49-F238E27FC236}">
                <a16:creationId xmlns:a16="http://schemas.microsoft.com/office/drawing/2014/main" id="{4380DFD6-D091-480B-8A9A-91F777F32133}"/>
              </a:ext>
            </a:extLst>
          </p:cNvPr>
          <p:cNvSpPr>
            <a:spLocks noGrp="1"/>
          </p:cNvSpPr>
          <p:nvPr>
            <p:ph idx="1"/>
          </p:nvPr>
        </p:nvSpPr>
        <p:spPr>
          <a:xfrm>
            <a:off x="2602639" y="1346845"/>
            <a:ext cx="6570224" cy="4525547"/>
          </a:xfrm>
        </p:spPr>
        <p:txBody>
          <a:bodyPr/>
          <a:lstStyle/>
          <a:p>
            <a:pPr>
              <a:lnSpc>
                <a:spcPct val="150000"/>
              </a:lnSpc>
            </a:pPr>
            <a:r>
              <a:rPr lang="en-US" sz="2400" dirty="0" err="1"/>
              <a:t>စကားနှင</a:t>
            </a:r>
            <a:r>
              <a:rPr lang="en-US" sz="2400" dirty="0"/>
              <a:t>့်</a:t>
            </a:r>
            <a:r>
              <a:rPr lang="en-US" sz="2400" dirty="0" err="1"/>
              <a:t>မဖော်ပြသော</a:t>
            </a:r>
            <a:r>
              <a:rPr lang="en-US" sz="2400" dirty="0"/>
              <a:t> </a:t>
            </a:r>
            <a:r>
              <a:rPr lang="en-US" sz="2400" dirty="0" err="1"/>
              <a:t>အပြုအမူ</a:t>
            </a:r>
            <a:endParaRPr lang="en-US" sz="2400" dirty="0"/>
          </a:p>
          <a:p>
            <a:pPr lvl="1">
              <a:lnSpc>
                <a:spcPct val="150000"/>
              </a:lnSpc>
            </a:pPr>
            <a:r>
              <a:rPr lang="en-US" sz="2000" dirty="0" err="1"/>
              <a:t>အာမေဋိတ်စကား</a:t>
            </a:r>
            <a:r>
              <a:rPr lang="en-US" sz="2000" dirty="0"/>
              <a:t>.. </a:t>
            </a:r>
            <a:r>
              <a:rPr lang="en-US" sz="2000" dirty="0" err="1"/>
              <a:t>ဟုတ်ကဲ</a:t>
            </a:r>
            <a:r>
              <a:rPr lang="en-US" sz="2000" dirty="0"/>
              <a:t>့၊ </a:t>
            </a:r>
            <a:r>
              <a:rPr lang="en-US" sz="2000" dirty="0" err="1"/>
              <a:t>ဟုတ်လား</a:t>
            </a:r>
            <a:r>
              <a:rPr lang="en-US" sz="2000" dirty="0"/>
              <a:t>၊ </a:t>
            </a:r>
            <a:r>
              <a:rPr lang="en-US" sz="2000" dirty="0" err="1"/>
              <a:t>ကောင်းတာပေ</a:t>
            </a:r>
            <a:r>
              <a:rPr lang="en-US" sz="2000" dirty="0"/>
              <a:t>ါ့၊ </a:t>
            </a:r>
            <a:r>
              <a:rPr lang="en-US" sz="2000" dirty="0" err="1"/>
              <a:t>ဘယ်လို</a:t>
            </a:r>
            <a:r>
              <a:rPr lang="en-US" sz="2000" dirty="0"/>
              <a:t>၊ </a:t>
            </a:r>
            <a:r>
              <a:rPr lang="en-US" sz="2000" dirty="0" err="1"/>
              <a:t>ပြီးတော့ရော</a:t>
            </a:r>
            <a:r>
              <a:rPr lang="en-US" sz="2000" dirty="0"/>
              <a:t>၊ </a:t>
            </a:r>
            <a:r>
              <a:rPr lang="en-US" sz="2000" dirty="0" err="1"/>
              <a:t>အင်း</a:t>
            </a:r>
            <a:r>
              <a:rPr lang="en-US" sz="2000" dirty="0"/>
              <a:t>၊ </a:t>
            </a:r>
            <a:r>
              <a:rPr lang="en-US" sz="2000" dirty="0" err="1"/>
              <a:t>ဟင</a:t>
            </a:r>
            <a:r>
              <a:rPr lang="en-US" sz="2000" dirty="0"/>
              <a:t>့်</a:t>
            </a:r>
            <a:r>
              <a:rPr lang="en-US" sz="2000" dirty="0" err="1"/>
              <a:t>အင်း</a:t>
            </a:r>
            <a:r>
              <a:rPr lang="en-US" sz="2000" dirty="0"/>
              <a:t>၊…</a:t>
            </a:r>
          </a:p>
          <a:p>
            <a:pPr>
              <a:lnSpc>
                <a:spcPct val="150000"/>
              </a:lnSpc>
            </a:pPr>
            <a:r>
              <a:rPr lang="en-US" sz="2400" dirty="0" err="1"/>
              <a:t>စကားနှင</a:t>
            </a:r>
            <a:r>
              <a:rPr lang="en-US" sz="2400" dirty="0"/>
              <a:t>့်</a:t>
            </a:r>
            <a:r>
              <a:rPr lang="en-US" sz="2400" dirty="0" err="1"/>
              <a:t>ဖော်ပြသော</a:t>
            </a:r>
            <a:r>
              <a:rPr lang="en-US" sz="2400" dirty="0"/>
              <a:t> </a:t>
            </a:r>
            <a:r>
              <a:rPr lang="en-US" sz="2400" dirty="0" err="1"/>
              <a:t>အပြုအမူ</a:t>
            </a:r>
            <a:endParaRPr lang="en-US" sz="2400" dirty="0"/>
          </a:p>
          <a:p>
            <a:pPr lvl="1">
              <a:lnSpc>
                <a:spcPct val="150000"/>
              </a:lnSpc>
            </a:pPr>
            <a:r>
              <a:rPr lang="en-US" sz="2000" dirty="0" err="1"/>
              <a:t>ခန္ဓာကိုယ်အနေအထား</a:t>
            </a:r>
            <a:r>
              <a:rPr lang="en-US" sz="2000" dirty="0"/>
              <a:t>၊ </a:t>
            </a:r>
            <a:r>
              <a:rPr lang="en-US" sz="2000" dirty="0" err="1"/>
              <a:t>မျက်နှာအနေအထား</a:t>
            </a:r>
            <a:r>
              <a:rPr lang="en-US" sz="2000" dirty="0"/>
              <a:t>၊ </a:t>
            </a:r>
            <a:r>
              <a:rPr lang="en-US" sz="2000" dirty="0" err="1"/>
              <a:t>အသံအနေအထား</a:t>
            </a:r>
            <a:endParaRPr lang="en-US" sz="2000" dirty="0"/>
          </a:p>
          <a:p>
            <a:pPr>
              <a:lnSpc>
                <a:spcPct val="150000"/>
              </a:lnSpc>
            </a:pPr>
            <a:r>
              <a:rPr lang="en-US" sz="2400" dirty="0" err="1"/>
              <a:t>ချီးကျူးခြင်း</a:t>
            </a:r>
            <a:endParaRPr lang="en-US" sz="2400" dirty="0"/>
          </a:p>
          <a:p>
            <a:pPr lvl="1">
              <a:lnSpc>
                <a:spcPct val="150000"/>
              </a:lnSpc>
            </a:pPr>
            <a:r>
              <a:rPr lang="en-US" sz="2000" dirty="0"/>
              <a:t> </a:t>
            </a:r>
            <a:r>
              <a:rPr lang="en-US" sz="2000" dirty="0" err="1">
                <a:solidFill>
                  <a:srgbClr val="231F20"/>
                </a:solidFill>
                <a:latin typeface="Gill Sans Light"/>
              </a:rPr>
              <a:t>နွေးထွေးမှုနှင</a:t>
            </a:r>
            <a:r>
              <a:rPr lang="en-US" sz="2000" dirty="0">
                <a:solidFill>
                  <a:srgbClr val="231F20"/>
                </a:solidFill>
                <a:latin typeface="Gill Sans Light"/>
              </a:rPr>
              <a:t>့် </a:t>
            </a:r>
            <a:r>
              <a:rPr lang="en-US" sz="2000" dirty="0" err="1">
                <a:solidFill>
                  <a:srgbClr val="231F20"/>
                </a:solidFill>
                <a:latin typeface="Gill Sans Light"/>
              </a:rPr>
              <a:t>စိတ်အားတက်စေမည</a:t>
            </a:r>
            <a:r>
              <a:rPr lang="en-US" sz="2000" dirty="0">
                <a:solidFill>
                  <a:srgbClr val="231F20"/>
                </a:solidFill>
                <a:latin typeface="Gill Sans Light"/>
              </a:rPr>
              <a:t>့် </a:t>
            </a:r>
            <a:r>
              <a:rPr lang="en-US" sz="2000" dirty="0" err="1">
                <a:solidFill>
                  <a:srgbClr val="231F20"/>
                </a:solidFill>
                <a:latin typeface="Gill Sans Light"/>
              </a:rPr>
              <a:t>စကားပြောခြင်း</a:t>
            </a:r>
            <a:endParaRPr lang="en-US" sz="2000" dirty="0"/>
          </a:p>
          <a:p>
            <a:pPr>
              <a:lnSpc>
                <a:spcPct val="150000"/>
              </a:lnSpc>
            </a:pPr>
            <a:endParaRPr lang="en-US" sz="2400" dirty="0"/>
          </a:p>
        </p:txBody>
      </p:sp>
      <p:sp>
        <p:nvSpPr>
          <p:cNvPr id="25" name="object 33">
            <a:extLst>
              <a:ext uri="{FF2B5EF4-FFF2-40B4-BE49-F238E27FC236}">
                <a16:creationId xmlns:a16="http://schemas.microsoft.com/office/drawing/2014/main" id="{033DBD84-3796-4C18-9782-4F0D94402721}"/>
              </a:ext>
            </a:extLst>
          </p:cNvPr>
          <p:cNvSpPr txBox="1"/>
          <p:nvPr/>
        </p:nvSpPr>
        <p:spPr>
          <a:xfrm>
            <a:off x="228600" y="2541800"/>
            <a:ext cx="2365460" cy="430000"/>
          </a:xfrm>
          <a:prstGeom prst="rect">
            <a:avLst/>
          </a:prstGeom>
        </p:spPr>
        <p:txBody>
          <a:bodyPr lIns="0" tIns="0" rIns="0" bIns="0"/>
          <a:lstStyle/>
          <a:p>
            <a:pPr marL="7334">
              <a:defRPr/>
            </a:pPr>
            <a:r>
              <a:rPr lang="en-US" sz="2772" dirty="0" err="1">
                <a:solidFill>
                  <a:srgbClr val="231F20"/>
                </a:solidFill>
                <a:latin typeface="Gill Sans"/>
                <a:cs typeface="Gill Sans"/>
              </a:rPr>
              <a:t>ခွန်အားပေးခြင်း</a:t>
            </a:r>
            <a:endParaRPr lang="en-US" sz="2772" dirty="0">
              <a:solidFill>
                <a:srgbClr val="231F20"/>
              </a:solidFill>
              <a:latin typeface="Gill Sans"/>
              <a:cs typeface="Gill Sans"/>
            </a:endParaRPr>
          </a:p>
        </p:txBody>
      </p:sp>
      <p:sp>
        <p:nvSpPr>
          <p:cNvPr id="22" name="object 24">
            <a:extLst>
              <a:ext uri="{FF2B5EF4-FFF2-40B4-BE49-F238E27FC236}">
                <a16:creationId xmlns:a16="http://schemas.microsoft.com/office/drawing/2014/main" id="{1BFC0585-BC36-4C24-B236-F9ED04ED6B0E}"/>
              </a:ext>
            </a:extLst>
          </p:cNvPr>
          <p:cNvSpPr/>
          <p:nvPr/>
        </p:nvSpPr>
        <p:spPr>
          <a:xfrm>
            <a:off x="489111" y="994777"/>
            <a:ext cx="1182446" cy="1264329"/>
          </a:xfrm>
          <a:custGeom>
            <a:avLst/>
            <a:gdLst/>
            <a:ahLst/>
            <a:cxnLst/>
            <a:rect l="l" t="t" r="r" b="b"/>
            <a:pathLst>
              <a:path w="2217597" h="2373960">
                <a:moveTo>
                  <a:pt x="2217597" y="0"/>
                </a:moveTo>
                <a:lnTo>
                  <a:pt x="0" y="0"/>
                </a:lnTo>
                <a:lnTo>
                  <a:pt x="0" y="2373960"/>
                </a:lnTo>
                <a:lnTo>
                  <a:pt x="1784577" y="2373366"/>
                </a:lnTo>
                <a:lnTo>
                  <a:pt x="1852812" y="2371955"/>
                </a:lnTo>
                <a:lnTo>
                  <a:pt x="1913474" y="2369208"/>
                </a:lnTo>
                <a:lnTo>
                  <a:pt x="1967007" y="2364678"/>
                </a:lnTo>
                <a:lnTo>
                  <a:pt x="2013858" y="2357922"/>
                </a:lnTo>
                <a:lnTo>
                  <a:pt x="2054472" y="2348492"/>
                </a:lnTo>
                <a:lnTo>
                  <a:pt x="2118772" y="2319831"/>
                </a:lnTo>
                <a:lnTo>
                  <a:pt x="2163470" y="2275132"/>
                </a:lnTo>
                <a:lnTo>
                  <a:pt x="2192130" y="2210831"/>
                </a:lnTo>
                <a:lnTo>
                  <a:pt x="2201560" y="2170216"/>
                </a:lnTo>
                <a:lnTo>
                  <a:pt x="2208316" y="2123364"/>
                </a:lnTo>
                <a:lnTo>
                  <a:pt x="2212845" y="2069829"/>
                </a:lnTo>
                <a:lnTo>
                  <a:pt x="2215593" y="2009167"/>
                </a:lnTo>
                <a:lnTo>
                  <a:pt x="2217003" y="1940930"/>
                </a:lnTo>
                <a:lnTo>
                  <a:pt x="2217523" y="1864675"/>
                </a:lnTo>
                <a:lnTo>
                  <a:pt x="2217597" y="0"/>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23" name="object 25">
            <a:extLst>
              <a:ext uri="{FF2B5EF4-FFF2-40B4-BE49-F238E27FC236}">
                <a16:creationId xmlns:a16="http://schemas.microsoft.com/office/drawing/2014/main" id="{A65B0536-987C-457C-A66F-871772AFEF02}"/>
              </a:ext>
            </a:extLst>
          </p:cNvPr>
          <p:cNvSpPr txBox="1"/>
          <p:nvPr/>
        </p:nvSpPr>
        <p:spPr>
          <a:xfrm>
            <a:off x="473517" y="1649405"/>
            <a:ext cx="1177859" cy="328230"/>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sz="1900" b="1">
                <a:solidFill>
                  <a:srgbClr val="FFFFFF"/>
                </a:solidFill>
                <a:latin typeface="Zawgyi-One" pitchFamily="34" charset="0"/>
                <a:cs typeface="Zawgyi-One" pitchFamily="34" charset="0"/>
              </a:rPr>
              <a:t>နားေထာင္ပါ</a:t>
            </a:r>
            <a:endParaRPr lang="en-US" sz="1900">
              <a:latin typeface="Zawgyi-One" pitchFamily="34" charset="0"/>
              <a:cs typeface="Zawgyi-One" pitchFamily="34" charset="0"/>
            </a:endParaRPr>
          </a:p>
        </p:txBody>
      </p:sp>
      <p:sp>
        <p:nvSpPr>
          <p:cNvPr id="28" name="object 27">
            <a:extLst>
              <a:ext uri="{FF2B5EF4-FFF2-40B4-BE49-F238E27FC236}">
                <a16:creationId xmlns:a16="http://schemas.microsoft.com/office/drawing/2014/main" id="{9C511AD9-5763-48BB-9664-88A6622A31F5}"/>
              </a:ext>
            </a:extLst>
          </p:cNvPr>
          <p:cNvSpPr/>
          <p:nvPr/>
        </p:nvSpPr>
        <p:spPr>
          <a:xfrm>
            <a:off x="877145" y="1126803"/>
            <a:ext cx="313729" cy="483177"/>
          </a:xfrm>
          <a:custGeom>
            <a:avLst/>
            <a:gdLst/>
            <a:ahLst/>
            <a:cxnLst/>
            <a:rect l="l" t="t"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29" name="object 28">
            <a:extLst>
              <a:ext uri="{FF2B5EF4-FFF2-40B4-BE49-F238E27FC236}">
                <a16:creationId xmlns:a16="http://schemas.microsoft.com/office/drawing/2014/main" id="{F7AE78B1-664C-425C-88FD-AE7136B581AB}"/>
              </a:ext>
            </a:extLst>
          </p:cNvPr>
          <p:cNvSpPr/>
          <p:nvPr/>
        </p:nvSpPr>
        <p:spPr>
          <a:xfrm>
            <a:off x="942275" y="1190982"/>
            <a:ext cx="167873" cy="275053"/>
          </a:xfrm>
          <a:custGeom>
            <a:avLst/>
            <a:gdLst/>
            <a:ahLst/>
            <a:cxnLst/>
            <a:rect l="l" t="t"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0" name="object 29">
            <a:extLst>
              <a:ext uri="{FF2B5EF4-FFF2-40B4-BE49-F238E27FC236}">
                <a16:creationId xmlns:a16="http://schemas.microsoft.com/office/drawing/2014/main" id="{20EF2BE9-7AED-4ADD-9138-7415269D211A}"/>
              </a:ext>
            </a:extLst>
          </p:cNvPr>
          <p:cNvSpPr/>
          <p:nvPr/>
        </p:nvSpPr>
        <p:spPr>
          <a:xfrm>
            <a:off x="1207386" y="1134138"/>
            <a:ext cx="137600" cy="63262"/>
          </a:xfrm>
          <a:custGeom>
            <a:avLst/>
            <a:gdLst/>
            <a:ahLst/>
            <a:cxnLst/>
            <a:rect l="l" t="t"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1" name="object 30">
            <a:extLst>
              <a:ext uri="{FF2B5EF4-FFF2-40B4-BE49-F238E27FC236}">
                <a16:creationId xmlns:a16="http://schemas.microsoft.com/office/drawing/2014/main" id="{CDC1FA0E-D8CD-4378-ADA5-6F0511B31F8E}"/>
              </a:ext>
            </a:extLst>
          </p:cNvPr>
          <p:cNvSpPr/>
          <p:nvPr/>
        </p:nvSpPr>
        <p:spPr>
          <a:xfrm>
            <a:off x="1215641" y="1288167"/>
            <a:ext cx="144022" cy="28422"/>
          </a:xfrm>
          <a:custGeom>
            <a:avLst/>
            <a:gdLst/>
            <a:ahLst/>
            <a:cxnLst/>
            <a:rect l="l" t="t"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2" name="object 31">
            <a:extLst>
              <a:ext uri="{FF2B5EF4-FFF2-40B4-BE49-F238E27FC236}">
                <a16:creationId xmlns:a16="http://schemas.microsoft.com/office/drawing/2014/main" id="{25616BAF-79E6-4D32-B2B7-F82C836079A5}"/>
              </a:ext>
            </a:extLst>
          </p:cNvPr>
          <p:cNvSpPr/>
          <p:nvPr/>
        </p:nvSpPr>
        <p:spPr>
          <a:xfrm>
            <a:off x="1178031" y="1397272"/>
            <a:ext cx="127509" cy="88017"/>
          </a:xfrm>
          <a:custGeom>
            <a:avLst/>
            <a:gdLst/>
            <a:ahLst/>
            <a:cxnLst/>
            <a:rect l="l" t="t"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Tree>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8201897" y="518934"/>
            <a:ext cx="294464" cy="291557"/>
          </a:xfrm>
          <a:prstGeom prst="rect">
            <a:avLst/>
          </a:prstGeom>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b="1">
                <a:solidFill>
                  <a:srgbClr val="ED1C24"/>
                </a:solidFill>
                <a:latin typeface="Gill Sans"/>
                <a:ea typeface="Gill Sans"/>
                <a:cs typeface="Gill Sans"/>
              </a:rPr>
              <a:t>76</a:t>
            </a:r>
            <a:endParaRPr lang="en-US" altLang="en-US">
              <a:solidFill>
                <a:srgbClr val="075109"/>
              </a:solidFill>
              <a:latin typeface="Gill Sans"/>
              <a:ea typeface="Gill Sans"/>
              <a:cs typeface="Gill Sans"/>
            </a:endParaRPr>
          </a:p>
        </p:txBody>
      </p:sp>
      <p:sp>
        <p:nvSpPr>
          <p:cNvPr id="24" name="object 24"/>
          <p:cNvSpPr/>
          <p:nvPr/>
        </p:nvSpPr>
        <p:spPr>
          <a:xfrm>
            <a:off x="851287" y="994777"/>
            <a:ext cx="1182446" cy="1264329"/>
          </a:xfrm>
          <a:custGeom>
            <a:avLst/>
            <a:gdLst/>
            <a:ahLst/>
            <a:cxnLst/>
            <a:rect l="l" t="t" r="r" b="b"/>
            <a:pathLst>
              <a:path w="2217597" h="2373960">
                <a:moveTo>
                  <a:pt x="2217597" y="0"/>
                </a:moveTo>
                <a:lnTo>
                  <a:pt x="0" y="0"/>
                </a:lnTo>
                <a:lnTo>
                  <a:pt x="0" y="2373960"/>
                </a:lnTo>
                <a:lnTo>
                  <a:pt x="1784577" y="2373366"/>
                </a:lnTo>
                <a:lnTo>
                  <a:pt x="1852812" y="2371955"/>
                </a:lnTo>
                <a:lnTo>
                  <a:pt x="1913474" y="2369208"/>
                </a:lnTo>
                <a:lnTo>
                  <a:pt x="1967007" y="2364678"/>
                </a:lnTo>
                <a:lnTo>
                  <a:pt x="2013858" y="2357922"/>
                </a:lnTo>
                <a:lnTo>
                  <a:pt x="2054472" y="2348492"/>
                </a:lnTo>
                <a:lnTo>
                  <a:pt x="2118772" y="2319831"/>
                </a:lnTo>
                <a:lnTo>
                  <a:pt x="2163470" y="2275132"/>
                </a:lnTo>
                <a:lnTo>
                  <a:pt x="2192130" y="2210831"/>
                </a:lnTo>
                <a:lnTo>
                  <a:pt x="2201560" y="2170216"/>
                </a:lnTo>
                <a:lnTo>
                  <a:pt x="2208316" y="2123364"/>
                </a:lnTo>
                <a:lnTo>
                  <a:pt x="2212845" y="2069829"/>
                </a:lnTo>
                <a:lnTo>
                  <a:pt x="2215593" y="2009167"/>
                </a:lnTo>
                <a:lnTo>
                  <a:pt x="2217003" y="1940930"/>
                </a:lnTo>
                <a:lnTo>
                  <a:pt x="2217523" y="1864675"/>
                </a:lnTo>
                <a:lnTo>
                  <a:pt x="2217597" y="0"/>
                </a:lnTo>
                <a:close/>
              </a:path>
            </a:pathLst>
          </a:custGeom>
          <a:solidFill>
            <a:srgbClr val="ED1C24"/>
          </a:solidFill>
        </p:spPr>
        <p:txBody>
          <a:bodyPr lIns="0" tIns="0" rIns="0" bIns="0"/>
          <a:lstStyle/>
          <a:p>
            <a:pPr>
              <a:defRPr/>
            </a:pPr>
            <a:endParaRPr sz="2100"/>
          </a:p>
        </p:txBody>
      </p:sp>
      <p:sp>
        <p:nvSpPr>
          <p:cNvPr id="25" name="object 25"/>
          <p:cNvSpPr txBox="1"/>
          <p:nvPr/>
        </p:nvSpPr>
        <p:spPr>
          <a:xfrm>
            <a:off x="835693" y="1649405"/>
            <a:ext cx="1177859" cy="328230"/>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my-MM" sz="1900" b="1">
                <a:solidFill>
                  <a:srgbClr val="FFFFFF"/>
                </a:solidFill>
                <a:latin typeface="Zawgyi-One" pitchFamily="34" charset="0"/>
                <a:cs typeface="Zawgyi-One" pitchFamily="34" charset="0"/>
              </a:rPr>
              <a:t>နားေထာင္ပါ</a:t>
            </a:r>
            <a:endParaRPr lang="my-MM" sz="1900">
              <a:latin typeface="Zawgyi-One" pitchFamily="34" charset="0"/>
              <a:cs typeface="Zawgyi-One" pitchFamily="34" charset="0"/>
            </a:endParaRPr>
          </a:p>
        </p:txBody>
      </p:sp>
      <p:sp>
        <p:nvSpPr>
          <p:cNvPr id="154631" name="object 26"/>
          <p:cNvSpPr txBox="1">
            <a:spLocks noChangeArrowheads="1"/>
          </p:cNvSpPr>
          <p:nvPr/>
        </p:nvSpPr>
        <p:spPr bwMode="auto">
          <a:xfrm>
            <a:off x="2247472" y="1070875"/>
            <a:ext cx="4843531" cy="984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my-MM" altLang="en-US" sz="3100">
                <a:solidFill>
                  <a:srgbClr val="ED1C24"/>
                </a:solidFill>
                <a:latin typeface="Zawgyi-One" pitchFamily="34" charset="0"/>
                <a:ea typeface="SimHei" pitchFamily="49" charset="-122"/>
                <a:cs typeface="Zawgyi-One" pitchFamily="34" charset="0"/>
              </a:rPr>
              <a:t>တက္ၾကြစြာနားေထာင္ျခင္း..</a:t>
            </a:r>
            <a:endParaRPr lang="my-MM" altLang="en-US" sz="3100">
              <a:solidFill>
                <a:srgbClr val="075109"/>
              </a:solidFill>
              <a:latin typeface="Zawgyi-One" pitchFamily="34" charset="0"/>
              <a:ea typeface="SimHei" pitchFamily="49" charset="-122"/>
              <a:cs typeface="Zawgyi-One" pitchFamily="34" charset="0"/>
            </a:endParaRPr>
          </a:p>
        </p:txBody>
      </p:sp>
      <p:sp>
        <p:nvSpPr>
          <p:cNvPr id="27" name="object 27"/>
          <p:cNvSpPr/>
          <p:nvPr/>
        </p:nvSpPr>
        <p:spPr>
          <a:xfrm>
            <a:off x="1239321" y="1126803"/>
            <a:ext cx="313729" cy="483177"/>
          </a:xfrm>
          <a:custGeom>
            <a:avLst/>
            <a:gdLst/>
            <a:ahLst/>
            <a:cxnLst/>
            <a:rect l="l" t="t"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p:spPr>
        <p:txBody>
          <a:bodyPr lIns="0" tIns="0" rIns="0" bIns="0"/>
          <a:lstStyle/>
          <a:p>
            <a:pPr>
              <a:defRPr/>
            </a:pPr>
            <a:endParaRPr sz="2100"/>
          </a:p>
        </p:txBody>
      </p:sp>
      <p:sp>
        <p:nvSpPr>
          <p:cNvPr id="28" name="object 28"/>
          <p:cNvSpPr/>
          <p:nvPr/>
        </p:nvSpPr>
        <p:spPr>
          <a:xfrm>
            <a:off x="1304451" y="1190982"/>
            <a:ext cx="167873" cy="275053"/>
          </a:xfrm>
          <a:custGeom>
            <a:avLst/>
            <a:gdLst/>
            <a:ahLst/>
            <a:cxnLst/>
            <a:rect l="l" t="t"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p:spPr>
        <p:txBody>
          <a:bodyPr lIns="0" tIns="0" rIns="0" bIns="0"/>
          <a:lstStyle/>
          <a:p>
            <a:pPr>
              <a:defRPr/>
            </a:pPr>
            <a:endParaRPr sz="2100"/>
          </a:p>
        </p:txBody>
      </p:sp>
      <p:sp>
        <p:nvSpPr>
          <p:cNvPr id="29" name="object 29"/>
          <p:cNvSpPr/>
          <p:nvPr/>
        </p:nvSpPr>
        <p:spPr>
          <a:xfrm>
            <a:off x="1569562" y="1134138"/>
            <a:ext cx="137600" cy="63262"/>
          </a:xfrm>
          <a:custGeom>
            <a:avLst/>
            <a:gdLst/>
            <a:ahLst/>
            <a:cxnLst/>
            <a:rect l="l" t="t"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p:spPr>
        <p:txBody>
          <a:bodyPr lIns="0" tIns="0" rIns="0" bIns="0"/>
          <a:lstStyle/>
          <a:p>
            <a:pPr>
              <a:defRPr/>
            </a:pPr>
            <a:endParaRPr sz="2100"/>
          </a:p>
        </p:txBody>
      </p:sp>
      <p:sp>
        <p:nvSpPr>
          <p:cNvPr id="30" name="object 30"/>
          <p:cNvSpPr/>
          <p:nvPr/>
        </p:nvSpPr>
        <p:spPr>
          <a:xfrm>
            <a:off x="1577817" y="1288167"/>
            <a:ext cx="144022" cy="28422"/>
          </a:xfrm>
          <a:custGeom>
            <a:avLst/>
            <a:gdLst/>
            <a:ahLst/>
            <a:cxnLst/>
            <a:rect l="l" t="t"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p:spPr>
        <p:txBody>
          <a:bodyPr lIns="0" tIns="0" rIns="0" bIns="0"/>
          <a:lstStyle/>
          <a:p>
            <a:pPr>
              <a:defRPr/>
            </a:pPr>
            <a:endParaRPr sz="2100"/>
          </a:p>
        </p:txBody>
      </p:sp>
      <p:sp>
        <p:nvSpPr>
          <p:cNvPr id="31" name="object 31"/>
          <p:cNvSpPr/>
          <p:nvPr/>
        </p:nvSpPr>
        <p:spPr>
          <a:xfrm>
            <a:off x="1540207" y="1397272"/>
            <a:ext cx="127509" cy="88017"/>
          </a:xfrm>
          <a:custGeom>
            <a:avLst/>
            <a:gdLst/>
            <a:ahLst/>
            <a:cxnLst/>
            <a:rect l="l" t="t"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p:spPr>
        <p:txBody>
          <a:bodyPr lIns="0" tIns="0" rIns="0" bIns="0"/>
          <a:lstStyle/>
          <a:p>
            <a:pPr>
              <a:defRPr/>
            </a:pPr>
            <a:endParaRPr sz="2100"/>
          </a:p>
        </p:txBody>
      </p:sp>
      <p:sp>
        <p:nvSpPr>
          <p:cNvPr id="154637" name="object 32"/>
          <p:cNvSpPr txBox="1">
            <a:spLocks noChangeArrowheads="1"/>
          </p:cNvSpPr>
          <p:nvPr/>
        </p:nvSpPr>
        <p:spPr bwMode="auto">
          <a:xfrm>
            <a:off x="355009" y="2411302"/>
            <a:ext cx="2227291" cy="1000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sz="1600">
                <a:solidFill>
                  <a:srgbClr val="231F20"/>
                </a:solidFill>
                <a:latin typeface="Zawgyi-One" pitchFamily="34" charset="0"/>
                <a:ea typeface="SimHei" pitchFamily="49" charset="-122"/>
                <a:cs typeface="Zawgyi-One" pitchFamily="34" charset="0"/>
              </a:rPr>
              <a:t>၄. </a:t>
            </a:r>
            <a:r>
              <a:rPr lang="my-MM" altLang="en-US" sz="1600">
                <a:solidFill>
                  <a:srgbClr val="231F20"/>
                </a:solidFill>
                <a:latin typeface="Zawgyi-One" pitchFamily="34" charset="0"/>
                <a:ea typeface="SimHei" pitchFamily="49" charset="-122"/>
                <a:cs typeface="Zawgyi-One" pitchFamily="34" charset="0"/>
              </a:rPr>
              <a:t>ေမးခြန္းေမးျခင္း ႏွင့္ ေသခ်ာရွင္းလင္းျခင္း</a:t>
            </a:r>
            <a:endParaRPr lang="en-US" altLang="en-US" sz="1600">
              <a:solidFill>
                <a:srgbClr val="075109"/>
              </a:solidFill>
              <a:latin typeface="Zawgyi-One" pitchFamily="34" charset="0"/>
              <a:ea typeface="SimHei" pitchFamily="49" charset="-122"/>
              <a:cs typeface="Zawgyi-One" pitchFamily="34" charset="0"/>
            </a:endParaRPr>
          </a:p>
        </p:txBody>
      </p:sp>
      <p:sp>
        <p:nvSpPr>
          <p:cNvPr id="33" name="object 33"/>
          <p:cNvSpPr/>
          <p:nvPr/>
        </p:nvSpPr>
        <p:spPr>
          <a:xfrm>
            <a:off x="851288" y="3482177"/>
            <a:ext cx="439404" cy="348401"/>
          </a:xfrm>
          <a:custGeom>
            <a:avLst/>
            <a:gdLst/>
            <a:ahLst/>
            <a:cxnLst/>
            <a:rect l="l" t="t" r="r" b="b"/>
            <a:pathLst>
              <a:path w="822604" h="653947">
                <a:moveTo>
                  <a:pt x="96018" y="0"/>
                </a:moveTo>
                <a:lnTo>
                  <a:pt x="57569" y="6762"/>
                </a:lnTo>
                <a:lnTo>
                  <a:pt x="23791" y="31803"/>
                </a:lnTo>
                <a:lnTo>
                  <a:pt x="1689" y="72959"/>
                </a:lnTo>
                <a:lnTo>
                  <a:pt x="0" y="364434"/>
                </a:lnTo>
                <a:lnTo>
                  <a:pt x="986" y="378234"/>
                </a:lnTo>
                <a:lnTo>
                  <a:pt x="16948" y="413605"/>
                </a:lnTo>
                <a:lnTo>
                  <a:pt x="57220" y="445620"/>
                </a:lnTo>
                <a:lnTo>
                  <a:pt x="476275" y="453512"/>
                </a:lnTo>
                <a:lnTo>
                  <a:pt x="426389" y="506407"/>
                </a:lnTo>
                <a:lnTo>
                  <a:pt x="403070" y="541217"/>
                </a:lnTo>
                <a:lnTo>
                  <a:pt x="402044" y="581772"/>
                </a:lnTo>
                <a:lnTo>
                  <a:pt x="427803" y="623898"/>
                </a:lnTo>
                <a:lnTo>
                  <a:pt x="469478" y="650275"/>
                </a:lnTo>
                <a:lnTo>
                  <a:pt x="494637" y="653947"/>
                </a:lnTo>
                <a:lnTo>
                  <a:pt x="506160" y="652887"/>
                </a:lnTo>
                <a:lnTo>
                  <a:pt x="552123" y="627348"/>
                </a:lnTo>
                <a:lnTo>
                  <a:pt x="638370" y="546463"/>
                </a:lnTo>
                <a:lnTo>
                  <a:pt x="675186" y="511218"/>
                </a:lnTo>
                <a:lnTo>
                  <a:pt x="711451" y="475842"/>
                </a:lnTo>
                <a:lnTo>
                  <a:pt x="822604" y="364434"/>
                </a:lnTo>
                <a:lnTo>
                  <a:pt x="733989" y="275343"/>
                </a:lnTo>
                <a:lnTo>
                  <a:pt x="185635" y="275343"/>
                </a:lnTo>
                <a:lnTo>
                  <a:pt x="185635" y="94051"/>
                </a:lnTo>
                <a:lnTo>
                  <a:pt x="178643" y="55475"/>
                </a:lnTo>
                <a:lnTo>
                  <a:pt x="152496" y="22807"/>
                </a:lnTo>
                <a:lnTo>
                  <a:pt x="109465" y="1252"/>
                </a:lnTo>
                <a:lnTo>
                  <a:pt x="96018" y="0"/>
                </a:lnTo>
                <a:close/>
              </a:path>
              <a:path w="822604" h="653947">
                <a:moveTo>
                  <a:pt x="493102" y="74899"/>
                </a:moveTo>
                <a:lnTo>
                  <a:pt x="454268" y="83468"/>
                </a:lnTo>
                <a:lnTo>
                  <a:pt x="423685" y="107223"/>
                </a:lnTo>
                <a:lnTo>
                  <a:pt x="401796" y="143331"/>
                </a:lnTo>
                <a:lnTo>
                  <a:pt x="399534" y="155112"/>
                </a:lnTo>
                <a:lnTo>
                  <a:pt x="399785" y="172261"/>
                </a:lnTo>
                <a:lnTo>
                  <a:pt x="413469" y="207985"/>
                </a:lnTo>
                <a:lnTo>
                  <a:pt x="439657" y="237120"/>
                </a:lnTo>
                <a:lnTo>
                  <a:pt x="480923" y="275343"/>
                </a:lnTo>
                <a:lnTo>
                  <a:pt x="733989" y="275343"/>
                </a:lnTo>
                <a:lnTo>
                  <a:pt x="696974" y="238809"/>
                </a:lnTo>
                <a:lnTo>
                  <a:pt x="660488" y="203486"/>
                </a:lnTo>
                <a:lnTo>
                  <a:pt x="623450" y="168294"/>
                </a:lnTo>
                <a:lnTo>
                  <a:pt x="549376" y="99397"/>
                </a:lnTo>
                <a:lnTo>
                  <a:pt x="514720" y="77421"/>
                </a:lnTo>
                <a:lnTo>
                  <a:pt x="493102" y="74899"/>
                </a:lnTo>
                <a:close/>
              </a:path>
            </a:pathLst>
          </a:custGeom>
          <a:solidFill>
            <a:srgbClr val="000000"/>
          </a:solidFill>
        </p:spPr>
        <p:txBody>
          <a:bodyPr lIns="0" tIns="0" rIns="0" bIns="0"/>
          <a:lstStyle/>
          <a:p>
            <a:pPr>
              <a:defRPr/>
            </a:pPr>
            <a:endParaRPr sz="2100"/>
          </a:p>
        </p:txBody>
      </p:sp>
      <p:sp>
        <p:nvSpPr>
          <p:cNvPr id="34" name="object 34"/>
          <p:cNvSpPr/>
          <p:nvPr/>
        </p:nvSpPr>
        <p:spPr>
          <a:xfrm>
            <a:off x="3554676" y="2259106"/>
            <a:ext cx="4958198" cy="891173"/>
          </a:xfrm>
          <a:custGeom>
            <a:avLst/>
            <a:gdLst/>
            <a:ahLst/>
            <a:cxnLst/>
            <a:rect l="l" t="t" r="r" b="b"/>
            <a:pathLst>
              <a:path w="7522197" h="1674012">
                <a:moveTo>
                  <a:pt x="0" y="1674012"/>
                </a:moveTo>
                <a:lnTo>
                  <a:pt x="7522197" y="1674012"/>
                </a:lnTo>
                <a:lnTo>
                  <a:pt x="7522197" y="0"/>
                </a:lnTo>
                <a:lnTo>
                  <a:pt x="0" y="0"/>
                </a:lnTo>
                <a:lnTo>
                  <a:pt x="0" y="1674012"/>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5" name="object 35"/>
          <p:cNvSpPr/>
          <p:nvPr/>
        </p:nvSpPr>
        <p:spPr>
          <a:xfrm>
            <a:off x="3554676" y="3296058"/>
            <a:ext cx="4958198" cy="891173"/>
          </a:xfrm>
          <a:custGeom>
            <a:avLst/>
            <a:gdLst/>
            <a:ahLst/>
            <a:cxnLst/>
            <a:rect l="l" t="t" r="r" b="b"/>
            <a:pathLst>
              <a:path w="7522197" h="1674012">
                <a:moveTo>
                  <a:pt x="0" y="1674012"/>
                </a:moveTo>
                <a:lnTo>
                  <a:pt x="7522197" y="1674012"/>
                </a:lnTo>
                <a:lnTo>
                  <a:pt x="7522197" y="0"/>
                </a:lnTo>
                <a:lnTo>
                  <a:pt x="0" y="0"/>
                </a:lnTo>
                <a:lnTo>
                  <a:pt x="0" y="1674012"/>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154641" name="object 36"/>
          <p:cNvSpPr txBox="1">
            <a:spLocks noChangeArrowheads="1"/>
          </p:cNvSpPr>
          <p:nvPr/>
        </p:nvSpPr>
        <p:spPr bwMode="auto">
          <a:xfrm>
            <a:off x="3728969" y="2399384"/>
            <a:ext cx="4488522" cy="595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a:solidFill>
                  <a:srgbClr val="231F20"/>
                </a:solidFill>
                <a:latin typeface="Zawgyi-One" pitchFamily="34" charset="0"/>
                <a:ea typeface="SimHei" pitchFamily="49" charset="-122"/>
                <a:cs typeface="Zawgyi-One" pitchFamily="34" charset="0"/>
              </a:rPr>
              <a:t>အဖြင့္ေမးခြန္းမ်ားအသံုးျပဳပါ။ (ဥပမာ-ျဖစ္ပ်က္တဲ့အခါ သင္ဘယ္မွာလဲ။</a:t>
            </a:r>
            <a:endParaRPr lang="en-US" altLang="en-US">
              <a:solidFill>
                <a:srgbClr val="075109"/>
              </a:solidFill>
              <a:latin typeface="Zawgyi-One" pitchFamily="34" charset="0"/>
              <a:ea typeface="SimHei" pitchFamily="49" charset="-122"/>
              <a:cs typeface="Zawgyi-One" pitchFamily="34" charset="0"/>
            </a:endParaRPr>
          </a:p>
        </p:txBody>
      </p:sp>
      <p:sp>
        <p:nvSpPr>
          <p:cNvPr id="37" name="object 37"/>
          <p:cNvSpPr/>
          <p:nvPr/>
        </p:nvSpPr>
        <p:spPr>
          <a:xfrm>
            <a:off x="2940977" y="2419554"/>
            <a:ext cx="411884" cy="362153"/>
          </a:xfrm>
          <a:custGeom>
            <a:avLst/>
            <a:gdLst/>
            <a:ahLst/>
            <a:cxnLst/>
            <a:rect l="l" t="t"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5" y="245099"/>
                </a:lnTo>
                <a:lnTo>
                  <a:pt x="119374" y="240784"/>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9" y="207541"/>
                </a:moveTo>
                <a:lnTo>
                  <a:pt x="752271" y="207541"/>
                </a:lnTo>
                <a:lnTo>
                  <a:pt x="758812" y="208011"/>
                </a:lnTo>
                <a:lnTo>
                  <a:pt x="763930" y="212964"/>
                </a:lnTo>
                <a:lnTo>
                  <a:pt x="769643" y="221787"/>
                </a:lnTo>
                <a:lnTo>
                  <a:pt x="772838" y="234638"/>
                </a:lnTo>
                <a:lnTo>
                  <a:pt x="772559" y="252139"/>
                </a:lnTo>
                <a:lnTo>
                  <a:pt x="756818" y="281341"/>
                </a:lnTo>
                <a:lnTo>
                  <a:pt x="480656" y="281341"/>
                </a:lnTo>
                <a:lnTo>
                  <a:pt x="473354" y="288631"/>
                </a:lnTo>
                <a:lnTo>
                  <a:pt x="473354" y="321219"/>
                </a:lnTo>
                <a:lnTo>
                  <a:pt x="480707" y="328572"/>
                </a:lnTo>
                <a:lnTo>
                  <a:pt x="752233" y="328572"/>
                </a:lnTo>
                <a:lnTo>
                  <a:pt x="760149" y="328412"/>
                </a:lnTo>
                <a:lnTo>
                  <a:pt x="797221" y="310024"/>
                </a:lnTo>
                <a:lnTo>
                  <a:pt x="815086" y="281341"/>
                </a:lnTo>
                <a:lnTo>
                  <a:pt x="756818" y="281341"/>
                </a:lnTo>
                <a:lnTo>
                  <a:pt x="815106" y="281290"/>
                </a:lnTo>
                <a:lnTo>
                  <a:pt x="816699" y="277221"/>
                </a:lnTo>
                <a:lnTo>
                  <a:pt x="819444" y="265100"/>
                </a:lnTo>
                <a:lnTo>
                  <a:pt x="820679" y="252139"/>
                </a:lnTo>
                <a:lnTo>
                  <a:pt x="820072" y="235727"/>
                </a:lnTo>
                <a:lnTo>
                  <a:pt x="818137" y="221231"/>
                </a:lnTo>
                <a:lnTo>
                  <a:pt x="814884" y="208504"/>
                </a:lnTo>
                <a:lnTo>
                  <a:pt x="814489" y="207541"/>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9" y="207541"/>
                </a:lnTo>
                <a:lnTo>
                  <a:pt x="782509" y="168566"/>
                </a:lnTo>
                <a:lnTo>
                  <a:pt x="467271" y="160272"/>
                </a:lnTo>
                <a:lnTo>
                  <a:pt x="478600" y="148393"/>
                </a:lnTo>
                <a:lnTo>
                  <a:pt x="503066" y="114028"/>
                </a:lnTo>
                <a:lnTo>
                  <a:pt x="513100" y="81787"/>
                </a:lnTo>
                <a:lnTo>
                  <a:pt x="511515" y="57783"/>
                </a:lnTo>
                <a:lnTo>
                  <a:pt x="508994" y="47293"/>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38" name="object 38"/>
          <p:cNvSpPr/>
          <p:nvPr/>
        </p:nvSpPr>
        <p:spPr>
          <a:xfrm>
            <a:off x="2940977" y="3456506"/>
            <a:ext cx="411884" cy="360320"/>
          </a:xfrm>
          <a:custGeom>
            <a:avLst/>
            <a:gdLst/>
            <a:ahLst/>
            <a:cxnLst/>
            <a:rect l="l" t="t"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39" name="object 39"/>
          <p:cNvSpPr/>
          <p:nvPr/>
        </p:nvSpPr>
        <p:spPr>
          <a:xfrm>
            <a:off x="3554676" y="4331176"/>
            <a:ext cx="4958198" cy="562026"/>
          </a:xfrm>
          <a:custGeom>
            <a:avLst/>
            <a:gdLst/>
            <a:ahLst/>
            <a:cxnLst/>
            <a:rect l="l" t="t" r="r" b="b"/>
            <a:pathLst>
              <a:path w="7522197" h="1055636">
                <a:moveTo>
                  <a:pt x="0" y="1055636"/>
                </a:moveTo>
                <a:lnTo>
                  <a:pt x="7522197" y="1055636"/>
                </a:lnTo>
                <a:lnTo>
                  <a:pt x="7522197" y="0"/>
                </a:lnTo>
                <a:lnTo>
                  <a:pt x="0" y="0"/>
                </a:lnTo>
                <a:lnTo>
                  <a:pt x="0" y="1055636"/>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154645" name="object 40"/>
          <p:cNvSpPr txBox="1">
            <a:spLocks noChangeArrowheads="1"/>
          </p:cNvSpPr>
          <p:nvPr/>
        </p:nvSpPr>
        <p:spPr bwMode="auto">
          <a:xfrm>
            <a:off x="3728969" y="3436335"/>
            <a:ext cx="4537141" cy="1318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a:solidFill>
                  <a:srgbClr val="231F20"/>
                </a:solidFill>
                <a:latin typeface="Zawgyi-One" pitchFamily="34" charset="0"/>
                <a:ea typeface="SimHei" pitchFamily="49" charset="-122"/>
                <a:cs typeface="Zawgyi-One" pitchFamily="34" charset="0"/>
              </a:rPr>
              <a:t>ကေလး၏အေတြ႔အၾကံဳ၊ အာေဘာ္ ႏွင့္ သင့္ေလ်ာ္ေသာေခါင္းစဥ္ကို ေစ့စပ္ေသခ်ာပါ</a:t>
            </a:r>
            <a:endParaRPr lang="en-US" altLang="en-US">
              <a:solidFill>
                <a:srgbClr val="075109"/>
              </a:solidFill>
              <a:latin typeface="Zawgyi-One" pitchFamily="34" charset="0"/>
              <a:ea typeface="SimHei" pitchFamily="49" charset="-122"/>
              <a:cs typeface="Zawgyi-One" pitchFamily="34" charset="0"/>
            </a:endParaRPr>
          </a:p>
          <a:p>
            <a:pPr>
              <a:lnSpc>
                <a:spcPts val="534"/>
              </a:lnSpc>
            </a:pPr>
            <a:endParaRPr lang="en-US" altLang="en-US" sz="400">
              <a:solidFill>
                <a:srgbClr val="075109"/>
              </a:solidFill>
              <a:latin typeface="Zawgyi-One" pitchFamily="34" charset="0"/>
              <a:ea typeface="SimHei" pitchFamily="49" charset="-122"/>
              <a:cs typeface="Zawgyi-One" pitchFamily="34" charset="0"/>
            </a:endParaRPr>
          </a:p>
          <a:p>
            <a:pPr>
              <a:lnSpc>
                <a:spcPts val="534"/>
              </a:lnSpc>
            </a:pPr>
            <a:endParaRPr lang="en-US" altLang="en-US" sz="400">
              <a:solidFill>
                <a:srgbClr val="075109"/>
              </a:solidFill>
              <a:latin typeface="Zawgyi-One" pitchFamily="34" charset="0"/>
              <a:ea typeface="SimHei" pitchFamily="49" charset="-122"/>
              <a:cs typeface="Zawgyi-One" pitchFamily="34" charset="0"/>
            </a:endParaRPr>
          </a:p>
          <a:p>
            <a:pPr>
              <a:lnSpc>
                <a:spcPts val="534"/>
              </a:lnSpc>
            </a:pPr>
            <a:endParaRPr lang="en-US" altLang="en-US" sz="400">
              <a:solidFill>
                <a:srgbClr val="075109"/>
              </a:solidFill>
              <a:latin typeface="Zawgyi-One" pitchFamily="34" charset="0"/>
              <a:ea typeface="SimHei" pitchFamily="49" charset="-122"/>
              <a:cs typeface="Zawgyi-One" pitchFamily="34" charset="0"/>
            </a:endParaRPr>
          </a:p>
          <a:p>
            <a:pPr>
              <a:lnSpc>
                <a:spcPts val="534"/>
              </a:lnSpc>
            </a:pPr>
            <a:endParaRPr lang="en-US" altLang="en-US" sz="400">
              <a:solidFill>
                <a:srgbClr val="075109"/>
              </a:solidFill>
              <a:latin typeface="Zawgyi-One" pitchFamily="34" charset="0"/>
              <a:ea typeface="SimHei" pitchFamily="49" charset="-122"/>
              <a:cs typeface="Zawgyi-One" pitchFamily="34" charset="0"/>
            </a:endParaRPr>
          </a:p>
          <a:p>
            <a:pPr>
              <a:lnSpc>
                <a:spcPts val="534"/>
              </a:lnSpc>
            </a:pPr>
            <a:endParaRPr lang="en-US" altLang="en-US" sz="400">
              <a:solidFill>
                <a:srgbClr val="075109"/>
              </a:solidFill>
              <a:latin typeface="Zawgyi-One" pitchFamily="34" charset="0"/>
              <a:ea typeface="SimHei" pitchFamily="49" charset="-122"/>
              <a:cs typeface="Zawgyi-One" pitchFamily="34" charset="0"/>
            </a:endParaRPr>
          </a:p>
          <a:p>
            <a:pPr>
              <a:lnSpc>
                <a:spcPts val="693"/>
              </a:lnSpc>
              <a:spcBef>
                <a:spcPts val="58"/>
              </a:spcBef>
            </a:pPr>
            <a:endParaRPr lang="en-US" altLang="en-US" sz="600">
              <a:solidFill>
                <a:srgbClr val="075109"/>
              </a:solidFill>
              <a:latin typeface="Zawgyi-One" pitchFamily="34" charset="0"/>
              <a:ea typeface="SimHei" pitchFamily="49" charset="-122"/>
              <a:cs typeface="Zawgyi-One" pitchFamily="34" charset="0"/>
            </a:endParaRPr>
          </a:p>
          <a:p>
            <a:r>
              <a:rPr lang="my-MM" altLang="en-US">
                <a:solidFill>
                  <a:srgbClr val="231F20"/>
                </a:solidFill>
                <a:latin typeface="Zawgyi-One" pitchFamily="34" charset="0"/>
                <a:ea typeface="SimHei" pitchFamily="49" charset="-122"/>
                <a:cs typeface="Zawgyi-One" pitchFamily="34" charset="0"/>
              </a:rPr>
              <a:t>ထိုးႏႈိက္စမ္းၾကည့္</a:t>
            </a:r>
            <a:r>
              <a:rPr lang="en-US" altLang="en-US">
                <a:solidFill>
                  <a:srgbClr val="231F20"/>
                </a:solidFill>
                <a:latin typeface="Zawgyi-One" pitchFamily="34" charset="0"/>
                <a:ea typeface="SimHei" pitchFamily="49" charset="-122"/>
                <a:cs typeface="Zawgyi-One" pitchFamily="34" charset="0"/>
              </a:rPr>
              <a:t>ေမးျခင္းကို ေရွာင္ၾကည္ပါ</a:t>
            </a:r>
            <a:endParaRPr lang="en-US" altLang="en-US">
              <a:solidFill>
                <a:srgbClr val="075109"/>
              </a:solidFill>
              <a:latin typeface="Zawgyi-One" pitchFamily="34" charset="0"/>
              <a:ea typeface="SimHei" pitchFamily="49" charset="-122"/>
              <a:cs typeface="Zawgyi-One" pitchFamily="34" charset="0"/>
            </a:endParaRPr>
          </a:p>
        </p:txBody>
      </p:sp>
      <p:sp>
        <p:nvSpPr>
          <p:cNvPr id="41" name="object 41"/>
          <p:cNvSpPr/>
          <p:nvPr/>
        </p:nvSpPr>
        <p:spPr>
          <a:xfrm>
            <a:off x="2940977" y="4492540"/>
            <a:ext cx="411884" cy="361237"/>
          </a:xfrm>
          <a:custGeom>
            <a:avLst/>
            <a:gdLst/>
            <a:ahLst/>
            <a:cxnLst/>
            <a:rect l="l" t="t"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pic>
        <p:nvPicPr>
          <p:cNvPr id="152597" name="Picture 4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17367" y="3830578"/>
            <a:ext cx="1841092" cy="1547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object 6">
            <a:extLst>
              <a:ext uri="{FF2B5EF4-FFF2-40B4-BE49-F238E27FC236}">
                <a16:creationId xmlns:a16="http://schemas.microsoft.com/office/drawing/2014/main" id="{E58B86E3-D61F-44C8-AED5-FEAD13A12BB2}"/>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3" name="object 7">
            <a:extLst>
              <a:ext uri="{FF2B5EF4-FFF2-40B4-BE49-F238E27FC236}">
                <a16:creationId xmlns:a16="http://schemas.microsoft.com/office/drawing/2014/main" id="{925C1C57-5990-4C97-816E-854A605372C1}"/>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8</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2076303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E7A3C51-27A3-47FB-AD5C-829BE3A501FD}"/>
              </a:ext>
            </a:extLst>
          </p:cNvPr>
          <p:cNvSpPr>
            <a:spLocks noGrp="1"/>
          </p:cNvSpPr>
          <p:nvPr>
            <p:ph type="ctrTitle"/>
          </p:nvPr>
        </p:nvSpPr>
        <p:spPr>
          <a:xfrm>
            <a:off x="534193" y="859613"/>
            <a:ext cx="8075613" cy="1197787"/>
          </a:xfrm>
        </p:spPr>
        <p:txBody>
          <a:bodyPr>
            <a:noAutofit/>
          </a:bodyPr>
          <a:lstStyle/>
          <a:p>
            <a:pPr algn="ctr"/>
            <a:r>
              <a:rPr lang="en-US" sz="4000" dirty="0" err="1"/>
              <a:t>ကျန်းမာခြင်းဆိုတာဘာလဲ</a:t>
            </a:r>
            <a:endParaRPr lang="en-US" sz="4000" dirty="0"/>
          </a:p>
        </p:txBody>
      </p:sp>
      <p:grpSp>
        <p:nvGrpSpPr>
          <p:cNvPr id="16" name="Google Shape;783;p7">
            <a:extLst>
              <a:ext uri="{FF2B5EF4-FFF2-40B4-BE49-F238E27FC236}">
                <a16:creationId xmlns:a16="http://schemas.microsoft.com/office/drawing/2014/main" id="{880AC571-2407-4BC1-A405-27F040D987C3}"/>
              </a:ext>
            </a:extLst>
          </p:cNvPr>
          <p:cNvGrpSpPr/>
          <p:nvPr/>
        </p:nvGrpSpPr>
        <p:grpSpPr>
          <a:xfrm>
            <a:off x="2231588" y="1617663"/>
            <a:ext cx="4300537" cy="4300537"/>
            <a:chOff x="4144963" y="1617663"/>
            <a:chExt cx="4300537" cy="4300537"/>
          </a:xfrm>
        </p:grpSpPr>
        <p:sp>
          <p:nvSpPr>
            <p:cNvPr id="17" name="Google Shape;784;p7">
              <a:extLst>
                <a:ext uri="{FF2B5EF4-FFF2-40B4-BE49-F238E27FC236}">
                  <a16:creationId xmlns:a16="http://schemas.microsoft.com/office/drawing/2014/main" id="{FA50FC2C-9C22-45EF-9226-F2E32D34B857}"/>
                </a:ext>
              </a:extLst>
            </p:cNvPr>
            <p:cNvSpPr/>
            <p:nvPr/>
          </p:nvSpPr>
          <p:spPr>
            <a:xfrm>
              <a:off x="4381541" y="1854557"/>
              <a:ext cx="3826749" cy="3826749"/>
            </a:xfrm>
            <a:custGeom>
              <a:avLst/>
              <a:gdLst/>
              <a:ahLst/>
              <a:cxnLst/>
              <a:rect l="l" t="t" r="r" b="b"/>
              <a:pathLst>
                <a:path w="3826149" h="3826149" extrusionOk="0">
                  <a:moveTo>
                    <a:pt x="1913074" y="0"/>
                  </a:moveTo>
                  <a:cubicBezTo>
                    <a:pt x="2596550" y="0"/>
                    <a:pt x="3228108" y="364630"/>
                    <a:pt x="3569846" y="956537"/>
                  </a:cubicBezTo>
                  <a:cubicBezTo>
                    <a:pt x="3911584" y="1548444"/>
                    <a:pt x="3911584" y="2277705"/>
                    <a:pt x="3569846" y="2869612"/>
                  </a:cubicBezTo>
                  <a:lnTo>
                    <a:pt x="1913075" y="1913075"/>
                  </a:lnTo>
                  <a:cubicBezTo>
                    <a:pt x="1913075" y="1275383"/>
                    <a:pt x="1913074" y="637692"/>
                    <a:pt x="1913074" y="0"/>
                  </a:cubicBezTo>
                  <a:close/>
                </a:path>
              </a:pathLst>
            </a:custGeom>
            <a:gradFill>
              <a:gsLst>
                <a:gs pos="0">
                  <a:srgbClr val="A0C23D"/>
                </a:gs>
                <a:gs pos="100000">
                  <a:srgbClr val="8AAA00"/>
                </a:gs>
              </a:gsLst>
              <a:lin ang="5400000" scaled="0"/>
            </a:gradFill>
            <a:ln>
              <a:noFill/>
            </a:ln>
            <a:effectLst>
              <a:outerShdw blurRad="38100" dist="25400" dir="5400000" rotWithShape="0">
                <a:srgbClr val="000000">
                  <a:alpha val="24705"/>
                </a:srgbClr>
              </a:outerShdw>
            </a:effectLst>
          </p:spPr>
          <p:txBody>
            <a:bodyPr spcFirstLastPara="1" wrap="square" lIns="2055825" tIns="850125" rIns="482550" bIns="1916000" anchor="ctr" anchorCtr="0">
              <a:noAutofit/>
            </a:bodyPr>
            <a:lstStyle/>
            <a:p>
              <a:pPr marL="0" marR="0" lvl="0" indent="0" algn="ctr" rtl="0">
                <a:lnSpc>
                  <a:spcPct val="90000"/>
                </a:lnSpc>
                <a:spcBef>
                  <a:spcPts val="0"/>
                </a:spcBef>
                <a:spcAft>
                  <a:spcPts val="0"/>
                </a:spcAft>
                <a:buClr>
                  <a:srgbClr val="000000"/>
                </a:buClr>
                <a:buSzPts val="3100"/>
                <a:buFont typeface="Arial"/>
                <a:buNone/>
              </a:pPr>
              <a:r>
                <a:rPr lang="en-US" sz="3100" b="0" i="0" u="none" strike="noStrike" cap="none" dirty="0">
                  <a:solidFill>
                    <a:srgbClr val="000000"/>
                  </a:solidFill>
                  <a:latin typeface="Zawgyi-One" panose="020B0604030504040204" pitchFamily="34" charset="0"/>
                  <a:cs typeface="Zawgyi-One" panose="020B0604030504040204" pitchFamily="34" charset="0"/>
                  <a:sym typeface="Arial"/>
                </a:rPr>
                <a:t>ခႏၶာ</a:t>
              </a:r>
              <a:endParaRPr dirty="0">
                <a:latin typeface="Zawgyi-One" panose="020B0604030504040204" pitchFamily="34" charset="0"/>
                <a:cs typeface="Zawgyi-One" panose="020B0604030504040204" pitchFamily="34" charset="0"/>
              </a:endParaRPr>
            </a:p>
          </p:txBody>
        </p:sp>
        <p:sp>
          <p:nvSpPr>
            <p:cNvPr id="18" name="Google Shape;785;p7">
              <a:extLst>
                <a:ext uri="{FF2B5EF4-FFF2-40B4-BE49-F238E27FC236}">
                  <a16:creationId xmlns:a16="http://schemas.microsoft.com/office/drawing/2014/main" id="{EBAE66B1-F8DB-4064-8354-B83DF38A21A4}"/>
                </a:ext>
              </a:extLst>
            </p:cNvPr>
            <p:cNvSpPr/>
            <p:nvPr/>
          </p:nvSpPr>
          <p:spPr>
            <a:xfrm>
              <a:off x="4144963" y="1617663"/>
              <a:ext cx="4300537" cy="4300537"/>
            </a:xfrm>
            <a:custGeom>
              <a:avLst/>
              <a:gdLst/>
              <a:ahLst/>
              <a:cxnLst/>
              <a:rect l="l" t="t" r="r" b="b"/>
              <a:pathLst>
                <a:path w="120000" h="120000" extrusionOk="0">
                  <a:moveTo>
                    <a:pt x="59991" y="4067"/>
                  </a:moveTo>
                  <a:lnTo>
                    <a:pt x="59991" y="4067"/>
                  </a:lnTo>
                  <a:cubicBezTo>
                    <a:pt x="79078" y="4064"/>
                    <a:pt x="96849" y="13795"/>
                    <a:pt x="107129" y="29878"/>
                  </a:cubicBezTo>
                  <a:cubicBezTo>
                    <a:pt x="117408" y="45960"/>
                    <a:pt x="118776" y="66175"/>
                    <a:pt x="110758" y="83496"/>
                  </a:cubicBezTo>
                  <a:lnTo>
                    <a:pt x="114269" y="85523"/>
                  </a:lnTo>
                  <a:lnTo>
                    <a:pt x="105797" y="86441"/>
                  </a:lnTo>
                  <a:lnTo>
                    <a:pt x="101940" y="78405"/>
                  </a:lnTo>
                  <a:lnTo>
                    <a:pt x="105449" y="80431"/>
                  </a:lnTo>
                  <a:cubicBezTo>
                    <a:pt x="112382" y="65011"/>
                    <a:pt x="111022" y="47127"/>
                    <a:pt x="101838" y="32932"/>
                  </a:cubicBezTo>
                  <a:cubicBezTo>
                    <a:pt x="92654" y="18737"/>
                    <a:pt x="76899" y="10167"/>
                    <a:pt x="59992" y="10169"/>
                  </a:cubicBezTo>
                  <a:close/>
                </a:path>
              </a:pathLst>
            </a:custGeom>
            <a:gradFill>
              <a:gsLst>
                <a:gs pos="0">
                  <a:srgbClr val="A0C23D"/>
                </a:gs>
                <a:gs pos="100000">
                  <a:srgbClr val="8AAA00"/>
                </a:gs>
              </a:gsLst>
              <a:lin ang="5400000" scaled="0"/>
            </a:gradFill>
            <a:ln>
              <a:noFill/>
            </a:ln>
            <a:effectLst>
              <a:outerShdw blurRad="38100" dist="25400" dir="5400000" rotWithShape="0">
                <a:srgbClr val="000000">
                  <a:alpha val="2470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latin typeface="Zawgyi-One" panose="020B0604030504040204" pitchFamily="34" charset="0"/>
                <a:cs typeface="Zawgyi-One" panose="020B0604030504040204" pitchFamily="34" charset="0"/>
              </a:endParaRPr>
            </a:p>
          </p:txBody>
        </p:sp>
      </p:grpSp>
      <p:grpSp>
        <p:nvGrpSpPr>
          <p:cNvPr id="19" name="Google Shape;786;p7">
            <a:extLst>
              <a:ext uri="{FF2B5EF4-FFF2-40B4-BE49-F238E27FC236}">
                <a16:creationId xmlns:a16="http://schemas.microsoft.com/office/drawing/2014/main" id="{7CA2FF9A-E614-4105-AAB9-C87D488FF3F8}"/>
              </a:ext>
            </a:extLst>
          </p:cNvPr>
          <p:cNvGrpSpPr/>
          <p:nvPr/>
        </p:nvGrpSpPr>
        <p:grpSpPr>
          <a:xfrm>
            <a:off x="2180788" y="1736725"/>
            <a:ext cx="4300537" cy="4300538"/>
            <a:chOff x="3459563" y="2558137"/>
            <a:chExt cx="4299863" cy="4299863"/>
          </a:xfrm>
        </p:grpSpPr>
        <p:sp>
          <p:nvSpPr>
            <p:cNvPr id="20" name="Google Shape;787;p7">
              <a:extLst>
                <a:ext uri="{FF2B5EF4-FFF2-40B4-BE49-F238E27FC236}">
                  <a16:creationId xmlns:a16="http://schemas.microsoft.com/office/drawing/2014/main" id="{FCF54BFF-19C6-40C6-B7ED-12DEE6AA81D2}"/>
                </a:ext>
              </a:extLst>
            </p:cNvPr>
            <p:cNvSpPr/>
            <p:nvPr/>
          </p:nvSpPr>
          <p:spPr>
            <a:xfrm>
              <a:off x="3696420" y="2795236"/>
              <a:ext cx="3826149" cy="3826149"/>
            </a:xfrm>
            <a:custGeom>
              <a:avLst/>
              <a:gdLst/>
              <a:ahLst/>
              <a:cxnLst/>
              <a:rect l="l" t="t" r="r" b="b"/>
              <a:pathLst>
                <a:path w="3826149" h="3826149" extrusionOk="0">
                  <a:moveTo>
                    <a:pt x="3569846" y="2869612"/>
                  </a:moveTo>
                  <a:cubicBezTo>
                    <a:pt x="3228108" y="3461519"/>
                    <a:pt x="2596550" y="3826150"/>
                    <a:pt x="1913074" y="3826150"/>
                  </a:cubicBezTo>
                  <a:cubicBezTo>
                    <a:pt x="1229598" y="3826150"/>
                    <a:pt x="598040" y="3461520"/>
                    <a:pt x="256302" y="2869613"/>
                  </a:cubicBezTo>
                  <a:lnTo>
                    <a:pt x="1913075" y="1913075"/>
                  </a:lnTo>
                  <a:lnTo>
                    <a:pt x="3569846" y="2869612"/>
                  </a:lnTo>
                  <a:close/>
                </a:path>
              </a:pathLst>
            </a:custGeom>
            <a:gradFill>
              <a:gsLst>
                <a:gs pos="0">
                  <a:srgbClr val="64AF3D"/>
                </a:gs>
                <a:gs pos="100000">
                  <a:srgbClr val="4C9800"/>
                </a:gs>
              </a:gsLst>
              <a:lin ang="5400000" scaled="0"/>
            </a:gradFill>
            <a:ln>
              <a:noFill/>
            </a:ln>
            <a:effectLst>
              <a:outerShdw blurRad="38100" dist="25400" dir="5400000" rotWithShape="0">
                <a:srgbClr val="000000">
                  <a:alpha val="24705"/>
                </a:srgbClr>
              </a:outerShdw>
            </a:effectLst>
          </p:spPr>
          <p:txBody>
            <a:bodyPr spcFirstLastPara="1" wrap="square" lIns="950350" tIns="2521800" rIns="904800" bIns="380975" anchor="ctr" anchorCtr="0">
              <a:noAutofit/>
            </a:bodyPr>
            <a:lstStyle/>
            <a:p>
              <a:pPr marL="0" marR="0" lvl="0" indent="0" algn="ctr" rtl="0">
                <a:lnSpc>
                  <a:spcPct val="90000"/>
                </a:lnSpc>
                <a:spcBef>
                  <a:spcPts val="0"/>
                </a:spcBef>
                <a:spcAft>
                  <a:spcPts val="0"/>
                </a:spcAft>
                <a:buClr>
                  <a:srgbClr val="000000"/>
                </a:buClr>
                <a:buSzPts val="3100"/>
                <a:buFont typeface="Arial"/>
                <a:buNone/>
              </a:pPr>
              <a:r>
                <a:rPr lang="en-US" sz="3100" b="0" i="0" u="none" strike="noStrike" cap="none">
                  <a:solidFill>
                    <a:srgbClr val="000000"/>
                  </a:solidFill>
                  <a:latin typeface="Zawgyi-One" panose="020B0604030504040204" pitchFamily="34" charset="0"/>
                  <a:cs typeface="Zawgyi-One" panose="020B0604030504040204" pitchFamily="34" charset="0"/>
                  <a:sym typeface="Arial"/>
                </a:rPr>
                <a:t>လူမႈေရး</a:t>
              </a:r>
              <a:endParaRPr sz="3100" b="0" i="0" u="none" strike="noStrike" cap="none">
                <a:solidFill>
                  <a:srgbClr val="000000"/>
                </a:solidFill>
                <a:latin typeface="Zawgyi-One" panose="020B0604030504040204" pitchFamily="34" charset="0"/>
                <a:cs typeface="Zawgyi-One" panose="020B0604030504040204" pitchFamily="34" charset="0"/>
                <a:sym typeface="Arial"/>
              </a:endParaRPr>
            </a:p>
          </p:txBody>
        </p:sp>
        <p:sp>
          <p:nvSpPr>
            <p:cNvPr id="21" name="Google Shape;788;p7">
              <a:extLst>
                <a:ext uri="{FF2B5EF4-FFF2-40B4-BE49-F238E27FC236}">
                  <a16:creationId xmlns:a16="http://schemas.microsoft.com/office/drawing/2014/main" id="{BAC71B05-93C5-498B-B501-01D822761F10}"/>
                </a:ext>
              </a:extLst>
            </p:cNvPr>
            <p:cNvSpPr/>
            <p:nvPr/>
          </p:nvSpPr>
          <p:spPr>
            <a:xfrm>
              <a:off x="3459563" y="2558137"/>
              <a:ext cx="4299863" cy="4299863"/>
            </a:xfrm>
            <a:custGeom>
              <a:avLst/>
              <a:gdLst/>
              <a:ahLst/>
              <a:cxnLst/>
              <a:rect l="l" t="t" r="r" b="b"/>
              <a:pathLst>
                <a:path w="120000" h="120000" extrusionOk="0">
                  <a:moveTo>
                    <a:pt x="108435" y="87973"/>
                  </a:moveTo>
                  <a:lnTo>
                    <a:pt x="108435" y="87973"/>
                  </a:lnTo>
                  <a:cubicBezTo>
                    <a:pt x="98891" y="104498"/>
                    <a:pt x="81581" y="115017"/>
                    <a:pt x="62518" y="115876"/>
                  </a:cubicBezTo>
                  <a:cubicBezTo>
                    <a:pt x="43454" y="116735"/>
                    <a:pt x="25269" y="107816"/>
                    <a:pt x="14277" y="92216"/>
                  </a:cubicBezTo>
                  <a:lnTo>
                    <a:pt x="10766" y="94244"/>
                  </a:lnTo>
                  <a:lnTo>
                    <a:pt x="14207" y="86447"/>
                  </a:lnTo>
                  <a:lnTo>
                    <a:pt x="23095" y="87124"/>
                  </a:lnTo>
                  <a:lnTo>
                    <a:pt x="19585" y="89151"/>
                  </a:lnTo>
                  <a:lnTo>
                    <a:pt x="19585" y="89151"/>
                  </a:lnTo>
                  <a:cubicBezTo>
                    <a:pt x="29474" y="102860"/>
                    <a:pt x="45637" y="110621"/>
                    <a:pt x="62519" y="109767"/>
                  </a:cubicBezTo>
                  <a:cubicBezTo>
                    <a:pt x="79400" y="108913"/>
                    <a:pt x="94697" y="99559"/>
                    <a:pt x="103151" y="84922"/>
                  </a:cubicBezTo>
                  <a:close/>
                </a:path>
              </a:pathLst>
            </a:custGeom>
            <a:gradFill>
              <a:gsLst>
                <a:gs pos="0">
                  <a:srgbClr val="64AF3D"/>
                </a:gs>
                <a:gs pos="100000">
                  <a:srgbClr val="4C9800"/>
                </a:gs>
              </a:gsLst>
              <a:lin ang="5400000" scaled="0"/>
            </a:gradFill>
            <a:ln>
              <a:noFill/>
            </a:ln>
            <a:effectLst>
              <a:outerShdw blurRad="38100" dist="25400" dir="5400000" rotWithShape="0">
                <a:srgbClr val="000000">
                  <a:alpha val="2470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latin typeface="Zawgyi-One" panose="020B0604030504040204" pitchFamily="34" charset="0"/>
                <a:cs typeface="Zawgyi-One" panose="020B0604030504040204" pitchFamily="34" charset="0"/>
              </a:endParaRPr>
            </a:p>
          </p:txBody>
        </p:sp>
      </p:grpSp>
      <p:grpSp>
        <p:nvGrpSpPr>
          <p:cNvPr id="22" name="Google Shape;789;p7">
            <a:extLst>
              <a:ext uri="{FF2B5EF4-FFF2-40B4-BE49-F238E27FC236}">
                <a16:creationId xmlns:a16="http://schemas.microsoft.com/office/drawing/2014/main" id="{9B15C3C8-D814-457D-9F9F-D2F55C92A251}"/>
              </a:ext>
            </a:extLst>
          </p:cNvPr>
          <p:cNvGrpSpPr/>
          <p:nvPr/>
        </p:nvGrpSpPr>
        <p:grpSpPr>
          <a:xfrm>
            <a:off x="2063313" y="1658938"/>
            <a:ext cx="4298950" cy="4300537"/>
            <a:chOff x="3976688" y="1658938"/>
            <a:chExt cx="4298950" cy="4300537"/>
          </a:xfrm>
        </p:grpSpPr>
        <p:sp>
          <p:nvSpPr>
            <p:cNvPr id="23" name="Google Shape;790;p7">
              <a:extLst>
                <a:ext uri="{FF2B5EF4-FFF2-40B4-BE49-F238E27FC236}">
                  <a16:creationId xmlns:a16="http://schemas.microsoft.com/office/drawing/2014/main" id="{90AC8E47-806F-4BC2-82BF-AC29A35ADE12}"/>
                </a:ext>
              </a:extLst>
            </p:cNvPr>
            <p:cNvSpPr/>
            <p:nvPr/>
          </p:nvSpPr>
          <p:spPr>
            <a:xfrm>
              <a:off x="4213811" y="1895832"/>
              <a:ext cx="3825337" cy="3826749"/>
            </a:xfrm>
            <a:custGeom>
              <a:avLst/>
              <a:gdLst/>
              <a:ahLst/>
              <a:cxnLst/>
              <a:rect l="l" t="t" r="r" b="b"/>
              <a:pathLst>
                <a:path w="3826149" h="3826149" extrusionOk="0">
                  <a:moveTo>
                    <a:pt x="256303" y="2869612"/>
                  </a:moveTo>
                  <a:cubicBezTo>
                    <a:pt x="-85435" y="2277705"/>
                    <a:pt x="-85435" y="1548444"/>
                    <a:pt x="256303" y="956537"/>
                  </a:cubicBezTo>
                  <a:cubicBezTo>
                    <a:pt x="598041" y="364630"/>
                    <a:pt x="1229599" y="-1"/>
                    <a:pt x="1913075" y="-1"/>
                  </a:cubicBezTo>
                  <a:lnTo>
                    <a:pt x="1913075" y="1913075"/>
                  </a:lnTo>
                  <a:lnTo>
                    <a:pt x="256303" y="2869612"/>
                  </a:lnTo>
                  <a:close/>
                </a:path>
              </a:pathLst>
            </a:custGeom>
            <a:gradFill>
              <a:gsLst>
                <a:gs pos="0">
                  <a:srgbClr val="3DA280"/>
                </a:gs>
                <a:gs pos="100000">
                  <a:srgbClr val="008B6A"/>
                </a:gs>
              </a:gsLst>
              <a:lin ang="5400000" scaled="0"/>
            </a:gradFill>
            <a:ln>
              <a:noFill/>
            </a:ln>
            <a:effectLst>
              <a:outerShdw blurRad="38100" dist="25400" dir="5400000" rotWithShape="0">
                <a:srgbClr val="000000">
                  <a:alpha val="24705"/>
                </a:srgbClr>
              </a:outerShdw>
            </a:effectLst>
          </p:spPr>
          <p:txBody>
            <a:bodyPr spcFirstLastPara="1" wrap="square" lIns="482550" tIns="850125" rIns="2055825" bIns="1916000" anchor="ctr" anchorCtr="0">
              <a:noAutofit/>
            </a:bodyPr>
            <a:lstStyle/>
            <a:p>
              <a:pPr marL="0" marR="0" lvl="0" indent="0" algn="ctr" rtl="0">
                <a:lnSpc>
                  <a:spcPct val="90000"/>
                </a:lnSpc>
                <a:spcBef>
                  <a:spcPts val="0"/>
                </a:spcBef>
                <a:spcAft>
                  <a:spcPts val="0"/>
                </a:spcAft>
                <a:buClr>
                  <a:srgbClr val="000000"/>
                </a:buClr>
                <a:buSzPts val="3100"/>
                <a:buFont typeface="Arial"/>
                <a:buNone/>
              </a:pPr>
              <a:r>
                <a:rPr lang="en-US" sz="3100" b="0" i="0" u="none" strike="noStrike" cap="none" dirty="0" err="1">
                  <a:solidFill>
                    <a:srgbClr val="000000"/>
                  </a:solidFill>
                  <a:latin typeface="Pyidaungsu" panose="020B0502040204020203" pitchFamily="34" charset="0"/>
                  <a:cs typeface="Pyidaungsu" panose="020B0502040204020203" pitchFamily="34" charset="0"/>
                  <a:sym typeface="Arial"/>
                </a:rPr>
                <a:t>စိတ</a:t>
              </a:r>
              <a:r>
                <a:rPr lang="en-US" sz="3100" b="0" i="0" u="none" strike="noStrike" cap="none" dirty="0">
                  <a:solidFill>
                    <a:srgbClr val="000000"/>
                  </a:solidFill>
                  <a:latin typeface="Pyidaungsu" panose="020B0502040204020203" pitchFamily="34" charset="0"/>
                  <a:cs typeface="Pyidaungsu" panose="020B0502040204020203" pitchFamily="34" charset="0"/>
                  <a:sym typeface="Arial"/>
                </a:rPr>
                <a:t>္</a:t>
              </a:r>
              <a:endParaRPr dirty="0">
                <a:latin typeface="Pyidaungsu" panose="020B0502040204020203" pitchFamily="34" charset="0"/>
                <a:cs typeface="Pyidaungsu" panose="020B0502040204020203" pitchFamily="34" charset="0"/>
              </a:endParaRPr>
            </a:p>
          </p:txBody>
        </p:sp>
        <p:sp>
          <p:nvSpPr>
            <p:cNvPr id="24" name="Google Shape;791;p7">
              <a:extLst>
                <a:ext uri="{FF2B5EF4-FFF2-40B4-BE49-F238E27FC236}">
                  <a16:creationId xmlns:a16="http://schemas.microsoft.com/office/drawing/2014/main" id="{55F5B1F3-6C18-46A8-BBCC-EAA1B5B4E2A4}"/>
                </a:ext>
              </a:extLst>
            </p:cNvPr>
            <p:cNvSpPr/>
            <p:nvPr/>
          </p:nvSpPr>
          <p:spPr>
            <a:xfrm>
              <a:off x="3976688" y="1658938"/>
              <a:ext cx="4298950" cy="4300537"/>
            </a:xfrm>
            <a:custGeom>
              <a:avLst/>
              <a:gdLst/>
              <a:ahLst/>
              <a:cxnLst/>
              <a:rect l="l" t="t" r="r" b="b"/>
              <a:pathLst>
                <a:path w="120000" h="120000" extrusionOk="0">
                  <a:moveTo>
                    <a:pt x="11556" y="87959"/>
                  </a:moveTo>
                  <a:lnTo>
                    <a:pt x="11556" y="87959"/>
                  </a:lnTo>
                  <a:cubicBezTo>
                    <a:pt x="2016" y="71428"/>
                    <a:pt x="1564" y="51175"/>
                    <a:pt x="10355" y="34234"/>
                  </a:cubicBezTo>
                  <a:cubicBezTo>
                    <a:pt x="19146" y="17294"/>
                    <a:pt x="35968" y="6006"/>
                    <a:pt x="54976" y="4292"/>
                  </a:cubicBezTo>
                  <a:lnTo>
                    <a:pt x="54977" y="239"/>
                  </a:lnTo>
                  <a:lnTo>
                    <a:pt x="60009" y="7116"/>
                  </a:lnTo>
                  <a:lnTo>
                    <a:pt x="54975" y="14471"/>
                  </a:lnTo>
                  <a:lnTo>
                    <a:pt x="54975" y="10420"/>
                  </a:lnTo>
                  <a:lnTo>
                    <a:pt x="54975" y="10420"/>
                  </a:lnTo>
                  <a:cubicBezTo>
                    <a:pt x="38157" y="12124"/>
                    <a:pt x="23349" y="22240"/>
                    <a:pt x="15645" y="37289"/>
                  </a:cubicBezTo>
                  <a:cubicBezTo>
                    <a:pt x="7941" y="52337"/>
                    <a:pt x="8391" y="70266"/>
                    <a:pt x="16841" y="84909"/>
                  </a:cubicBezTo>
                  <a:close/>
                </a:path>
              </a:pathLst>
            </a:custGeom>
            <a:gradFill>
              <a:gsLst>
                <a:gs pos="0">
                  <a:srgbClr val="3DA280"/>
                </a:gs>
                <a:gs pos="100000">
                  <a:srgbClr val="008B6A"/>
                </a:gs>
              </a:gsLst>
              <a:lin ang="5400000" scaled="0"/>
            </a:gradFill>
            <a:ln>
              <a:noFill/>
            </a:ln>
            <a:effectLst>
              <a:outerShdw blurRad="38100" dist="25400" dir="5400000" rotWithShape="0">
                <a:srgbClr val="000000">
                  <a:alpha val="24705"/>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a:latin typeface="Zawgyi-One" panose="020B0604030504040204" pitchFamily="34" charset="0"/>
                <a:cs typeface="Zawgyi-One" panose="020B0604030504040204" pitchFamily="34" charset="0"/>
              </a:endParaRPr>
            </a:p>
          </p:txBody>
        </p:sp>
      </p:grpSp>
      <p:sp>
        <p:nvSpPr>
          <p:cNvPr id="13" name="object 6">
            <a:extLst>
              <a:ext uri="{FF2B5EF4-FFF2-40B4-BE49-F238E27FC236}">
                <a16:creationId xmlns:a16="http://schemas.microsoft.com/office/drawing/2014/main" id="{2ADCA2A3-B9A3-4A94-BEA6-8C74CDAA24A4}"/>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 name="object 7">
            <a:extLst>
              <a:ext uri="{FF2B5EF4-FFF2-40B4-BE49-F238E27FC236}">
                <a16:creationId xmlns:a16="http://schemas.microsoft.com/office/drawing/2014/main" id="{69AC3015-C8AB-487E-8FB8-589485B6A33E}"/>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endParaRPr lang="en-US" altLang="en-US" dirty="0"/>
          </a:p>
        </p:txBody>
      </p:sp>
      <p:sp>
        <p:nvSpPr>
          <p:cNvPr id="15" name="object 6">
            <a:extLst>
              <a:ext uri="{FF2B5EF4-FFF2-40B4-BE49-F238E27FC236}">
                <a16:creationId xmlns:a16="http://schemas.microsoft.com/office/drawing/2014/main" id="{455F56F1-0169-428E-809F-33D6974CE76D}"/>
              </a:ext>
            </a:extLst>
          </p:cNvPr>
          <p:cNvSpPr>
            <a:spLocks/>
          </p:cNvSpPr>
          <p:nvPr/>
        </p:nvSpPr>
        <p:spPr bwMode="auto">
          <a:xfrm>
            <a:off x="8578816" y="4164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5" name="object 7">
            <a:extLst>
              <a:ext uri="{FF2B5EF4-FFF2-40B4-BE49-F238E27FC236}">
                <a16:creationId xmlns:a16="http://schemas.microsoft.com/office/drawing/2014/main" id="{5BFFF644-FABA-42CB-94EE-F9E45A7E53B8}"/>
              </a:ext>
            </a:extLst>
          </p:cNvPr>
          <p:cNvSpPr txBox="1">
            <a:spLocks noChangeArrowheads="1"/>
          </p:cNvSpPr>
          <p:nvPr/>
        </p:nvSpPr>
        <p:spPr bwMode="auto">
          <a:xfrm>
            <a:off x="8655831" y="383385"/>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8816999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object 40"/>
          <p:cNvSpPr/>
          <p:nvPr/>
        </p:nvSpPr>
        <p:spPr>
          <a:xfrm>
            <a:off x="1878703" y="2198594"/>
            <a:ext cx="6816720" cy="3836079"/>
          </a:xfrm>
          <a:prstGeom prst="rect">
            <a:avLst/>
          </a:prstGeom>
          <a:blipFill>
            <a:blip r:embed="rId2" cstate="print"/>
            <a:stretch>
              <a:fillRect/>
            </a:stretch>
          </a:blipFill>
        </p:spPr>
        <p:txBody>
          <a:bodyPr lIns="0" tIns="0" rIns="0" bIns="0"/>
          <a:lstStyle/>
          <a:p>
            <a:endParaRPr lang="en-US" sz="2100"/>
          </a:p>
        </p:txBody>
      </p:sp>
      <p:sp>
        <p:nvSpPr>
          <p:cNvPr id="6" name="object 6"/>
          <p:cNvSpPr txBox="1"/>
          <p:nvPr/>
        </p:nvSpPr>
        <p:spPr>
          <a:xfrm>
            <a:off x="8201897" y="518934"/>
            <a:ext cx="294464" cy="291557"/>
          </a:xfrm>
          <a:prstGeom prst="rect">
            <a:avLst/>
          </a:prstGeom>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b="1">
                <a:solidFill>
                  <a:srgbClr val="ED1C24"/>
                </a:solidFill>
                <a:latin typeface="Gill Sans"/>
                <a:ea typeface="Gill Sans"/>
                <a:cs typeface="Gill Sans"/>
              </a:rPr>
              <a:t>77</a:t>
            </a:r>
            <a:endParaRPr lang="en-US" altLang="en-US">
              <a:solidFill>
                <a:srgbClr val="075109"/>
              </a:solidFill>
              <a:latin typeface="Gill Sans"/>
              <a:ea typeface="Gill Sans"/>
              <a:cs typeface="Gill Sans"/>
            </a:endParaRPr>
          </a:p>
        </p:txBody>
      </p:sp>
      <p:sp>
        <p:nvSpPr>
          <p:cNvPr id="24" name="object 24"/>
          <p:cNvSpPr/>
          <p:nvPr/>
        </p:nvSpPr>
        <p:spPr>
          <a:xfrm>
            <a:off x="851287" y="994777"/>
            <a:ext cx="1182446" cy="1264329"/>
          </a:xfrm>
          <a:custGeom>
            <a:avLst/>
            <a:gdLst/>
            <a:ahLst/>
            <a:cxnLst/>
            <a:rect l="l" t="t" r="r" b="b"/>
            <a:pathLst>
              <a:path w="2217597" h="2373960">
                <a:moveTo>
                  <a:pt x="2217597" y="0"/>
                </a:moveTo>
                <a:lnTo>
                  <a:pt x="0" y="0"/>
                </a:lnTo>
                <a:lnTo>
                  <a:pt x="0" y="2373960"/>
                </a:lnTo>
                <a:lnTo>
                  <a:pt x="1784577" y="2373366"/>
                </a:lnTo>
                <a:lnTo>
                  <a:pt x="1852812" y="2371955"/>
                </a:lnTo>
                <a:lnTo>
                  <a:pt x="1913474" y="2369208"/>
                </a:lnTo>
                <a:lnTo>
                  <a:pt x="1967007" y="2364678"/>
                </a:lnTo>
                <a:lnTo>
                  <a:pt x="2013858" y="2357922"/>
                </a:lnTo>
                <a:lnTo>
                  <a:pt x="2054472" y="2348492"/>
                </a:lnTo>
                <a:lnTo>
                  <a:pt x="2118772" y="2319831"/>
                </a:lnTo>
                <a:lnTo>
                  <a:pt x="2163470" y="2275132"/>
                </a:lnTo>
                <a:lnTo>
                  <a:pt x="2192130" y="2210831"/>
                </a:lnTo>
                <a:lnTo>
                  <a:pt x="2201560" y="2170216"/>
                </a:lnTo>
                <a:lnTo>
                  <a:pt x="2208316" y="2123364"/>
                </a:lnTo>
                <a:lnTo>
                  <a:pt x="2212845" y="2069829"/>
                </a:lnTo>
                <a:lnTo>
                  <a:pt x="2215593" y="2009167"/>
                </a:lnTo>
                <a:lnTo>
                  <a:pt x="2217003" y="1940930"/>
                </a:lnTo>
                <a:lnTo>
                  <a:pt x="2217523" y="1864675"/>
                </a:lnTo>
                <a:lnTo>
                  <a:pt x="2217597" y="0"/>
                </a:lnTo>
                <a:close/>
              </a:path>
            </a:pathLst>
          </a:custGeom>
          <a:solidFill>
            <a:srgbClr val="ED1C24"/>
          </a:solidFill>
        </p:spPr>
        <p:txBody>
          <a:bodyPr lIns="0" tIns="0" rIns="0" bIns="0"/>
          <a:lstStyle/>
          <a:p>
            <a:pPr>
              <a:defRPr/>
            </a:pPr>
            <a:endParaRPr sz="2100"/>
          </a:p>
        </p:txBody>
      </p:sp>
      <p:sp>
        <p:nvSpPr>
          <p:cNvPr id="25" name="object 25"/>
          <p:cNvSpPr txBox="1"/>
          <p:nvPr/>
        </p:nvSpPr>
        <p:spPr>
          <a:xfrm>
            <a:off x="835693" y="1642070"/>
            <a:ext cx="1217304" cy="330064"/>
          </a:xfrm>
          <a:prstGeom prst="rect">
            <a:avLst/>
          </a:prstGeom>
        </p:spPr>
        <p:txBody>
          <a:bodyPr lIns="0" tIns="0" rIns="0" bIns="0"/>
          <a:lstStyle>
            <a:lvl1pPr marL="11113">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my-MM" sz="1900" b="1">
                <a:solidFill>
                  <a:srgbClr val="FFFFFF"/>
                </a:solidFill>
                <a:latin typeface="Zawgyi-One" pitchFamily="34" charset="0"/>
                <a:cs typeface="Zawgyi-One" pitchFamily="34" charset="0"/>
              </a:rPr>
              <a:t>နားေထာင္ပါ</a:t>
            </a:r>
            <a:endParaRPr lang="my-MM" sz="1900">
              <a:latin typeface="Zawgyi-One" pitchFamily="34" charset="0"/>
              <a:cs typeface="Zawgyi-One" pitchFamily="34" charset="0"/>
            </a:endParaRPr>
          </a:p>
        </p:txBody>
      </p:sp>
      <p:sp>
        <p:nvSpPr>
          <p:cNvPr id="156680" name="object 26"/>
          <p:cNvSpPr txBox="1">
            <a:spLocks noChangeArrowheads="1"/>
          </p:cNvSpPr>
          <p:nvPr/>
        </p:nvSpPr>
        <p:spPr bwMode="auto">
          <a:xfrm>
            <a:off x="2247472" y="1070875"/>
            <a:ext cx="5248994" cy="984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my-MM" altLang="en-US" sz="3100">
                <a:solidFill>
                  <a:srgbClr val="ED1C24"/>
                </a:solidFill>
                <a:latin typeface="Zawgyi-One" pitchFamily="34" charset="0"/>
                <a:ea typeface="SimHei" pitchFamily="49" charset="-122"/>
                <a:cs typeface="Zawgyi-One" pitchFamily="34" charset="0"/>
              </a:rPr>
              <a:t>တက္ၾကြစြာနားေထာင္ျခင္း..</a:t>
            </a:r>
            <a:endParaRPr lang="my-MM" altLang="en-US" sz="3100">
              <a:solidFill>
                <a:srgbClr val="075109"/>
              </a:solidFill>
              <a:latin typeface="Zawgyi-One" pitchFamily="34" charset="0"/>
              <a:ea typeface="SimHei" pitchFamily="49" charset="-122"/>
              <a:cs typeface="Zawgyi-One" pitchFamily="34" charset="0"/>
            </a:endParaRPr>
          </a:p>
        </p:txBody>
      </p:sp>
      <p:sp>
        <p:nvSpPr>
          <p:cNvPr id="27" name="object 27"/>
          <p:cNvSpPr/>
          <p:nvPr/>
        </p:nvSpPr>
        <p:spPr>
          <a:xfrm>
            <a:off x="1239321" y="1126803"/>
            <a:ext cx="313729" cy="483177"/>
          </a:xfrm>
          <a:custGeom>
            <a:avLst/>
            <a:gdLst/>
            <a:ahLst/>
            <a:cxnLst/>
            <a:rect l="l" t="t" r="r" b="b"/>
            <a:pathLst>
              <a:path w="588121" h="904763">
                <a:moveTo>
                  <a:pt x="58914" y="623560"/>
                </a:moveTo>
                <a:lnTo>
                  <a:pt x="25037" y="651246"/>
                </a:lnTo>
                <a:lnTo>
                  <a:pt x="5385" y="697847"/>
                </a:lnTo>
                <a:lnTo>
                  <a:pt x="39" y="737359"/>
                </a:lnTo>
                <a:lnTo>
                  <a:pt x="0" y="743695"/>
                </a:lnTo>
                <a:lnTo>
                  <a:pt x="226" y="753721"/>
                </a:lnTo>
                <a:lnTo>
                  <a:pt x="7349" y="793662"/>
                </a:lnTo>
                <a:lnTo>
                  <a:pt x="23455" y="829713"/>
                </a:lnTo>
                <a:lnTo>
                  <a:pt x="48175" y="860360"/>
                </a:lnTo>
                <a:lnTo>
                  <a:pt x="81141" y="884092"/>
                </a:lnTo>
                <a:lnTo>
                  <a:pt x="121984" y="899397"/>
                </a:lnTo>
                <a:lnTo>
                  <a:pt x="170337" y="904763"/>
                </a:lnTo>
                <a:lnTo>
                  <a:pt x="189127" y="902981"/>
                </a:lnTo>
                <a:lnTo>
                  <a:pt x="235627" y="886010"/>
                </a:lnTo>
                <a:lnTo>
                  <a:pt x="269197" y="855975"/>
                </a:lnTo>
                <a:lnTo>
                  <a:pt x="271899" y="852281"/>
                </a:lnTo>
                <a:lnTo>
                  <a:pt x="156135" y="852281"/>
                </a:lnTo>
                <a:lnTo>
                  <a:pt x="142431" y="850650"/>
                </a:lnTo>
                <a:lnTo>
                  <a:pt x="106665" y="837269"/>
                </a:lnTo>
                <a:lnTo>
                  <a:pt x="77464" y="812008"/>
                </a:lnTo>
                <a:lnTo>
                  <a:pt x="55046" y="777627"/>
                </a:lnTo>
                <a:lnTo>
                  <a:pt x="49489" y="746670"/>
                </a:lnTo>
                <a:lnTo>
                  <a:pt x="50677" y="737359"/>
                </a:lnTo>
                <a:lnTo>
                  <a:pt x="68819" y="696304"/>
                </a:lnTo>
                <a:lnTo>
                  <a:pt x="73239" y="688875"/>
                </a:lnTo>
                <a:lnTo>
                  <a:pt x="77373" y="681600"/>
                </a:lnTo>
                <a:lnTo>
                  <a:pt x="80986" y="674432"/>
                </a:lnTo>
                <a:lnTo>
                  <a:pt x="83841" y="667328"/>
                </a:lnTo>
                <a:lnTo>
                  <a:pt x="85704" y="660241"/>
                </a:lnTo>
                <a:lnTo>
                  <a:pt x="86339" y="653126"/>
                </a:lnTo>
                <a:lnTo>
                  <a:pt x="85510" y="645936"/>
                </a:lnTo>
                <a:lnTo>
                  <a:pt x="82982" y="638627"/>
                </a:lnTo>
                <a:lnTo>
                  <a:pt x="78520" y="631152"/>
                </a:lnTo>
                <a:lnTo>
                  <a:pt x="72321" y="626220"/>
                </a:lnTo>
                <a:lnTo>
                  <a:pt x="65747" y="623745"/>
                </a:lnTo>
                <a:lnTo>
                  <a:pt x="58914" y="623560"/>
                </a:lnTo>
                <a:close/>
              </a:path>
              <a:path w="588121" h="904763">
                <a:moveTo>
                  <a:pt x="503453" y="69997"/>
                </a:moveTo>
                <a:lnTo>
                  <a:pt x="311884" y="69997"/>
                </a:lnTo>
                <a:lnTo>
                  <a:pt x="334583" y="71376"/>
                </a:lnTo>
                <a:lnTo>
                  <a:pt x="355939" y="74522"/>
                </a:lnTo>
                <a:lnTo>
                  <a:pt x="394649" y="85755"/>
                </a:lnTo>
                <a:lnTo>
                  <a:pt x="442815" y="113620"/>
                </a:lnTo>
                <a:lnTo>
                  <a:pt x="479270" y="152565"/>
                </a:lnTo>
                <a:lnTo>
                  <a:pt x="504205" y="200183"/>
                </a:lnTo>
                <a:lnTo>
                  <a:pt x="517808" y="254067"/>
                </a:lnTo>
                <a:lnTo>
                  <a:pt x="520676" y="292282"/>
                </a:lnTo>
                <a:lnTo>
                  <a:pt x="520270" y="311810"/>
                </a:lnTo>
                <a:lnTo>
                  <a:pt x="512403" y="361500"/>
                </a:lnTo>
                <a:lnTo>
                  <a:pt x="495366" y="410190"/>
                </a:lnTo>
                <a:lnTo>
                  <a:pt x="471246" y="457380"/>
                </a:lnTo>
                <a:lnTo>
                  <a:pt x="442129" y="502565"/>
                </a:lnTo>
                <a:lnTo>
                  <a:pt x="410099" y="545243"/>
                </a:lnTo>
                <a:lnTo>
                  <a:pt x="377245" y="584912"/>
                </a:lnTo>
                <a:lnTo>
                  <a:pt x="330978" y="637671"/>
                </a:lnTo>
                <a:lnTo>
                  <a:pt x="317403" y="653208"/>
                </a:lnTo>
                <a:lnTo>
                  <a:pt x="285869" y="692791"/>
                </a:lnTo>
                <a:lnTo>
                  <a:pt x="265822" y="746768"/>
                </a:lnTo>
                <a:lnTo>
                  <a:pt x="261794" y="759834"/>
                </a:lnTo>
                <a:lnTo>
                  <a:pt x="245165" y="799310"/>
                </a:lnTo>
                <a:lnTo>
                  <a:pt x="217839" y="832532"/>
                </a:lnTo>
                <a:lnTo>
                  <a:pt x="174823" y="850926"/>
                </a:lnTo>
                <a:lnTo>
                  <a:pt x="156135" y="852281"/>
                </a:lnTo>
                <a:lnTo>
                  <a:pt x="271899" y="852281"/>
                </a:lnTo>
                <a:lnTo>
                  <a:pt x="292256" y="818496"/>
                </a:lnTo>
                <a:lnTo>
                  <a:pt x="307221" y="779196"/>
                </a:lnTo>
                <a:lnTo>
                  <a:pt x="320736" y="724913"/>
                </a:lnTo>
                <a:lnTo>
                  <a:pt x="322531" y="717613"/>
                </a:lnTo>
                <a:lnTo>
                  <a:pt x="345937" y="680529"/>
                </a:lnTo>
                <a:lnTo>
                  <a:pt x="378994" y="645481"/>
                </a:lnTo>
                <a:lnTo>
                  <a:pt x="420024" y="605126"/>
                </a:lnTo>
                <a:lnTo>
                  <a:pt x="434647" y="590634"/>
                </a:lnTo>
                <a:lnTo>
                  <a:pt x="464248" y="560270"/>
                </a:lnTo>
                <a:lnTo>
                  <a:pt x="493143" y="528264"/>
                </a:lnTo>
                <a:lnTo>
                  <a:pt x="519916" y="494855"/>
                </a:lnTo>
                <a:lnTo>
                  <a:pt x="543151" y="460281"/>
                </a:lnTo>
                <a:lnTo>
                  <a:pt x="563113" y="420553"/>
                </a:lnTo>
                <a:lnTo>
                  <a:pt x="578640" y="370763"/>
                </a:lnTo>
                <a:lnTo>
                  <a:pt x="586995" y="315666"/>
                </a:lnTo>
                <a:lnTo>
                  <a:pt x="588121" y="286246"/>
                </a:lnTo>
                <a:lnTo>
                  <a:pt x="587100" y="257905"/>
                </a:lnTo>
                <a:lnTo>
                  <a:pt x="577873" y="200122"/>
                </a:lnTo>
                <a:lnTo>
                  <a:pt x="558236" y="144959"/>
                </a:lnTo>
                <a:lnTo>
                  <a:pt x="527109" y="95059"/>
                </a:lnTo>
                <a:lnTo>
                  <a:pt x="506900" y="72909"/>
                </a:lnTo>
                <a:lnTo>
                  <a:pt x="503453" y="69997"/>
                </a:lnTo>
                <a:close/>
              </a:path>
              <a:path w="588121" h="904763">
                <a:moveTo>
                  <a:pt x="312091" y="0"/>
                </a:moveTo>
                <a:lnTo>
                  <a:pt x="272251" y="1400"/>
                </a:lnTo>
                <a:lnTo>
                  <a:pt x="219636" y="12370"/>
                </a:lnTo>
                <a:lnTo>
                  <a:pt x="175020" y="32234"/>
                </a:lnTo>
                <a:lnTo>
                  <a:pt x="137752" y="59023"/>
                </a:lnTo>
                <a:lnTo>
                  <a:pt x="107184" y="90768"/>
                </a:lnTo>
                <a:lnTo>
                  <a:pt x="82668" y="125500"/>
                </a:lnTo>
                <a:lnTo>
                  <a:pt x="63552" y="161251"/>
                </a:lnTo>
                <a:lnTo>
                  <a:pt x="48062" y="208452"/>
                </a:lnTo>
                <a:lnTo>
                  <a:pt x="41512" y="255345"/>
                </a:lnTo>
                <a:lnTo>
                  <a:pt x="40792" y="270941"/>
                </a:lnTo>
                <a:lnTo>
                  <a:pt x="40863" y="289160"/>
                </a:lnTo>
                <a:lnTo>
                  <a:pt x="44311" y="328775"/>
                </a:lnTo>
                <a:lnTo>
                  <a:pt x="56416" y="371455"/>
                </a:lnTo>
                <a:lnTo>
                  <a:pt x="74900" y="388478"/>
                </a:lnTo>
                <a:lnTo>
                  <a:pt x="82325" y="386250"/>
                </a:lnTo>
                <a:lnTo>
                  <a:pt x="92076" y="336326"/>
                </a:lnTo>
                <a:lnTo>
                  <a:pt x="91407" y="321271"/>
                </a:lnTo>
                <a:lnTo>
                  <a:pt x="90817" y="305421"/>
                </a:lnTo>
                <a:lnTo>
                  <a:pt x="92582" y="262465"/>
                </a:lnTo>
                <a:lnTo>
                  <a:pt x="102663" y="214458"/>
                </a:lnTo>
                <a:lnTo>
                  <a:pt x="118203" y="175495"/>
                </a:lnTo>
                <a:lnTo>
                  <a:pt x="142640" y="138007"/>
                </a:lnTo>
                <a:lnTo>
                  <a:pt x="177823" y="105602"/>
                </a:lnTo>
                <a:lnTo>
                  <a:pt x="225604" y="81887"/>
                </a:lnTo>
                <a:lnTo>
                  <a:pt x="265371" y="72688"/>
                </a:lnTo>
                <a:lnTo>
                  <a:pt x="311884" y="69997"/>
                </a:lnTo>
                <a:lnTo>
                  <a:pt x="503453" y="69997"/>
                </a:lnTo>
                <a:lnTo>
                  <a:pt x="483412" y="53064"/>
                </a:lnTo>
                <a:lnTo>
                  <a:pt x="456513" y="35857"/>
                </a:lnTo>
                <a:lnTo>
                  <a:pt x="426066" y="21616"/>
                </a:lnTo>
                <a:lnTo>
                  <a:pt x="391937" y="10673"/>
                </a:lnTo>
                <a:lnTo>
                  <a:pt x="353990" y="3357"/>
                </a:lnTo>
                <a:lnTo>
                  <a:pt x="312091" y="0"/>
                </a:lnTo>
                <a:close/>
              </a:path>
            </a:pathLst>
          </a:custGeom>
          <a:solidFill>
            <a:srgbClr val="FFFFFF"/>
          </a:solidFill>
        </p:spPr>
        <p:txBody>
          <a:bodyPr lIns="0" tIns="0" rIns="0" bIns="0"/>
          <a:lstStyle/>
          <a:p>
            <a:pPr>
              <a:defRPr/>
            </a:pPr>
            <a:endParaRPr sz="2100"/>
          </a:p>
        </p:txBody>
      </p:sp>
      <p:sp>
        <p:nvSpPr>
          <p:cNvPr id="28" name="object 28"/>
          <p:cNvSpPr/>
          <p:nvPr/>
        </p:nvSpPr>
        <p:spPr>
          <a:xfrm>
            <a:off x="1304451" y="1190982"/>
            <a:ext cx="167873" cy="275053"/>
          </a:xfrm>
          <a:custGeom>
            <a:avLst/>
            <a:gdLst/>
            <a:ahLst/>
            <a:cxnLst/>
            <a:rect l="l" t="t" r="r" b="b"/>
            <a:pathLst>
              <a:path w="316928" h="516362">
                <a:moveTo>
                  <a:pt x="162823" y="0"/>
                </a:moveTo>
                <a:lnTo>
                  <a:pt x="116302" y="6558"/>
                </a:lnTo>
                <a:lnTo>
                  <a:pt x="74699" y="26878"/>
                </a:lnTo>
                <a:lnTo>
                  <a:pt x="40650" y="59292"/>
                </a:lnTo>
                <a:lnTo>
                  <a:pt x="16787" y="102133"/>
                </a:lnTo>
                <a:lnTo>
                  <a:pt x="5735" y="153385"/>
                </a:lnTo>
                <a:lnTo>
                  <a:pt x="5478" y="169243"/>
                </a:lnTo>
                <a:lnTo>
                  <a:pt x="6850" y="183410"/>
                </a:lnTo>
                <a:lnTo>
                  <a:pt x="24278" y="226651"/>
                </a:lnTo>
                <a:lnTo>
                  <a:pt x="50383" y="256760"/>
                </a:lnTo>
                <a:lnTo>
                  <a:pt x="56636" y="263541"/>
                </a:lnTo>
                <a:lnTo>
                  <a:pt x="75399" y="301663"/>
                </a:lnTo>
                <a:lnTo>
                  <a:pt x="75131" y="311350"/>
                </a:lnTo>
                <a:lnTo>
                  <a:pt x="56504" y="354950"/>
                </a:lnTo>
                <a:lnTo>
                  <a:pt x="30237" y="386714"/>
                </a:lnTo>
                <a:lnTo>
                  <a:pt x="21746" y="396796"/>
                </a:lnTo>
                <a:lnTo>
                  <a:pt x="3070" y="432310"/>
                </a:lnTo>
                <a:lnTo>
                  <a:pt x="0" y="457668"/>
                </a:lnTo>
                <a:lnTo>
                  <a:pt x="1338" y="469525"/>
                </a:lnTo>
                <a:lnTo>
                  <a:pt x="23904" y="505926"/>
                </a:lnTo>
                <a:lnTo>
                  <a:pt x="56156" y="516362"/>
                </a:lnTo>
                <a:lnTo>
                  <a:pt x="66855" y="516148"/>
                </a:lnTo>
                <a:lnTo>
                  <a:pt x="107835" y="499243"/>
                </a:lnTo>
                <a:lnTo>
                  <a:pt x="135018" y="472237"/>
                </a:lnTo>
                <a:lnTo>
                  <a:pt x="157399" y="435661"/>
                </a:lnTo>
                <a:lnTo>
                  <a:pt x="173394" y="391952"/>
                </a:lnTo>
                <a:lnTo>
                  <a:pt x="181332" y="344412"/>
                </a:lnTo>
                <a:lnTo>
                  <a:pt x="181435" y="329399"/>
                </a:lnTo>
                <a:lnTo>
                  <a:pt x="179565" y="316079"/>
                </a:lnTo>
                <a:lnTo>
                  <a:pt x="164823" y="280356"/>
                </a:lnTo>
                <a:lnTo>
                  <a:pt x="140948" y="249433"/>
                </a:lnTo>
                <a:lnTo>
                  <a:pt x="113805" y="221310"/>
                </a:lnTo>
                <a:lnTo>
                  <a:pt x="105046" y="212213"/>
                </a:lnTo>
                <a:lnTo>
                  <a:pt x="77246" y="175233"/>
                </a:lnTo>
                <a:lnTo>
                  <a:pt x="70079" y="144805"/>
                </a:lnTo>
                <a:lnTo>
                  <a:pt x="72350" y="130695"/>
                </a:lnTo>
                <a:lnTo>
                  <a:pt x="87467" y="94320"/>
                </a:lnTo>
                <a:lnTo>
                  <a:pt x="123508" y="62141"/>
                </a:lnTo>
                <a:lnTo>
                  <a:pt x="279719" y="52434"/>
                </a:lnTo>
                <a:lnTo>
                  <a:pt x="270522" y="43427"/>
                </a:lnTo>
                <a:lnTo>
                  <a:pt x="227952" y="15546"/>
                </a:lnTo>
                <a:lnTo>
                  <a:pt x="178968" y="1160"/>
                </a:lnTo>
                <a:lnTo>
                  <a:pt x="162823" y="0"/>
                </a:lnTo>
                <a:close/>
              </a:path>
              <a:path w="316928" h="516362">
                <a:moveTo>
                  <a:pt x="279719" y="52434"/>
                </a:moveTo>
                <a:lnTo>
                  <a:pt x="172223" y="52434"/>
                </a:lnTo>
                <a:lnTo>
                  <a:pt x="185681" y="54007"/>
                </a:lnTo>
                <a:lnTo>
                  <a:pt x="197127" y="57547"/>
                </a:lnTo>
                <a:lnTo>
                  <a:pt x="235994" y="83205"/>
                </a:lnTo>
                <a:lnTo>
                  <a:pt x="261992" y="122965"/>
                </a:lnTo>
                <a:lnTo>
                  <a:pt x="272545" y="169243"/>
                </a:lnTo>
                <a:lnTo>
                  <a:pt x="272636" y="184714"/>
                </a:lnTo>
                <a:lnTo>
                  <a:pt x="271587" y="196507"/>
                </a:lnTo>
                <a:lnTo>
                  <a:pt x="260954" y="234296"/>
                </a:lnTo>
                <a:lnTo>
                  <a:pt x="241764" y="271203"/>
                </a:lnTo>
                <a:lnTo>
                  <a:pt x="236695" y="281784"/>
                </a:lnTo>
                <a:lnTo>
                  <a:pt x="233594" y="291147"/>
                </a:lnTo>
                <a:lnTo>
                  <a:pt x="233245" y="299080"/>
                </a:lnTo>
                <a:lnTo>
                  <a:pt x="236431" y="305369"/>
                </a:lnTo>
                <a:lnTo>
                  <a:pt x="241695" y="308916"/>
                </a:lnTo>
                <a:lnTo>
                  <a:pt x="247970" y="309990"/>
                </a:lnTo>
                <a:lnTo>
                  <a:pt x="254800" y="308085"/>
                </a:lnTo>
                <a:lnTo>
                  <a:pt x="284064" y="276912"/>
                </a:lnTo>
                <a:lnTo>
                  <a:pt x="302997" y="237535"/>
                </a:lnTo>
                <a:lnTo>
                  <a:pt x="313905" y="193989"/>
                </a:lnTo>
                <a:lnTo>
                  <a:pt x="316928" y="153385"/>
                </a:lnTo>
                <a:lnTo>
                  <a:pt x="316454" y="140912"/>
                </a:lnTo>
                <a:lnTo>
                  <a:pt x="305919" y="93373"/>
                </a:lnTo>
                <a:lnTo>
                  <a:pt x="287917" y="62043"/>
                </a:lnTo>
                <a:lnTo>
                  <a:pt x="279719" y="52434"/>
                </a:lnTo>
                <a:close/>
              </a:path>
            </a:pathLst>
          </a:custGeom>
          <a:solidFill>
            <a:srgbClr val="FFFFFF"/>
          </a:solidFill>
        </p:spPr>
        <p:txBody>
          <a:bodyPr lIns="0" tIns="0" rIns="0" bIns="0"/>
          <a:lstStyle/>
          <a:p>
            <a:pPr>
              <a:defRPr/>
            </a:pPr>
            <a:endParaRPr sz="2100"/>
          </a:p>
        </p:txBody>
      </p:sp>
      <p:sp>
        <p:nvSpPr>
          <p:cNvPr id="29" name="object 29"/>
          <p:cNvSpPr/>
          <p:nvPr/>
        </p:nvSpPr>
        <p:spPr>
          <a:xfrm>
            <a:off x="1569562" y="1134138"/>
            <a:ext cx="137600" cy="63262"/>
          </a:xfrm>
          <a:custGeom>
            <a:avLst/>
            <a:gdLst/>
            <a:ahLst/>
            <a:cxnLst/>
            <a:rect l="l" t="t" r="r" b="b"/>
            <a:pathLst>
              <a:path w="257462" h="117510">
                <a:moveTo>
                  <a:pt x="242299" y="0"/>
                </a:moveTo>
                <a:lnTo>
                  <a:pt x="229923" y="606"/>
                </a:lnTo>
                <a:lnTo>
                  <a:pt x="5264" y="79689"/>
                </a:lnTo>
                <a:lnTo>
                  <a:pt x="0" y="90374"/>
                </a:lnTo>
                <a:lnTo>
                  <a:pt x="950" y="103161"/>
                </a:lnTo>
                <a:lnTo>
                  <a:pt x="9370" y="113649"/>
                </a:lnTo>
                <a:lnTo>
                  <a:pt x="21999" y="117510"/>
                </a:lnTo>
                <a:lnTo>
                  <a:pt x="24412" y="117510"/>
                </a:lnTo>
                <a:lnTo>
                  <a:pt x="26850" y="117116"/>
                </a:lnTo>
                <a:lnTo>
                  <a:pt x="250449" y="40281"/>
                </a:lnTo>
                <a:lnTo>
                  <a:pt x="256229" y="32460"/>
                </a:lnTo>
                <a:lnTo>
                  <a:pt x="257462" y="20918"/>
                </a:lnTo>
                <a:lnTo>
                  <a:pt x="252890" y="5755"/>
                </a:lnTo>
                <a:lnTo>
                  <a:pt x="242299" y="0"/>
                </a:lnTo>
                <a:close/>
              </a:path>
            </a:pathLst>
          </a:custGeom>
          <a:solidFill>
            <a:srgbClr val="FFFFFF"/>
          </a:solidFill>
        </p:spPr>
        <p:txBody>
          <a:bodyPr lIns="0" tIns="0" rIns="0" bIns="0"/>
          <a:lstStyle/>
          <a:p>
            <a:pPr>
              <a:defRPr/>
            </a:pPr>
            <a:endParaRPr sz="2100"/>
          </a:p>
        </p:txBody>
      </p:sp>
      <p:sp>
        <p:nvSpPr>
          <p:cNvPr id="30" name="object 30"/>
          <p:cNvSpPr/>
          <p:nvPr/>
        </p:nvSpPr>
        <p:spPr>
          <a:xfrm>
            <a:off x="1577817" y="1288167"/>
            <a:ext cx="144022" cy="28422"/>
          </a:xfrm>
          <a:custGeom>
            <a:avLst/>
            <a:gdLst/>
            <a:ahLst/>
            <a:cxnLst/>
            <a:rect l="l" t="t" r="r" b="b"/>
            <a:pathLst>
              <a:path w="269961" h="55455">
                <a:moveTo>
                  <a:pt x="21684" y="0"/>
                </a:moveTo>
                <a:lnTo>
                  <a:pt x="10604" y="3125"/>
                </a:lnTo>
                <a:lnTo>
                  <a:pt x="2724" y="12997"/>
                </a:lnTo>
                <a:lnTo>
                  <a:pt x="0" y="29649"/>
                </a:lnTo>
                <a:lnTo>
                  <a:pt x="7686" y="40539"/>
                </a:lnTo>
                <a:lnTo>
                  <a:pt x="20500" y="45232"/>
                </a:lnTo>
                <a:lnTo>
                  <a:pt x="247437" y="55430"/>
                </a:lnTo>
                <a:lnTo>
                  <a:pt x="248465" y="55455"/>
                </a:lnTo>
                <a:lnTo>
                  <a:pt x="259063" y="52535"/>
                </a:lnTo>
                <a:lnTo>
                  <a:pt x="267175" y="42754"/>
                </a:lnTo>
                <a:lnTo>
                  <a:pt x="269961" y="25807"/>
                </a:lnTo>
                <a:lnTo>
                  <a:pt x="262280" y="14922"/>
                </a:lnTo>
                <a:lnTo>
                  <a:pt x="249469" y="10231"/>
                </a:lnTo>
                <a:lnTo>
                  <a:pt x="21684" y="0"/>
                </a:lnTo>
                <a:close/>
              </a:path>
            </a:pathLst>
          </a:custGeom>
          <a:solidFill>
            <a:srgbClr val="FFFFFF"/>
          </a:solidFill>
        </p:spPr>
        <p:txBody>
          <a:bodyPr lIns="0" tIns="0" rIns="0" bIns="0"/>
          <a:lstStyle/>
          <a:p>
            <a:pPr>
              <a:defRPr/>
            </a:pPr>
            <a:endParaRPr sz="2100"/>
          </a:p>
        </p:txBody>
      </p:sp>
      <p:sp>
        <p:nvSpPr>
          <p:cNvPr id="31" name="object 31"/>
          <p:cNvSpPr/>
          <p:nvPr/>
        </p:nvSpPr>
        <p:spPr>
          <a:xfrm>
            <a:off x="1540207" y="1397272"/>
            <a:ext cx="127509" cy="88017"/>
          </a:xfrm>
          <a:custGeom>
            <a:avLst/>
            <a:gdLst/>
            <a:ahLst/>
            <a:cxnLst/>
            <a:rect l="l" t="t" r="r" b="b"/>
            <a:pathLst>
              <a:path w="237860" h="164749">
                <a:moveTo>
                  <a:pt x="28484" y="0"/>
                </a:moveTo>
                <a:lnTo>
                  <a:pt x="18713" y="454"/>
                </a:lnTo>
                <a:lnTo>
                  <a:pt x="8922" y="6983"/>
                </a:lnTo>
                <a:lnTo>
                  <a:pt x="0" y="20598"/>
                </a:lnTo>
                <a:lnTo>
                  <a:pt x="2448" y="32066"/>
                </a:lnTo>
                <a:lnTo>
                  <a:pt x="10620" y="40962"/>
                </a:lnTo>
                <a:lnTo>
                  <a:pt x="207000" y="163644"/>
                </a:lnTo>
                <a:lnTo>
                  <a:pt x="211153" y="164749"/>
                </a:lnTo>
                <a:lnTo>
                  <a:pt x="215242" y="164749"/>
                </a:lnTo>
                <a:lnTo>
                  <a:pt x="219418" y="164298"/>
                </a:lnTo>
                <a:lnTo>
                  <a:pt x="228579" y="158673"/>
                </a:lnTo>
                <a:lnTo>
                  <a:pt x="237860" y="143301"/>
                </a:lnTo>
                <a:lnTo>
                  <a:pt x="235414" y="131835"/>
                </a:lnTo>
                <a:lnTo>
                  <a:pt x="227244" y="122941"/>
                </a:lnTo>
                <a:lnTo>
                  <a:pt x="28484" y="0"/>
                </a:lnTo>
                <a:close/>
              </a:path>
            </a:pathLst>
          </a:custGeom>
          <a:solidFill>
            <a:srgbClr val="FFFFFF"/>
          </a:solidFill>
        </p:spPr>
        <p:txBody>
          <a:bodyPr lIns="0" tIns="0" rIns="0" bIns="0"/>
          <a:lstStyle/>
          <a:p>
            <a:pPr>
              <a:defRPr/>
            </a:pPr>
            <a:endParaRPr sz="2100"/>
          </a:p>
        </p:txBody>
      </p:sp>
      <p:sp>
        <p:nvSpPr>
          <p:cNvPr id="32" name="object 32"/>
          <p:cNvSpPr txBox="1"/>
          <p:nvPr/>
        </p:nvSpPr>
        <p:spPr>
          <a:xfrm>
            <a:off x="845783" y="2352625"/>
            <a:ext cx="1817242" cy="395160"/>
          </a:xfrm>
          <a:prstGeom prst="rect">
            <a:avLst/>
          </a:prstGeom>
        </p:spPr>
        <p:txBody>
          <a:bodyPr lIns="0" tIns="0" rIns="0" bIns="0"/>
          <a:lstStyle>
            <a:lvl1pPr>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solidFill>
                  <a:srgbClr val="231F20"/>
                </a:solidFill>
                <a:latin typeface="Zawgyi-One" pitchFamily="34" charset="0"/>
                <a:cs typeface="Zawgyi-One" pitchFamily="34" charset="0"/>
              </a:rPr>
              <a:t>၅. </a:t>
            </a:r>
            <a:r>
              <a:rPr lang="my-MM">
                <a:solidFill>
                  <a:srgbClr val="231F20"/>
                </a:solidFill>
                <a:latin typeface="Zawgyi-One" pitchFamily="34" charset="0"/>
                <a:cs typeface="Zawgyi-One" pitchFamily="34" charset="0"/>
              </a:rPr>
              <a:t>အက်ဥ္းခ်ဳပ္ျခင္း</a:t>
            </a:r>
            <a:endParaRPr lang="en-US">
              <a:solidFill>
                <a:srgbClr val="231F20"/>
              </a:solidFill>
              <a:latin typeface="Zawgyi-One" pitchFamily="34" charset="0"/>
              <a:cs typeface="Zawgyi-One" pitchFamily="34" charset="0"/>
            </a:endParaRPr>
          </a:p>
        </p:txBody>
      </p:sp>
      <p:sp>
        <p:nvSpPr>
          <p:cNvPr id="34" name="object 34"/>
          <p:cNvSpPr/>
          <p:nvPr/>
        </p:nvSpPr>
        <p:spPr>
          <a:xfrm>
            <a:off x="3554676" y="2375546"/>
            <a:ext cx="5079286" cy="892090"/>
          </a:xfrm>
          <a:custGeom>
            <a:avLst/>
            <a:gdLst/>
            <a:ahLst/>
            <a:cxnLst/>
            <a:rect l="l" t="t" r="r" b="b"/>
            <a:pathLst>
              <a:path w="7522197" h="1674012">
                <a:moveTo>
                  <a:pt x="0" y="1674012"/>
                </a:moveTo>
                <a:lnTo>
                  <a:pt x="7522197" y="1674012"/>
                </a:lnTo>
                <a:lnTo>
                  <a:pt x="7522197" y="0"/>
                </a:lnTo>
                <a:lnTo>
                  <a:pt x="0" y="0"/>
                </a:lnTo>
                <a:lnTo>
                  <a:pt x="0" y="1674012"/>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35" name="object 35"/>
          <p:cNvSpPr/>
          <p:nvPr/>
        </p:nvSpPr>
        <p:spPr>
          <a:xfrm>
            <a:off x="3554676" y="3465674"/>
            <a:ext cx="5079286" cy="892090"/>
          </a:xfrm>
          <a:custGeom>
            <a:avLst/>
            <a:gdLst/>
            <a:ahLst/>
            <a:cxnLst/>
            <a:rect l="l" t="t" r="r" b="b"/>
            <a:pathLst>
              <a:path w="7522197" h="1674012">
                <a:moveTo>
                  <a:pt x="0" y="1674012"/>
                </a:moveTo>
                <a:lnTo>
                  <a:pt x="7522197" y="1674012"/>
                </a:lnTo>
                <a:lnTo>
                  <a:pt x="7522197" y="0"/>
                </a:lnTo>
                <a:lnTo>
                  <a:pt x="0" y="0"/>
                </a:lnTo>
                <a:lnTo>
                  <a:pt x="0" y="1674012"/>
                </a:lnTo>
                <a:close/>
              </a:path>
            </a:pathLst>
          </a:custGeom>
          <a:solidFill>
            <a:srgbClr val="FFFFFF"/>
          </a:solidFill>
        </p:spPr>
        <p:txBody>
          <a:bodyPr lIns="0" tIns="0" rIns="0" bIns="0"/>
          <a:lstStyle/>
          <a:p>
            <a:pPr>
              <a:defRPr/>
            </a:pPr>
            <a:endParaRPr sz="2100">
              <a:latin typeface="Zawgyi-One" pitchFamily="34" charset="0"/>
              <a:cs typeface="Zawgyi-One" pitchFamily="34" charset="0"/>
            </a:endParaRPr>
          </a:p>
        </p:txBody>
      </p:sp>
      <p:sp>
        <p:nvSpPr>
          <p:cNvPr id="156689" name="object 36"/>
          <p:cNvSpPr txBox="1">
            <a:spLocks noChangeArrowheads="1"/>
          </p:cNvSpPr>
          <p:nvPr/>
        </p:nvSpPr>
        <p:spPr bwMode="auto">
          <a:xfrm>
            <a:off x="3728969" y="2516740"/>
            <a:ext cx="4619701" cy="59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a:solidFill>
                  <a:srgbClr val="231F20"/>
                </a:solidFill>
                <a:latin typeface="Zawgyi-One" pitchFamily="34" charset="0"/>
                <a:ea typeface="SimHei" pitchFamily="49" charset="-122"/>
                <a:cs typeface="Zawgyi-One" pitchFamily="34" charset="0"/>
              </a:rPr>
              <a:t>စကားေျပာျခင္းတစ္ေလ်ာက္ကေလးဘာေျပာ သြားတယ္ဆိုတာကို ဆင္ျခင္းသံုးသပ္ျခင္း</a:t>
            </a:r>
            <a:endParaRPr lang="en-US" altLang="en-US">
              <a:solidFill>
                <a:srgbClr val="075109"/>
              </a:solidFill>
              <a:latin typeface="Zawgyi-One" pitchFamily="34" charset="0"/>
              <a:ea typeface="SimHei" pitchFamily="49" charset="-122"/>
              <a:cs typeface="Zawgyi-One" pitchFamily="34" charset="0"/>
            </a:endParaRPr>
          </a:p>
        </p:txBody>
      </p:sp>
      <p:sp>
        <p:nvSpPr>
          <p:cNvPr id="156690" name="object 37"/>
          <p:cNvSpPr txBox="1">
            <a:spLocks noChangeArrowheads="1"/>
          </p:cNvSpPr>
          <p:nvPr/>
        </p:nvSpPr>
        <p:spPr bwMode="auto">
          <a:xfrm>
            <a:off x="3728969" y="3605952"/>
            <a:ext cx="4783904" cy="59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6350">
              <a:defRPr>
                <a:solidFill>
                  <a:schemeClr val="tx1"/>
                </a:solidFill>
                <a:latin typeface="Gill Sans MT" pitchFamily="34" charset="0"/>
                <a:cs typeface="Arial" pitchFamily="34" charset="0"/>
              </a:defRPr>
            </a:lvl1pPr>
            <a:lvl2pPr marL="742950" indent="-285750">
              <a:defRPr>
                <a:solidFill>
                  <a:schemeClr val="tx1"/>
                </a:solidFill>
                <a:latin typeface="Gill Sans MT" pitchFamily="34" charset="0"/>
                <a:cs typeface="Arial" pitchFamily="34" charset="0"/>
              </a:defRPr>
            </a:lvl2pPr>
            <a:lvl3pPr marL="1143000" indent="-228600">
              <a:defRPr>
                <a:solidFill>
                  <a:schemeClr val="tx1"/>
                </a:solidFill>
                <a:latin typeface="Gill Sans MT" pitchFamily="34" charset="0"/>
                <a:cs typeface="Arial" pitchFamily="34" charset="0"/>
              </a:defRPr>
            </a:lvl3pPr>
            <a:lvl4pPr marL="1600200" indent="-228600">
              <a:defRPr>
                <a:solidFill>
                  <a:schemeClr val="tx1"/>
                </a:solidFill>
                <a:latin typeface="Gill Sans MT" pitchFamily="34" charset="0"/>
                <a:cs typeface="Arial" pitchFamily="34" charset="0"/>
              </a:defRPr>
            </a:lvl4pPr>
            <a:lvl5pPr marL="2057400" indent="-228600">
              <a:defRPr>
                <a:solidFill>
                  <a:schemeClr val="tx1"/>
                </a:solidFill>
                <a:latin typeface="Gill Sans MT" pitchFamily="34" charset="0"/>
                <a:cs typeface="Arial" pitchFamily="34" charset="0"/>
              </a:defRPr>
            </a:lvl5pPr>
            <a:lvl6pPr marL="2514600" indent="-2286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a:solidFill>
                  <a:srgbClr val="231F20"/>
                </a:solidFill>
                <a:latin typeface="Zawgyi-One" pitchFamily="34" charset="0"/>
                <a:ea typeface="SimHei" pitchFamily="49" charset="-122"/>
                <a:cs typeface="Zawgyi-One" pitchFamily="34" charset="0"/>
              </a:rPr>
              <a:t>ကေလးေျပာသြားေသာအဓိက အခ်က္ေတြကို ဆင္ျခင္သံုးသပ္ျပီး ေဖၚထုတ္ျခင္း</a:t>
            </a:r>
            <a:endParaRPr lang="en-US" altLang="en-US">
              <a:solidFill>
                <a:srgbClr val="075109"/>
              </a:solidFill>
              <a:latin typeface="Zawgyi-One" pitchFamily="34" charset="0"/>
              <a:ea typeface="SimHei" pitchFamily="49" charset="-122"/>
              <a:cs typeface="Zawgyi-One" pitchFamily="34" charset="0"/>
            </a:endParaRPr>
          </a:p>
        </p:txBody>
      </p:sp>
      <p:sp>
        <p:nvSpPr>
          <p:cNvPr id="38" name="object 38"/>
          <p:cNvSpPr/>
          <p:nvPr/>
        </p:nvSpPr>
        <p:spPr>
          <a:xfrm>
            <a:off x="2940978" y="2536910"/>
            <a:ext cx="289878" cy="360320"/>
          </a:xfrm>
          <a:custGeom>
            <a:avLst/>
            <a:gdLst/>
            <a:ahLst/>
            <a:cxnLst/>
            <a:rect l="l" t="t"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39" name="object 39"/>
          <p:cNvSpPr/>
          <p:nvPr/>
        </p:nvSpPr>
        <p:spPr>
          <a:xfrm>
            <a:off x="2940978" y="3627039"/>
            <a:ext cx="331158" cy="361237"/>
          </a:xfrm>
          <a:custGeom>
            <a:avLst/>
            <a:gdLst/>
            <a:ahLst/>
            <a:cxnLst/>
            <a:rect l="l" t="t" r="r" b="b"/>
            <a:pathLst>
              <a:path w="820679" h="676895">
                <a:moveTo>
                  <a:pt x="452597" y="0"/>
                </a:moveTo>
                <a:lnTo>
                  <a:pt x="408900" y="7394"/>
                </a:lnTo>
                <a:lnTo>
                  <a:pt x="110909" y="190803"/>
                </a:lnTo>
                <a:lnTo>
                  <a:pt x="99441" y="195974"/>
                </a:lnTo>
                <a:lnTo>
                  <a:pt x="86321" y="199091"/>
                </a:lnTo>
                <a:lnTo>
                  <a:pt x="16408" y="199515"/>
                </a:lnTo>
                <a:lnTo>
                  <a:pt x="7340" y="199515"/>
                </a:lnTo>
                <a:lnTo>
                  <a:pt x="0" y="206868"/>
                </a:lnTo>
                <a:lnTo>
                  <a:pt x="0" y="569682"/>
                </a:lnTo>
                <a:lnTo>
                  <a:pt x="3989" y="582262"/>
                </a:lnTo>
                <a:lnTo>
                  <a:pt x="221437" y="671015"/>
                </a:lnTo>
                <a:lnTo>
                  <a:pt x="466813" y="676895"/>
                </a:lnTo>
                <a:lnTo>
                  <a:pt x="481798" y="676060"/>
                </a:lnTo>
                <a:lnTo>
                  <a:pt x="518053" y="663601"/>
                </a:lnTo>
                <a:lnTo>
                  <a:pt x="542308" y="629613"/>
                </a:lnTo>
                <a:lnTo>
                  <a:pt x="261937" y="629613"/>
                </a:lnTo>
                <a:lnTo>
                  <a:pt x="249513" y="628515"/>
                </a:lnTo>
                <a:lnTo>
                  <a:pt x="62610" y="559471"/>
                </a:lnTo>
                <a:lnTo>
                  <a:pt x="47282" y="254150"/>
                </a:lnTo>
                <a:lnTo>
                  <a:pt x="54635" y="246797"/>
                </a:lnTo>
                <a:lnTo>
                  <a:pt x="94132" y="246797"/>
                </a:lnTo>
                <a:lnTo>
                  <a:pt x="106593" y="245098"/>
                </a:lnTo>
                <a:lnTo>
                  <a:pt x="119371" y="240779"/>
                </a:lnTo>
                <a:lnTo>
                  <a:pt x="419417" y="53554"/>
                </a:lnTo>
                <a:lnTo>
                  <a:pt x="431485" y="50435"/>
                </a:lnTo>
                <a:lnTo>
                  <a:pt x="445021" y="47862"/>
                </a:lnTo>
                <a:lnTo>
                  <a:pt x="458825" y="47293"/>
                </a:lnTo>
                <a:lnTo>
                  <a:pt x="508994" y="47293"/>
                </a:lnTo>
                <a:lnTo>
                  <a:pt x="506981" y="38913"/>
                </a:lnTo>
                <a:lnTo>
                  <a:pt x="481889" y="7119"/>
                </a:lnTo>
                <a:lnTo>
                  <a:pt x="461793" y="628"/>
                </a:lnTo>
                <a:lnTo>
                  <a:pt x="452597" y="0"/>
                </a:lnTo>
                <a:close/>
              </a:path>
              <a:path w="820679" h="676895">
                <a:moveTo>
                  <a:pt x="537997" y="507668"/>
                </a:moveTo>
                <a:lnTo>
                  <a:pt x="533438" y="513404"/>
                </a:lnTo>
                <a:lnTo>
                  <a:pt x="521387" y="518396"/>
                </a:lnTo>
                <a:lnTo>
                  <a:pt x="443991" y="520038"/>
                </a:lnTo>
                <a:lnTo>
                  <a:pt x="434924" y="520038"/>
                </a:lnTo>
                <a:lnTo>
                  <a:pt x="427570" y="527391"/>
                </a:lnTo>
                <a:lnTo>
                  <a:pt x="427570" y="559979"/>
                </a:lnTo>
                <a:lnTo>
                  <a:pt x="434924" y="567332"/>
                </a:lnTo>
                <a:lnTo>
                  <a:pt x="497141" y="567332"/>
                </a:lnTo>
                <a:lnTo>
                  <a:pt x="497166" y="616697"/>
                </a:lnTo>
                <a:lnTo>
                  <a:pt x="261937" y="629613"/>
                </a:lnTo>
                <a:lnTo>
                  <a:pt x="542308" y="629613"/>
                </a:lnTo>
                <a:lnTo>
                  <a:pt x="542881" y="628102"/>
                </a:lnTo>
                <a:lnTo>
                  <a:pt x="544368" y="618291"/>
                </a:lnTo>
                <a:lnTo>
                  <a:pt x="544423" y="560652"/>
                </a:lnTo>
                <a:lnTo>
                  <a:pt x="559905" y="552547"/>
                </a:lnTo>
                <a:lnTo>
                  <a:pt x="583427" y="520938"/>
                </a:lnTo>
                <a:lnTo>
                  <a:pt x="585233" y="509344"/>
                </a:lnTo>
                <a:lnTo>
                  <a:pt x="538022" y="509344"/>
                </a:lnTo>
                <a:lnTo>
                  <a:pt x="537997" y="507668"/>
                </a:lnTo>
                <a:close/>
              </a:path>
              <a:path w="820679" h="676895">
                <a:moveTo>
                  <a:pt x="634365" y="328572"/>
                </a:moveTo>
                <a:lnTo>
                  <a:pt x="587082" y="328572"/>
                </a:lnTo>
                <a:lnTo>
                  <a:pt x="587082" y="387970"/>
                </a:lnTo>
                <a:lnTo>
                  <a:pt x="584326" y="393919"/>
                </a:lnTo>
                <a:lnTo>
                  <a:pt x="575528" y="401779"/>
                </a:lnTo>
                <a:lnTo>
                  <a:pt x="557311" y="406900"/>
                </a:lnTo>
                <a:lnTo>
                  <a:pt x="489775" y="407211"/>
                </a:lnTo>
                <a:lnTo>
                  <a:pt x="480707" y="407211"/>
                </a:lnTo>
                <a:lnTo>
                  <a:pt x="473354" y="414551"/>
                </a:lnTo>
                <a:lnTo>
                  <a:pt x="473354" y="447140"/>
                </a:lnTo>
                <a:lnTo>
                  <a:pt x="480707" y="454493"/>
                </a:lnTo>
                <a:lnTo>
                  <a:pt x="538022" y="454493"/>
                </a:lnTo>
                <a:lnTo>
                  <a:pt x="538022" y="509344"/>
                </a:lnTo>
                <a:lnTo>
                  <a:pt x="585233" y="509344"/>
                </a:lnTo>
                <a:lnTo>
                  <a:pt x="585304" y="449019"/>
                </a:lnTo>
                <a:lnTo>
                  <a:pt x="600873" y="441738"/>
                </a:lnTo>
                <a:lnTo>
                  <a:pt x="628641" y="411153"/>
                </a:lnTo>
                <a:lnTo>
                  <a:pt x="634365" y="391374"/>
                </a:lnTo>
                <a:lnTo>
                  <a:pt x="634365" y="328572"/>
                </a:lnTo>
                <a:close/>
              </a:path>
              <a:path w="820679" h="676895">
                <a:moveTo>
                  <a:pt x="814483" y="207529"/>
                </a:moveTo>
                <a:lnTo>
                  <a:pt x="752271" y="207529"/>
                </a:lnTo>
                <a:lnTo>
                  <a:pt x="758812" y="208011"/>
                </a:lnTo>
                <a:lnTo>
                  <a:pt x="763930" y="212964"/>
                </a:lnTo>
                <a:lnTo>
                  <a:pt x="769645" y="221790"/>
                </a:lnTo>
                <a:lnTo>
                  <a:pt x="772839" y="234643"/>
                </a:lnTo>
                <a:lnTo>
                  <a:pt x="772560" y="252140"/>
                </a:lnTo>
                <a:lnTo>
                  <a:pt x="756818" y="281341"/>
                </a:lnTo>
                <a:lnTo>
                  <a:pt x="480656" y="281341"/>
                </a:lnTo>
                <a:lnTo>
                  <a:pt x="473354" y="288631"/>
                </a:lnTo>
                <a:lnTo>
                  <a:pt x="473354" y="321219"/>
                </a:lnTo>
                <a:lnTo>
                  <a:pt x="480707" y="328572"/>
                </a:lnTo>
                <a:lnTo>
                  <a:pt x="752233" y="328572"/>
                </a:lnTo>
                <a:lnTo>
                  <a:pt x="760149" y="328412"/>
                </a:lnTo>
                <a:lnTo>
                  <a:pt x="797220" y="310025"/>
                </a:lnTo>
                <a:lnTo>
                  <a:pt x="815086" y="281341"/>
                </a:lnTo>
                <a:lnTo>
                  <a:pt x="756818" y="281341"/>
                </a:lnTo>
                <a:lnTo>
                  <a:pt x="815105" y="281290"/>
                </a:lnTo>
                <a:lnTo>
                  <a:pt x="816697" y="277225"/>
                </a:lnTo>
                <a:lnTo>
                  <a:pt x="819442" y="265103"/>
                </a:lnTo>
                <a:lnTo>
                  <a:pt x="820679" y="252140"/>
                </a:lnTo>
                <a:lnTo>
                  <a:pt x="820072" y="235728"/>
                </a:lnTo>
                <a:lnTo>
                  <a:pt x="818137" y="221232"/>
                </a:lnTo>
                <a:lnTo>
                  <a:pt x="814884" y="208504"/>
                </a:lnTo>
                <a:lnTo>
                  <a:pt x="814483" y="207529"/>
                </a:lnTo>
                <a:close/>
              </a:path>
              <a:path w="820679" h="676895">
                <a:moveTo>
                  <a:pt x="508994" y="47293"/>
                </a:moveTo>
                <a:lnTo>
                  <a:pt x="458825" y="47293"/>
                </a:lnTo>
                <a:lnTo>
                  <a:pt x="460552" y="48982"/>
                </a:lnTo>
                <a:lnTo>
                  <a:pt x="464011" y="56407"/>
                </a:lnTo>
                <a:lnTo>
                  <a:pt x="466011" y="72366"/>
                </a:lnTo>
                <a:lnTo>
                  <a:pt x="464483" y="82045"/>
                </a:lnTo>
                <a:lnTo>
                  <a:pt x="460186" y="92414"/>
                </a:lnTo>
                <a:lnTo>
                  <a:pt x="435543" y="124802"/>
                </a:lnTo>
                <a:lnTo>
                  <a:pt x="403471" y="153105"/>
                </a:lnTo>
                <a:lnTo>
                  <a:pt x="395198" y="160272"/>
                </a:lnTo>
                <a:lnTo>
                  <a:pt x="354253" y="160272"/>
                </a:lnTo>
                <a:lnTo>
                  <a:pt x="343363" y="161202"/>
                </a:lnTo>
                <a:lnTo>
                  <a:pt x="328807" y="165451"/>
                </a:lnTo>
                <a:lnTo>
                  <a:pt x="318023" y="175500"/>
                </a:lnTo>
                <a:lnTo>
                  <a:pt x="320906" y="193647"/>
                </a:lnTo>
                <a:lnTo>
                  <a:pt x="329970" y="203199"/>
                </a:lnTo>
                <a:lnTo>
                  <a:pt x="342227" y="206915"/>
                </a:lnTo>
                <a:lnTo>
                  <a:pt x="354685" y="207553"/>
                </a:lnTo>
                <a:lnTo>
                  <a:pt x="814483" y="207529"/>
                </a:lnTo>
                <a:lnTo>
                  <a:pt x="782510" y="168567"/>
                </a:lnTo>
                <a:lnTo>
                  <a:pt x="467271" y="160272"/>
                </a:lnTo>
                <a:lnTo>
                  <a:pt x="478600" y="148393"/>
                </a:lnTo>
                <a:lnTo>
                  <a:pt x="503066" y="114028"/>
                </a:lnTo>
                <a:lnTo>
                  <a:pt x="513100" y="81787"/>
                </a:lnTo>
                <a:lnTo>
                  <a:pt x="511515" y="57783"/>
                </a:lnTo>
                <a:lnTo>
                  <a:pt x="508994" y="47293"/>
                </a:lnTo>
                <a:close/>
              </a:path>
            </a:pathLst>
          </a:custGeom>
          <a:solidFill>
            <a:srgbClr val="ED1C24"/>
          </a:solidFill>
        </p:spPr>
        <p:txBody>
          <a:bodyPr lIns="0" tIns="0" rIns="0" bIns="0"/>
          <a:lstStyle/>
          <a:p>
            <a:pPr>
              <a:defRPr/>
            </a:pPr>
            <a:endParaRPr sz="2100">
              <a:latin typeface="Zawgyi-One" pitchFamily="34" charset="0"/>
              <a:cs typeface="Zawgyi-One" pitchFamily="34" charset="0"/>
            </a:endParaRPr>
          </a:p>
        </p:txBody>
      </p:sp>
      <p:sp>
        <p:nvSpPr>
          <p:cNvPr id="19" name="object 6">
            <a:extLst>
              <a:ext uri="{FF2B5EF4-FFF2-40B4-BE49-F238E27FC236}">
                <a16:creationId xmlns:a16="http://schemas.microsoft.com/office/drawing/2014/main" id="{D05A29C2-169A-4A21-9239-A71C024734BB}"/>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0" name="object 7">
            <a:extLst>
              <a:ext uri="{FF2B5EF4-FFF2-40B4-BE49-F238E27FC236}">
                <a16:creationId xmlns:a16="http://schemas.microsoft.com/office/drawing/2014/main" id="{2F1B2C10-8705-4B4E-9438-DC6451157F11}"/>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29</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16697847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8201897" y="518934"/>
            <a:ext cx="294464" cy="291557"/>
          </a:xfrm>
          <a:prstGeom prst="rect">
            <a:avLst/>
          </a:prstGeom>
        </p:spPr>
        <p:txBody>
          <a:bodyPr lIns="0" tIns="0" rIns="0" bIns="0"/>
          <a:lstStyle>
            <a:lvl1pPr marL="11113"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pPr eaLnBrk="0" fontAlgn="base" hangingPunct="0">
              <a:spcBef>
                <a:spcPct val="0"/>
              </a:spcBef>
              <a:spcAft>
                <a:spcPct val="0"/>
              </a:spcAft>
            </a:pPr>
            <a:r>
              <a:rPr lang="en-US" b="1">
                <a:solidFill>
                  <a:srgbClr val="ED1C24"/>
                </a:solidFill>
                <a:latin typeface="Zawgyi-One" pitchFamily="34" charset="0"/>
                <a:ea typeface="SimHei" pitchFamily="49" charset="-122"/>
                <a:cs typeface="Zawgyi-One" pitchFamily="34" charset="0"/>
              </a:rPr>
              <a:t>52</a:t>
            </a:r>
            <a:endParaRPr lang="en-US">
              <a:solidFill>
                <a:srgbClr val="075109"/>
              </a:solidFill>
              <a:latin typeface="Zawgyi-One" pitchFamily="34" charset="0"/>
              <a:ea typeface="SimHei" pitchFamily="49" charset="-122"/>
              <a:cs typeface="Zawgyi-One" pitchFamily="34" charset="0"/>
            </a:endParaRPr>
          </a:p>
        </p:txBody>
      </p:sp>
      <p:sp>
        <p:nvSpPr>
          <p:cNvPr id="24" name="object 24"/>
          <p:cNvSpPr/>
          <p:nvPr/>
        </p:nvSpPr>
        <p:spPr>
          <a:xfrm>
            <a:off x="1333806" y="1816271"/>
            <a:ext cx="2149317" cy="2299447"/>
          </a:xfrm>
          <a:custGeom>
            <a:avLst/>
            <a:gdLst/>
            <a:ahLst/>
            <a:cxnLst/>
            <a:rect l="l" t="t"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25" name="object 25"/>
          <p:cNvSpPr txBox="1"/>
          <p:nvPr/>
        </p:nvSpPr>
        <p:spPr>
          <a:xfrm>
            <a:off x="1442970" y="3005419"/>
            <a:ext cx="1829167" cy="593199"/>
          </a:xfrm>
          <a:prstGeom prst="rect">
            <a:avLst/>
          </a:prstGeom>
        </p:spPr>
        <p:txBody>
          <a:bodyPr lIns="0" tIns="0" rIns="0" bIns="0"/>
          <a:lstStyle>
            <a:lvl1pPr marL="11113"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pPr eaLnBrk="0" fontAlgn="base" hangingPunct="0">
              <a:spcBef>
                <a:spcPct val="0"/>
              </a:spcBef>
              <a:spcAft>
                <a:spcPct val="0"/>
              </a:spcAft>
            </a:pPr>
            <a:r>
              <a:rPr lang="en-US" sz="2800" b="1">
                <a:solidFill>
                  <a:srgbClr val="FFFFFF"/>
                </a:solidFill>
                <a:latin typeface="Zawgyi-One" pitchFamily="34" charset="0"/>
                <a:ea typeface="SimHei" pitchFamily="49" charset="-122"/>
                <a:cs typeface="Zawgyi-One" pitchFamily="34" charset="0"/>
              </a:rPr>
              <a:t>ခ်ိတ္ဆက္ပါ</a:t>
            </a:r>
            <a:endParaRPr lang="en-US" sz="2800">
              <a:solidFill>
                <a:srgbClr val="075109"/>
              </a:solidFill>
              <a:latin typeface="Zawgyi-One" pitchFamily="34" charset="0"/>
              <a:ea typeface="SimHei" pitchFamily="49" charset="-122"/>
              <a:cs typeface="Zawgyi-One" pitchFamily="34" charset="0"/>
            </a:endParaRPr>
          </a:p>
        </p:txBody>
      </p:sp>
      <p:sp>
        <p:nvSpPr>
          <p:cNvPr id="26" name="object 26"/>
          <p:cNvSpPr/>
          <p:nvPr/>
        </p:nvSpPr>
        <p:spPr>
          <a:xfrm>
            <a:off x="4110580" y="1816270"/>
            <a:ext cx="4317898" cy="722474"/>
          </a:xfrm>
          <a:custGeom>
            <a:avLst/>
            <a:gdLst/>
            <a:ahLst/>
            <a:cxnLst/>
            <a:rect l="l" t="t" r="r" b="b"/>
            <a:pathLst>
              <a:path w="8100186" h="1356309">
                <a:moveTo>
                  <a:pt x="8100186" y="0"/>
                </a:moveTo>
                <a:lnTo>
                  <a:pt x="0" y="0"/>
                </a:lnTo>
                <a:lnTo>
                  <a:pt x="0" y="1356309"/>
                </a:lnTo>
                <a:lnTo>
                  <a:pt x="7618755" y="1355648"/>
                </a:lnTo>
                <a:lnTo>
                  <a:pt x="7694618" y="1354080"/>
                </a:lnTo>
                <a:lnTo>
                  <a:pt x="7762062" y="1351026"/>
                </a:lnTo>
                <a:lnTo>
                  <a:pt x="7821580" y="1345990"/>
                </a:lnTo>
                <a:lnTo>
                  <a:pt x="7873669" y="1338478"/>
                </a:lnTo>
                <a:lnTo>
                  <a:pt x="7918824" y="1327994"/>
                </a:lnTo>
                <a:lnTo>
                  <a:pt x="7957540" y="1314043"/>
                </a:lnTo>
                <a:lnTo>
                  <a:pt x="8017636" y="1273759"/>
                </a:lnTo>
                <a:lnTo>
                  <a:pt x="8057921" y="1213662"/>
                </a:lnTo>
                <a:lnTo>
                  <a:pt x="8071872" y="1174946"/>
                </a:lnTo>
                <a:lnTo>
                  <a:pt x="8082356" y="1129791"/>
                </a:lnTo>
                <a:lnTo>
                  <a:pt x="8089868" y="1077702"/>
                </a:lnTo>
                <a:lnTo>
                  <a:pt x="8094903" y="1018184"/>
                </a:lnTo>
                <a:lnTo>
                  <a:pt x="8097958" y="950741"/>
                </a:lnTo>
                <a:lnTo>
                  <a:pt x="8099526" y="874877"/>
                </a:lnTo>
                <a:lnTo>
                  <a:pt x="8100104" y="790098"/>
                </a:lnTo>
                <a:lnTo>
                  <a:pt x="8100186" y="0"/>
                </a:lnTo>
                <a:close/>
              </a:path>
            </a:pathLst>
          </a:custGeom>
          <a:solidFill>
            <a:srgbClr val="FFFFFF"/>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27" name="object 27"/>
          <p:cNvSpPr/>
          <p:nvPr/>
        </p:nvSpPr>
        <p:spPr>
          <a:xfrm>
            <a:off x="4110580" y="2765204"/>
            <a:ext cx="4317898" cy="722474"/>
          </a:xfrm>
          <a:custGeom>
            <a:avLst/>
            <a:gdLst/>
            <a:ahLst/>
            <a:cxnLst/>
            <a:rect l="l" t="t" r="r" b="b"/>
            <a:pathLst>
              <a:path w="8100186" h="1356309">
                <a:moveTo>
                  <a:pt x="8100186" y="0"/>
                </a:moveTo>
                <a:lnTo>
                  <a:pt x="0" y="0"/>
                </a:lnTo>
                <a:lnTo>
                  <a:pt x="0" y="1356309"/>
                </a:lnTo>
                <a:lnTo>
                  <a:pt x="7618755" y="1355648"/>
                </a:lnTo>
                <a:lnTo>
                  <a:pt x="7694618" y="1354080"/>
                </a:lnTo>
                <a:lnTo>
                  <a:pt x="7762062" y="1351026"/>
                </a:lnTo>
                <a:lnTo>
                  <a:pt x="7821580" y="1345990"/>
                </a:lnTo>
                <a:lnTo>
                  <a:pt x="7873669" y="1338478"/>
                </a:lnTo>
                <a:lnTo>
                  <a:pt x="7918824" y="1327994"/>
                </a:lnTo>
                <a:lnTo>
                  <a:pt x="7957540" y="1314043"/>
                </a:lnTo>
                <a:lnTo>
                  <a:pt x="8017636" y="1273759"/>
                </a:lnTo>
                <a:lnTo>
                  <a:pt x="8057921" y="1213662"/>
                </a:lnTo>
                <a:lnTo>
                  <a:pt x="8071872" y="1174946"/>
                </a:lnTo>
                <a:lnTo>
                  <a:pt x="8082356" y="1129791"/>
                </a:lnTo>
                <a:lnTo>
                  <a:pt x="8089868" y="1077702"/>
                </a:lnTo>
                <a:lnTo>
                  <a:pt x="8094903" y="1018184"/>
                </a:lnTo>
                <a:lnTo>
                  <a:pt x="8097958" y="950741"/>
                </a:lnTo>
                <a:lnTo>
                  <a:pt x="8099526" y="874877"/>
                </a:lnTo>
                <a:lnTo>
                  <a:pt x="8100104" y="790098"/>
                </a:lnTo>
                <a:lnTo>
                  <a:pt x="8100186" y="0"/>
                </a:lnTo>
                <a:close/>
              </a:path>
            </a:pathLst>
          </a:custGeom>
          <a:solidFill>
            <a:srgbClr val="FFFFFF"/>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28" name="object 28"/>
          <p:cNvSpPr/>
          <p:nvPr/>
        </p:nvSpPr>
        <p:spPr>
          <a:xfrm>
            <a:off x="4110580" y="3683884"/>
            <a:ext cx="4317898" cy="721557"/>
          </a:xfrm>
          <a:custGeom>
            <a:avLst/>
            <a:gdLst/>
            <a:ahLst/>
            <a:cxnLst/>
            <a:rect l="l" t="t" r="r" b="b"/>
            <a:pathLst>
              <a:path w="8100186" h="1356309">
                <a:moveTo>
                  <a:pt x="8100186" y="0"/>
                </a:moveTo>
                <a:lnTo>
                  <a:pt x="0" y="0"/>
                </a:lnTo>
                <a:lnTo>
                  <a:pt x="0" y="1356309"/>
                </a:lnTo>
                <a:lnTo>
                  <a:pt x="7618755" y="1355648"/>
                </a:lnTo>
                <a:lnTo>
                  <a:pt x="7694618" y="1354080"/>
                </a:lnTo>
                <a:lnTo>
                  <a:pt x="7762062" y="1351026"/>
                </a:lnTo>
                <a:lnTo>
                  <a:pt x="7821580" y="1345990"/>
                </a:lnTo>
                <a:lnTo>
                  <a:pt x="7873669" y="1338478"/>
                </a:lnTo>
                <a:lnTo>
                  <a:pt x="7918824" y="1327994"/>
                </a:lnTo>
                <a:lnTo>
                  <a:pt x="7957540" y="1314043"/>
                </a:lnTo>
                <a:lnTo>
                  <a:pt x="8017636" y="1273759"/>
                </a:lnTo>
                <a:lnTo>
                  <a:pt x="8057921" y="1213662"/>
                </a:lnTo>
                <a:lnTo>
                  <a:pt x="8071872" y="1174946"/>
                </a:lnTo>
                <a:lnTo>
                  <a:pt x="8082356" y="1129791"/>
                </a:lnTo>
                <a:lnTo>
                  <a:pt x="8089868" y="1077702"/>
                </a:lnTo>
                <a:lnTo>
                  <a:pt x="8094903" y="1018184"/>
                </a:lnTo>
                <a:lnTo>
                  <a:pt x="8097958" y="950741"/>
                </a:lnTo>
                <a:lnTo>
                  <a:pt x="8099526" y="874877"/>
                </a:lnTo>
                <a:lnTo>
                  <a:pt x="8100104" y="790098"/>
                </a:lnTo>
                <a:lnTo>
                  <a:pt x="8100186" y="0"/>
                </a:lnTo>
                <a:close/>
              </a:path>
            </a:pathLst>
          </a:custGeom>
          <a:solidFill>
            <a:srgbClr val="FFFFFF"/>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29" name="object 29"/>
          <p:cNvSpPr/>
          <p:nvPr/>
        </p:nvSpPr>
        <p:spPr>
          <a:xfrm>
            <a:off x="4110580" y="4574141"/>
            <a:ext cx="4317898" cy="884755"/>
          </a:xfrm>
          <a:custGeom>
            <a:avLst/>
            <a:gdLst/>
            <a:ahLst/>
            <a:cxnLst/>
            <a:rect l="l" t="t" r="r" b="b"/>
            <a:pathLst>
              <a:path w="8100186" h="1356309">
                <a:moveTo>
                  <a:pt x="8100186" y="0"/>
                </a:moveTo>
                <a:lnTo>
                  <a:pt x="0" y="0"/>
                </a:lnTo>
                <a:lnTo>
                  <a:pt x="0" y="1356309"/>
                </a:lnTo>
                <a:lnTo>
                  <a:pt x="7618755" y="1355648"/>
                </a:lnTo>
                <a:lnTo>
                  <a:pt x="7694618" y="1354080"/>
                </a:lnTo>
                <a:lnTo>
                  <a:pt x="7762062" y="1351026"/>
                </a:lnTo>
                <a:lnTo>
                  <a:pt x="7821580" y="1345990"/>
                </a:lnTo>
                <a:lnTo>
                  <a:pt x="7873669" y="1338478"/>
                </a:lnTo>
                <a:lnTo>
                  <a:pt x="7918824" y="1327994"/>
                </a:lnTo>
                <a:lnTo>
                  <a:pt x="7957540" y="1314043"/>
                </a:lnTo>
                <a:lnTo>
                  <a:pt x="8017636" y="1273759"/>
                </a:lnTo>
                <a:lnTo>
                  <a:pt x="8057921" y="1213662"/>
                </a:lnTo>
                <a:lnTo>
                  <a:pt x="8071872" y="1174946"/>
                </a:lnTo>
                <a:lnTo>
                  <a:pt x="8082356" y="1129792"/>
                </a:lnTo>
                <a:lnTo>
                  <a:pt x="8089868" y="1077702"/>
                </a:lnTo>
                <a:lnTo>
                  <a:pt x="8094903" y="1018184"/>
                </a:lnTo>
                <a:lnTo>
                  <a:pt x="8097958" y="950741"/>
                </a:lnTo>
                <a:lnTo>
                  <a:pt x="8099526" y="874877"/>
                </a:lnTo>
                <a:lnTo>
                  <a:pt x="8100104" y="790098"/>
                </a:lnTo>
                <a:lnTo>
                  <a:pt x="8100186" y="0"/>
                </a:lnTo>
                <a:close/>
              </a:path>
            </a:pathLst>
          </a:custGeom>
          <a:solidFill>
            <a:srgbClr val="FFFFFF"/>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108555" name="object 30"/>
          <p:cNvSpPr txBox="1">
            <a:spLocks noChangeArrowheads="1"/>
          </p:cNvSpPr>
          <p:nvPr/>
        </p:nvSpPr>
        <p:spPr bwMode="auto">
          <a:xfrm>
            <a:off x="4410550" y="1889618"/>
            <a:ext cx="4378443" cy="544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9525"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pPr eaLnBrk="0" fontAlgn="base" hangingPunct="0">
              <a:spcBef>
                <a:spcPct val="0"/>
              </a:spcBef>
              <a:spcAft>
                <a:spcPct val="0"/>
              </a:spcAft>
            </a:pPr>
            <a:r>
              <a:rPr lang="en-US" altLang="en-US" sz="1700">
                <a:solidFill>
                  <a:srgbClr val="231F20"/>
                </a:solidFill>
                <a:latin typeface="Zawgyi-One" pitchFamily="34" charset="0"/>
                <a:ea typeface="SimHei" pitchFamily="49" charset="-122"/>
                <a:cs typeface="Zawgyi-One" pitchFamily="34" charset="0"/>
              </a:rPr>
              <a:t>အေျခခံလိုအပ္ခ်က္ေတြ ႏွင့္ ၀န္ေဆာင္မွဳေတြရ ရွိရန္ ကေလးႏွင့္ သူတို႔မိသားစုေတြကို ကူညီပါ</a:t>
            </a:r>
            <a:endParaRPr lang="en-US" altLang="en-US" sz="1700">
              <a:solidFill>
                <a:srgbClr val="075109"/>
              </a:solidFill>
              <a:latin typeface="Zawgyi-One" pitchFamily="34" charset="0"/>
              <a:ea typeface="SimHei" pitchFamily="49" charset="-122"/>
              <a:cs typeface="Zawgyi-One" pitchFamily="34" charset="0"/>
            </a:endParaRPr>
          </a:p>
        </p:txBody>
      </p:sp>
      <p:sp>
        <p:nvSpPr>
          <p:cNvPr id="108556" name="object 31"/>
          <p:cNvSpPr txBox="1">
            <a:spLocks noChangeArrowheads="1"/>
          </p:cNvSpPr>
          <p:nvPr/>
        </p:nvSpPr>
        <p:spPr bwMode="auto">
          <a:xfrm>
            <a:off x="4410549" y="2847721"/>
            <a:ext cx="3666590" cy="544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9525"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pPr eaLnBrk="0" fontAlgn="base" hangingPunct="0">
              <a:spcBef>
                <a:spcPct val="0"/>
              </a:spcBef>
              <a:spcAft>
                <a:spcPct val="0"/>
              </a:spcAft>
            </a:pPr>
            <a:r>
              <a:rPr lang="en-US" altLang="en-US" sz="1700">
                <a:solidFill>
                  <a:srgbClr val="231F20"/>
                </a:solidFill>
                <a:latin typeface="Zawgyi-One" pitchFamily="34" charset="0"/>
                <a:ea typeface="SimHei" pitchFamily="49" charset="-122"/>
                <a:cs typeface="Zawgyi-One" pitchFamily="34" charset="0"/>
              </a:rPr>
              <a:t>ကေလးနွင့္သူတို႔မိသားစုကို ျပသနာေတြေျဖရွင္းနိုင္ရန္ကူညီပါ</a:t>
            </a:r>
            <a:endParaRPr lang="en-US" altLang="en-US" sz="1700">
              <a:solidFill>
                <a:srgbClr val="075109"/>
              </a:solidFill>
              <a:latin typeface="Zawgyi-One" pitchFamily="34" charset="0"/>
              <a:ea typeface="SimHei" pitchFamily="49" charset="-122"/>
              <a:cs typeface="Zawgyi-One" pitchFamily="34" charset="0"/>
            </a:endParaRPr>
          </a:p>
        </p:txBody>
      </p:sp>
      <p:sp>
        <p:nvSpPr>
          <p:cNvPr id="108557" name="object 32"/>
          <p:cNvSpPr txBox="1">
            <a:spLocks noChangeArrowheads="1"/>
          </p:cNvSpPr>
          <p:nvPr/>
        </p:nvSpPr>
        <p:spPr bwMode="auto">
          <a:xfrm>
            <a:off x="4410550" y="3755397"/>
            <a:ext cx="3505139" cy="1436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9525"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pPr eaLnBrk="0" fontAlgn="base" hangingPunct="0">
              <a:spcBef>
                <a:spcPct val="0"/>
              </a:spcBef>
              <a:spcAft>
                <a:spcPct val="0"/>
              </a:spcAft>
            </a:pPr>
            <a:r>
              <a:rPr lang="en-US" altLang="en-US" sz="1700">
                <a:solidFill>
                  <a:srgbClr val="231F20"/>
                </a:solidFill>
                <a:latin typeface="Zawgyi-One" pitchFamily="34" charset="0"/>
                <a:ea typeface="SimHei" pitchFamily="49" charset="-122"/>
                <a:cs typeface="Zawgyi-One" pitchFamily="34" charset="0"/>
              </a:rPr>
              <a:t>သတင္းအခ်က္အလက္ေတြေပးပါ</a:t>
            </a:r>
            <a:endParaRPr lang="en-US" altLang="en-US" sz="17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lnSpc>
                <a:spcPts val="534"/>
              </a:lnSpc>
              <a:spcBef>
                <a:spcPct val="0"/>
              </a:spcBef>
              <a:spcAft>
                <a:spcPct val="0"/>
              </a:spcAft>
            </a:pPr>
            <a:endParaRPr lang="en-US" altLang="en-US" sz="400">
              <a:solidFill>
                <a:srgbClr val="075109"/>
              </a:solidFill>
              <a:latin typeface="Zawgyi-One" pitchFamily="34" charset="0"/>
              <a:ea typeface="SimHei" pitchFamily="49" charset="-122"/>
              <a:cs typeface="Zawgyi-One" pitchFamily="34" charset="0"/>
            </a:endParaRPr>
          </a:p>
          <a:p>
            <a:pPr eaLnBrk="0" fontAlgn="base" hangingPunct="0">
              <a:spcBef>
                <a:spcPct val="0"/>
              </a:spcBef>
              <a:spcAft>
                <a:spcPct val="0"/>
              </a:spcAft>
            </a:pPr>
            <a:r>
              <a:rPr lang="en-US" altLang="en-US" sz="1700">
                <a:solidFill>
                  <a:srgbClr val="231F20"/>
                </a:solidFill>
                <a:latin typeface="Zawgyi-One" pitchFamily="34" charset="0"/>
                <a:ea typeface="SimHei" pitchFamily="49" charset="-122"/>
                <a:cs typeface="Zawgyi-One" pitchFamily="34" charset="0"/>
              </a:rPr>
              <a:t>လူမွဳေရးအေထာက္အပံ့ေတြနွင့္အတူ ကေလးမ်ား ႏွင့္သူတို႔ရဲ့မိသားစုမ်ားကို တစ္ဦး ႏွင့္တစ္ဦးခ်ိတ္ဆက္ေပးပါ</a:t>
            </a:r>
            <a:endParaRPr lang="en-US" altLang="en-US" sz="1700">
              <a:solidFill>
                <a:srgbClr val="075109"/>
              </a:solidFill>
              <a:latin typeface="Zawgyi-One" pitchFamily="34" charset="0"/>
              <a:ea typeface="SimHei" pitchFamily="49" charset="-122"/>
              <a:cs typeface="Zawgyi-One" pitchFamily="34" charset="0"/>
            </a:endParaRPr>
          </a:p>
        </p:txBody>
      </p:sp>
      <p:sp>
        <p:nvSpPr>
          <p:cNvPr id="33" name="object 33"/>
          <p:cNvSpPr/>
          <p:nvPr/>
        </p:nvSpPr>
        <p:spPr>
          <a:xfrm>
            <a:off x="4199562" y="3824161"/>
            <a:ext cx="137600" cy="166866"/>
          </a:xfrm>
          <a:custGeom>
            <a:avLst/>
            <a:gdLst/>
            <a:ahLst/>
            <a:cxnLst/>
            <a:rect l="l" t="t" r="r" b="b"/>
            <a:pathLst>
              <a:path w="256144" h="314757">
                <a:moveTo>
                  <a:pt x="10487" y="0"/>
                </a:moveTo>
                <a:lnTo>
                  <a:pt x="2355" y="5520"/>
                </a:lnTo>
                <a:lnTo>
                  <a:pt x="0" y="105867"/>
                </a:lnTo>
                <a:lnTo>
                  <a:pt x="0" y="298819"/>
                </a:lnTo>
                <a:lnTo>
                  <a:pt x="3450" y="310758"/>
                </a:lnTo>
                <a:lnTo>
                  <a:pt x="12423" y="314757"/>
                </a:lnTo>
                <a:lnTo>
                  <a:pt x="247789" y="171285"/>
                </a:lnTo>
                <a:lnTo>
                  <a:pt x="256144" y="162138"/>
                </a:lnTo>
                <a:lnTo>
                  <a:pt x="255886" y="151931"/>
                </a:lnTo>
                <a:lnTo>
                  <a:pt x="247789" y="143383"/>
                </a:lnTo>
                <a:lnTo>
                  <a:pt x="22453" y="3366"/>
                </a:lnTo>
                <a:lnTo>
                  <a:pt x="10487" y="0"/>
                </a:lnTo>
                <a:close/>
              </a:path>
            </a:pathLst>
          </a:custGeom>
          <a:solidFill>
            <a:srgbClr val="ED1C24"/>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4" name="object 34"/>
          <p:cNvSpPr/>
          <p:nvPr/>
        </p:nvSpPr>
        <p:spPr>
          <a:xfrm>
            <a:off x="4199562" y="4715334"/>
            <a:ext cx="137600" cy="167782"/>
          </a:xfrm>
          <a:custGeom>
            <a:avLst/>
            <a:gdLst/>
            <a:ahLst/>
            <a:cxnLst/>
            <a:rect l="l" t="t" r="r" b="b"/>
            <a:pathLst>
              <a:path w="256144" h="314757">
                <a:moveTo>
                  <a:pt x="10487" y="0"/>
                </a:moveTo>
                <a:lnTo>
                  <a:pt x="2355" y="5520"/>
                </a:lnTo>
                <a:lnTo>
                  <a:pt x="0" y="105867"/>
                </a:lnTo>
                <a:lnTo>
                  <a:pt x="0" y="298819"/>
                </a:lnTo>
                <a:lnTo>
                  <a:pt x="3450" y="310758"/>
                </a:lnTo>
                <a:lnTo>
                  <a:pt x="12423" y="314757"/>
                </a:lnTo>
                <a:lnTo>
                  <a:pt x="247789" y="171285"/>
                </a:lnTo>
                <a:lnTo>
                  <a:pt x="256144" y="162138"/>
                </a:lnTo>
                <a:lnTo>
                  <a:pt x="255886" y="151931"/>
                </a:lnTo>
                <a:lnTo>
                  <a:pt x="247789" y="143383"/>
                </a:lnTo>
                <a:lnTo>
                  <a:pt x="22453" y="3366"/>
                </a:lnTo>
                <a:lnTo>
                  <a:pt x="10487" y="0"/>
                </a:lnTo>
                <a:close/>
              </a:path>
            </a:pathLst>
          </a:custGeom>
          <a:solidFill>
            <a:srgbClr val="ED1C24"/>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5" name="object 35"/>
          <p:cNvSpPr/>
          <p:nvPr/>
        </p:nvSpPr>
        <p:spPr>
          <a:xfrm>
            <a:off x="4199562" y="2916485"/>
            <a:ext cx="137600" cy="168699"/>
          </a:xfrm>
          <a:custGeom>
            <a:avLst/>
            <a:gdLst/>
            <a:ahLst/>
            <a:cxnLst/>
            <a:rect l="l" t="t" r="r" b="b"/>
            <a:pathLst>
              <a:path w="256144" h="314757">
                <a:moveTo>
                  <a:pt x="10487" y="0"/>
                </a:moveTo>
                <a:lnTo>
                  <a:pt x="2355" y="5520"/>
                </a:lnTo>
                <a:lnTo>
                  <a:pt x="0" y="105867"/>
                </a:lnTo>
                <a:lnTo>
                  <a:pt x="0" y="298819"/>
                </a:lnTo>
                <a:lnTo>
                  <a:pt x="3450" y="310758"/>
                </a:lnTo>
                <a:lnTo>
                  <a:pt x="12423" y="314757"/>
                </a:lnTo>
                <a:lnTo>
                  <a:pt x="247789" y="171285"/>
                </a:lnTo>
                <a:lnTo>
                  <a:pt x="256144" y="162138"/>
                </a:lnTo>
                <a:lnTo>
                  <a:pt x="255886" y="151931"/>
                </a:lnTo>
                <a:lnTo>
                  <a:pt x="247789" y="143383"/>
                </a:lnTo>
                <a:lnTo>
                  <a:pt x="22453" y="3366"/>
                </a:lnTo>
                <a:lnTo>
                  <a:pt x="10487" y="0"/>
                </a:lnTo>
                <a:close/>
              </a:path>
            </a:pathLst>
          </a:custGeom>
          <a:solidFill>
            <a:srgbClr val="ED1C24"/>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6" name="object 36"/>
          <p:cNvSpPr/>
          <p:nvPr/>
        </p:nvSpPr>
        <p:spPr>
          <a:xfrm>
            <a:off x="4199562" y="1958382"/>
            <a:ext cx="137600" cy="166866"/>
          </a:xfrm>
          <a:custGeom>
            <a:avLst/>
            <a:gdLst/>
            <a:ahLst/>
            <a:cxnLst/>
            <a:rect l="l" t="t" r="r" b="b"/>
            <a:pathLst>
              <a:path w="256144" h="314757">
                <a:moveTo>
                  <a:pt x="10487" y="0"/>
                </a:moveTo>
                <a:lnTo>
                  <a:pt x="2355" y="5520"/>
                </a:lnTo>
                <a:lnTo>
                  <a:pt x="0" y="105867"/>
                </a:lnTo>
                <a:lnTo>
                  <a:pt x="0" y="298819"/>
                </a:lnTo>
                <a:lnTo>
                  <a:pt x="3450" y="310758"/>
                </a:lnTo>
                <a:lnTo>
                  <a:pt x="12423" y="314757"/>
                </a:lnTo>
                <a:lnTo>
                  <a:pt x="247789" y="171285"/>
                </a:lnTo>
                <a:lnTo>
                  <a:pt x="256144" y="162138"/>
                </a:lnTo>
                <a:lnTo>
                  <a:pt x="255886" y="151931"/>
                </a:lnTo>
                <a:lnTo>
                  <a:pt x="247789" y="143383"/>
                </a:lnTo>
                <a:lnTo>
                  <a:pt x="22453" y="3366"/>
                </a:lnTo>
                <a:lnTo>
                  <a:pt x="10487" y="0"/>
                </a:lnTo>
                <a:close/>
              </a:path>
            </a:pathLst>
          </a:custGeom>
          <a:solidFill>
            <a:srgbClr val="ED1C24"/>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7" name="object 37"/>
          <p:cNvSpPr/>
          <p:nvPr/>
        </p:nvSpPr>
        <p:spPr>
          <a:xfrm>
            <a:off x="2006214" y="2049148"/>
            <a:ext cx="804503" cy="893924"/>
          </a:xfrm>
          <a:custGeom>
            <a:avLst/>
            <a:gdLst/>
            <a:ahLst/>
            <a:cxnLst/>
            <a:rect l="l" t="t" r="r" b="b"/>
            <a:pathLst>
              <a:path w="1508594" h="1676400">
                <a:moveTo>
                  <a:pt x="884468" y="1650999"/>
                </a:moveTo>
                <a:lnTo>
                  <a:pt x="670234" y="1650999"/>
                </a:lnTo>
                <a:lnTo>
                  <a:pt x="686634" y="1663699"/>
                </a:lnTo>
                <a:lnTo>
                  <a:pt x="703695" y="1676399"/>
                </a:lnTo>
                <a:lnTo>
                  <a:pt x="851008" y="1676399"/>
                </a:lnTo>
                <a:lnTo>
                  <a:pt x="868069" y="1663699"/>
                </a:lnTo>
                <a:lnTo>
                  <a:pt x="884468" y="1650999"/>
                </a:lnTo>
                <a:close/>
              </a:path>
              <a:path w="1508594" h="1676400">
                <a:moveTo>
                  <a:pt x="871071" y="1231899"/>
                </a:moveTo>
                <a:lnTo>
                  <a:pt x="689469" y="1231899"/>
                </a:lnTo>
                <a:lnTo>
                  <a:pt x="672540" y="1244599"/>
                </a:lnTo>
                <a:lnTo>
                  <a:pt x="656404" y="1257299"/>
                </a:lnTo>
                <a:lnTo>
                  <a:pt x="641117" y="1257299"/>
                </a:lnTo>
                <a:lnTo>
                  <a:pt x="600904" y="1295399"/>
                </a:lnTo>
                <a:lnTo>
                  <a:pt x="570326" y="1346199"/>
                </a:lnTo>
                <a:lnTo>
                  <a:pt x="562534" y="1358899"/>
                </a:lnTo>
                <a:lnTo>
                  <a:pt x="556034" y="1371599"/>
                </a:lnTo>
                <a:lnTo>
                  <a:pt x="550882" y="1396999"/>
                </a:lnTo>
                <a:lnTo>
                  <a:pt x="547133" y="1409699"/>
                </a:lnTo>
                <a:lnTo>
                  <a:pt x="544843" y="1435099"/>
                </a:lnTo>
                <a:lnTo>
                  <a:pt x="544068" y="1447799"/>
                </a:lnTo>
                <a:lnTo>
                  <a:pt x="544842" y="1473199"/>
                </a:lnTo>
                <a:lnTo>
                  <a:pt x="547126" y="1485899"/>
                </a:lnTo>
                <a:lnTo>
                  <a:pt x="550859" y="1511299"/>
                </a:lnTo>
                <a:lnTo>
                  <a:pt x="555980" y="1523999"/>
                </a:lnTo>
                <a:lnTo>
                  <a:pt x="562429" y="1536699"/>
                </a:lnTo>
                <a:lnTo>
                  <a:pt x="570145" y="1562099"/>
                </a:lnTo>
                <a:lnTo>
                  <a:pt x="600291" y="1600199"/>
                </a:lnTo>
                <a:lnTo>
                  <a:pt x="639665" y="1638299"/>
                </a:lnTo>
                <a:lnTo>
                  <a:pt x="654558" y="1650999"/>
                </a:lnTo>
                <a:lnTo>
                  <a:pt x="900144" y="1650999"/>
                </a:lnTo>
                <a:lnTo>
                  <a:pt x="929086" y="1625599"/>
                </a:lnTo>
                <a:lnTo>
                  <a:pt x="965567" y="1587499"/>
                </a:lnTo>
                <a:lnTo>
                  <a:pt x="762698" y="1587499"/>
                </a:lnTo>
                <a:lnTo>
                  <a:pt x="748499" y="1574799"/>
                </a:lnTo>
                <a:lnTo>
                  <a:pt x="721808" y="1574799"/>
                </a:lnTo>
                <a:lnTo>
                  <a:pt x="709485" y="1562099"/>
                </a:lnTo>
                <a:lnTo>
                  <a:pt x="697955" y="1562099"/>
                </a:lnTo>
                <a:lnTo>
                  <a:pt x="668969" y="1523999"/>
                </a:lnTo>
                <a:lnTo>
                  <a:pt x="650156" y="1485899"/>
                </a:lnTo>
                <a:lnTo>
                  <a:pt x="644387" y="1460499"/>
                </a:lnTo>
                <a:lnTo>
                  <a:pt x="645000" y="1447799"/>
                </a:lnTo>
                <a:lnTo>
                  <a:pt x="647025" y="1435099"/>
                </a:lnTo>
                <a:lnTo>
                  <a:pt x="650388" y="1409699"/>
                </a:lnTo>
                <a:lnTo>
                  <a:pt x="655016" y="1396999"/>
                </a:lnTo>
                <a:lnTo>
                  <a:pt x="660835" y="1384299"/>
                </a:lnTo>
                <a:lnTo>
                  <a:pt x="667773" y="1371599"/>
                </a:lnTo>
                <a:lnTo>
                  <a:pt x="675755" y="1358899"/>
                </a:lnTo>
                <a:lnTo>
                  <a:pt x="684708" y="1358899"/>
                </a:lnTo>
                <a:lnTo>
                  <a:pt x="694559" y="1346199"/>
                </a:lnTo>
                <a:lnTo>
                  <a:pt x="705235" y="1333499"/>
                </a:lnTo>
                <a:lnTo>
                  <a:pt x="716662" y="1333499"/>
                </a:lnTo>
                <a:lnTo>
                  <a:pt x="728766" y="1320799"/>
                </a:lnTo>
                <a:lnTo>
                  <a:pt x="968105" y="1320799"/>
                </a:lnTo>
                <a:lnTo>
                  <a:pt x="960548" y="1308099"/>
                </a:lnTo>
                <a:lnTo>
                  <a:pt x="1005010" y="1244599"/>
                </a:lnTo>
                <a:lnTo>
                  <a:pt x="882383" y="1244599"/>
                </a:lnTo>
                <a:lnTo>
                  <a:pt x="871071" y="1231899"/>
                </a:lnTo>
                <a:close/>
              </a:path>
              <a:path w="1508594" h="1676400">
                <a:moveTo>
                  <a:pt x="975121" y="1320799"/>
                </a:moveTo>
                <a:lnTo>
                  <a:pt x="813839" y="1320799"/>
                </a:lnTo>
                <a:lnTo>
                  <a:pt x="827547" y="1333499"/>
                </a:lnTo>
                <a:lnTo>
                  <a:pt x="840436" y="1333499"/>
                </a:lnTo>
                <a:lnTo>
                  <a:pt x="852446" y="1346199"/>
                </a:lnTo>
                <a:lnTo>
                  <a:pt x="863513" y="1346199"/>
                </a:lnTo>
                <a:lnTo>
                  <a:pt x="873578" y="1358899"/>
                </a:lnTo>
                <a:lnTo>
                  <a:pt x="882579" y="1371599"/>
                </a:lnTo>
                <a:lnTo>
                  <a:pt x="890455" y="1384299"/>
                </a:lnTo>
                <a:lnTo>
                  <a:pt x="897144" y="1396999"/>
                </a:lnTo>
                <a:lnTo>
                  <a:pt x="902586" y="1396999"/>
                </a:lnTo>
                <a:lnTo>
                  <a:pt x="906719" y="1422399"/>
                </a:lnTo>
                <a:lnTo>
                  <a:pt x="909482" y="1435099"/>
                </a:lnTo>
                <a:lnTo>
                  <a:pt x="910814" y="1447799"/>
                </a:lnTo>
                <a:lnTo>
                  <a:pt x="904223" y="1485899"/>
                </a:lnTo>
                <a:lnTo>
                  <a:pt x="885735" y="1523999"/>
                </a:lnTo>
                <a:lnTo>
                  <a:pt x="857485" y="1562099"/>
                </a:lnTo>
                <a:lnTo>
                  <a:pt x="846268" y="1562099"/>
                </a:lnTo>
                <a:lnTo>
                  <a:pt x="834283" y="1574799"/>
                </a:lnTo>
                <a:lnTo>
                  <a:pt x="808325" y="1574799"/>
                </a:lnTo>
                <a:lnTo>
                  <a:pt x="794510" y="1587499"/>
                </a:lnTo>
                <a:lnTo>
                  <a:pt x="965567" y="1587499"/>
                </a:lnTo>
                <a:lnTo>
                  <a:pt x="975637" y="1574799"/>
                </a:lnTo>
                <a:lnTo>
                  <a:pt x="984560" y="1562099"/>
                </a:lnTo>
                <a:lnTo>
                  <a:pt x="992277" y="1536699"/>
                </a:lnTo>
                <a:lnTo>
                  <a:pt x="998726" y="1523999"/>
                </a:lnTo>
                <a:lnTo>
                  <a:pt x="1003848" y="1511299"/>
                </a:lnTo>
                <a:lnTo>
                  <a:pt x="1007581" y="1485899"/>
                </a:lnTo>
                <a:lnTo>
                  <a:pt x="1009865" y="1473199"/>
                </a:lnTo>
                <a:lnTo>
                  <a:pt x="1010640" y="1447799"/>
                </a:lnTo>
                <a:lnTo>
                  <a:pt x="1010252" y="1435099"/>
                </a:lnTo>
                <a:lnTo>
                  <a:pt x="1009102" y="1422399"/>
                </a:lnTo>
                <a:lnTo>
                  <a:pt x="1001302" y="1384299"/>
                </a:lnTo>
                <a:lnTo>
                  <a:pt x="987438" y="1346199"/>
                </a:lnTo>
                <a:lnTo>
                  <a:pt x="981572" y="1333499"/>
                </a:lnTo>
                <a:lnTo>
                  <a:pt x="975121" y="1320799"/>
                </a:lnTo>
                <a:close/>
              </a:path>
              <a:path w="1508594" h="1676400">
                <a:moveTo>
                  <a:pt x="1085791" y="393699"/>
                </a:moveTo>
                <a:lnTo>
                  <a:pt x="949529" y="393699"/>
                </a:lnTo>
                <a:lnTo>
                  <a:pt x="1143749" y="634999"/>
                </a:lnTo>
                <a:lnTo>
                  <a:pt x="1133230" y="647699"/>
                </a:lnTo>
                <a:lnTo>
                  <a:pt x="1123162" y="647699"/>
                </a:lnTo>
                <a:lnTo>
                  <a:pt x="1113569" y="660399"/>
                </a:lnTo>
                <a:lnTo>
                  <a:pt x="1104474" y="673099"/>
                </a:lnTo>
                <a:lnTo>
                  <a:pt x="1095899" y="673099"/>
                </a:lnTo>
                <a:lnTo>
                  <a:pt x="1073531" y="711199"/>
                </a:lnTo>
                <a:lnTo>
                  <a:pt x="1056681" y="749299"/>
                </a:lnTo>
                <a:lnTo>
                  <a:pt x="1045973" y="787399"/>
                </a:lnTo>
                <a:lnTo>
                  <a:pt x="1042030" y="825499"/>
                </a:lnTo>
                <a:lnTo>
                  <a:pt x="1042399" y="838199"/>
                </a:lnTo>
                <a:lnTo>
                  <a:pt x="1047799" y="876299"/>
                </a:lnTo>
                <a:lnTo>
                  <a:pt x="1059214" y="914399"/>
                </a:lnTo>
                <a:lnTo>
                  <a:pt x="1076095" y="952499"/>
                </a:lnTo>
                <a:lnTo>
                  <a:pt x="882383" y="1244599"/>
                </a:lnTo>
                <a:lnTo>
                  <a:pt x="1005010" y="1244599"/>
                </a:lnTo>
                <a:lnTo>
                  <a:pt x="1156182" y="1028699"/>
                </a:lnTo>
                <a:lnTo>
                  <a:pt x="1395410" y="1028699"/>
                </a:lnTo>
                <a:lnTo>
                  <a:pt x="1425414" y="1003299"/>
                </a:lnTo>
                <a:lnTo>
                  <a:pt x="1462898" y="965199"/>
                </a:lnTo>
                <a:lnTo>
                  <a:pt x="1260653" y="965199"/>
                </a:lnTo>
                <a:lnTo>
                  <a:pt x="1246455" y="952499"/>
                </a:lnTo>
                <a:lnTo>
                  <a:pt x="1219765" y="952499"/>
                </a:lnTo>
                <a:lnTo>
                  <a:pt x="1207442" y="939799"/>
                </a:lnTo>
                <a:lnTo>
                  <a:pt x="1195913" y="939799"/>
                </a:lnTo>
                <a:lnTo>
                  <a:pt x="1166927" y="901699"/>
                </a:lnTo>
                <a:lnTo>
                  <a:pt x="1148112" y="863599"/>
                </a:lnTo>
                <a:lnTo>
                  <a:pt x="1142343" y="838199"/>
                </a:lnTo>
                <a:lnTo>
                  <a:pt x="1142955" y="825499"/>
                </a:lnTo>
                <a:lnTo>
                  <a:pt x="1144979" y="812799"/>
                </a:lnTo>
                <a:lnTo>
                  <a:pt x="1148342" y="800099"/>
                </a:lnTo>
                <a:lnTo>
                  <a:pt x="1152968" y="774699"/>
                </a:lnTo>
                <a:lnTo>
                  <a:pt x="1158787" y="761999"/>
                </a:lnTo>
                <a:lnTo>
                  <a:pt x="1165723" y="749299"/>
                </a:lnTo>
                <a:lnTo>
                  <a:pt x="1173704" y="749299"/>
                </a:lnTo>
                <a:lnTo>
                  <a:pt x="1182655" y="736599"/>
                </a:lnTo>
                <a:lnTo>
                  <a:pt x="1192505" y="723899"/>
                </a:lnTo>
                <a:lnTo>
                  <a:pt x="1203179" y="711199"/>
                </a:lnTo>
                <a:lnTo>
                  <a:pt x="1214604" y="711199"/>
                </a:lnTo>
                <a:lnTo>
                  <a:pt x="1226707" y="698499"/>
                </a:lnTo>
                <a:lnTo>
                  <a:pt x="1468560" y="698499"/>
                </a:lnTo>
                <a:lnTo>
                  <a:pt x="1463525" y="685799"/>
                </a:lnTo>
                <a:lnTo>
                  <a:pt x="1452371" y="673099"/>
                </a:lnTo>
                <a:lnTo>
                  <a:pt x="1440191" y="660399"/>
                </a:lnTo>
                <a:lnTo>
                  <a:pt x="1427046" y="647699"/>
                </a:lnTo>
                <a:lnTo>
                  <a:pt x="1412997" y="634999"/>
                </a:lnTo>
                <a:lnTo>
                  <a:pt x="1398104" y="634999"/>
                </a:lnTo>
                <a:lnTo>
                  <a:pt x="1382427" y="622299"/>
                </a:lnTo>
                <a:lnTo>
                  <a:pt x="1366028" y="609599"/>
                </a:lnTo>
                <a:lnTo>
                  <a:pt x="1348967" y="609599"/>
                </a:lnTo>
                <a:lnTo>
                  <a:pt x="1331304" y="596899"/>
                </a:lnTo>
                <a:lnTo>
                  <a:pt x="1249858" y="596899"/>
                </a:lnTo>
                <a:lnTo>
                  <a:pt x="1085791" y="393699"/>
                </a:lnTo>
                <a:close/>
              </a:path>
              <a:path w="1508594" h="1676400">
                <a:moveTo>
                  <a:pt x="835320" y="1219199"/>
                </a:moveTo>
                <a:lnTo>
                  <a:pt x="725486" y="1219199"/>
                </a:lnTo>
                <a:lnTo>
                  <a:pt x="707136" y="1231899"/>
                </a:lnTo>
                <a:lnTo>
                  <a:pt x="847522" y="1231899"/>
                </a:lnTo>
                <a:lnTo>
                  <a:pt x="835320" y="1219199"/>
                </a:lnTo>
                <a:close/>
              </a:path>
              <a:path w="1508594" h="1676400">
                <a:moveTo>
                  <a:pt x="271090" y="1054099"/>
                </a:moveTo>
                <a:lnTo>
                  <a:pt x="195507" y="1054099"/>
                </a:lnTo>
                <a:lnTo>
                  <a:pt x="214193" y="1066799"/>
                </a:lnTo>
                <a:lnTo>
                  <a:pt x="252404" y="1066799"/>
                </a:lnTo>
                <a:lnTo>
                  <a:pt x="271090" y="1054099"/>
                </a:lnTo>
                <a:close/>
              </a:path>
              <a:path w="1508594" h="1676400">
                <a:moveTo>
                  <a:pt x="1286003" y="1054099"/>
                </a:moveTo>
                <a:lnTo>
                  <a:pt x="1252319" y="1054099"/>
                </a:lnTo>
                <a:lnTo>
                  <a:pt x="1265498" y="1066799"/>
                </a:lnTo>
                <a:lnTo>
                  <a:pt x="1286003" y="1054099"/>
                </a:lnTo>
                <a:close/>
              </a:path>
              <a:path w="1508594" h="1676400">
                <a:moveTo>
                  <a:pt x="324019" y="1041399"/>
                </a:moveTo>
                <a:lnTo>
                  <a:pt x="142576" y="1041399"/>
                </a:lnTo>
                <a:lnTo>
                  <a:pt x="159638" y="1054099"/>
                </a:lnTo>
                <a:lnTo>
                  <a:pt x="306957" y="1054099"/>
                </a:lnTo>
                <a:lnTo>
                  <a:pt x="324019" y="1041399"/>
                </a:lnTo>
                <a:close/>
              </a:path>
              <a:path w="1508594" h="1676400">
                <a:moveTo>
                  <a:pt x="1379063" y="1028699"/>
                </a:moveTo>
                <a:lnTo>
                  <a:pt x="1167123" y="1028699"/>
                </a:lnTo>
                <a:lnTo>
                  <a:pt x="1178409" y="1041399"/>
                </a:lnTo>
                <a:lnTo>
                  <a:pt x="1190020" y="1041399"/>
                </a:lnTo>
                <a:lnTo>
                  <a:pt x="1201939" y="1054099"/>
                </a:lnTo>
                <a:lnTo>
                  <a:pt x="1343944" y="1054099"/>
                </a:lnTo>
                <a:lnTo>
                  <a:pt x="1361890" y="1041399"/>
                </a:lnTo>
                <a:lnTo>
                  <a:pt x="1379063" y="1028699"/>
                </a:lnTo>
                <a:close/>
              </a:path>
              <a:path w="1508594" h="1676400">
                <a:moveTo>
                  <a:pt x="900141" y="38099"/>
                </a:moveTo>
                <a:lnTo>
                  <a:pt x="654558" y="38099"/>
                </a:lnTo>
                <a:lnTo>
                  <a:pt x="639665" y="50799"/>
                </a:lnTo>
                <a:lnTo>
                  <a:pt x="600291" y="88899"/>
                </a:lnTo>
                <a:lnTo>
                  <a:pt x="570145" y="126999"/>
                </a:lnTo>
                <a:lnTo>
                  <a:pt x="562429" y="152399"/>
                </a:lnTo>
                <a:lnTo>
                  <a:pt x="555980" y="165099"/>
                </a:lnTo>
                <a:lnTo>
                  <a:pt x="550859" y="177799"/>
                </a:lnTo>
                <a:lnTo>
                  <a:pt x="547126" y="203199"/>
                </a:lnTo>
                <a:lnTo>
                  <a:pt x="544842" y="215899"/>
                </a:lnTo>
                <a:lnTo>
                  <a:pt x="544068" y="241299"/>
                </a:lnTo>
                <a:lnTo>
                  <a:pt x="544458" y="253999"/>
                </a:lnTo>
                <a:lnTo>
                  <a:pt x="545579" y="266699"/>
                </a:lnTo>
                <a:lnTo>
                  <a:pt x="547352" y="279399"/>
                </a:lnTo>
                <a:lnTo>
                  <a:pt x="267589" y="596899"/>
                </a:lnTo>
                <a:lnTo>
                  <a:pt x="182896" y="596899"/>
                </a:lnTo>
                <a:lnTo>
                  <a:pt x="164302" y="609599"/>
                </a:lnTo>
                <a:lnTo>
                  <a:pt x="146419" y="609599"/>
                </a:lnTo>
                <a:lnTo>
                  <a:pt x="129301" y="622299"/>
                </a:lnTo>
                <a:lnTo>
                  <a:pt x="113001" y="634999"/>
                </a:lnTo>
                <a:lnTo>
                  <a:pt x="97573" y="634999"/>
                </a:lnTo>
                <a:lnTo>
                  <a:pt x="57059" y="673099"/>
                </a:lnTo>
                <a:lnTo>
                  <a:pt x="35394" y="711199"/>
                </a:lnTo>
                <a:lnTo>
                  <a:pt x="26325" y="723899"/>
                </a:lnTo>
                <a:lnTo>
                  <a:pt x="18505" y="736599"/>
                </a:lnTo>
                <a:lnTo>
                  <a:pt x="11986" y="749299"/>
                </a:lnTo>
                <a:lnTo>
                  <a:pt x="6823" y="774699"/>
                </a:lnTo>
                <a:lnTo>
                  <a:pt x="3068" y="787399"/>
                </a:lnTo>
                <a:lnTo>
                  <a:pt x="776" y="812799"/>
                </a:lnTo>
                <a:lnTo>
                  <a:pt x="0" y="825499"/>
                </a:lnTo>
                <a:lnTo>
                  <a:pt x="774" y="850899"/>
                </a:lnTo>
                <a:lnTo>
                  <a:pt x="3059" y="863599"/>
                </a:lnTo>
                <a:lnTo>
                  <a:pt x="6792" y="888999"/>
                </a:lnTo>
                <a:lnTo>
                  <a:pt x="11913" y="901699"/>
                </a:lnTo>
                <a:lnTo>
                  <a:pt x="18363" y="914399"/>
                </a:lnTo>
                <a:lnTo>
                  <a:pt x="26079" y="939799"/>
                </a:lnTo>
                <a:lnTo>
                  <a:pt x="56229" y="977899"/>
                </a:lnTo>
                <a:lnTo>
                  <a:pt x="95606" y="1015999"/>
                </a:lnTo>
                <a:lnTo>
                  <a:pt x="126176" y="1041399"/>
                </a:lnTo>
                <a:lnTo>
                  <a:pt x="340418" y="1041399"/>
                </a:lnTo>
                <a:lnTo>
                  <a:pt x="370987" y="1015999"/>
                </a:lnTo>
                <a:lnTo>
                  <a:pt x="410361" y="977899"/>
                </a:lnTo>
                <a:lnTo>
                  <a:pt x="421516" y="965199"/>
                </a:lnTo>
                <a:lnTo>
                  <a:pt x="204445" y="965199"/>
                </a:lnTo>
                <a:lnTo>
                  <a:pt x="190786" y="952499"/>
                </a:lnTo>
                <a:lnTo>
                  <a:pt x="177753" y="952499"/>
                </a:lnTo>
                <a:lnTo>
                  <a:pt x="165429" y="939799"/>
                </a:lnTo>
                <a:lnTo>
                  <a:pt x="153899" y="939799"/>
                </a:lnTo>
                <a:lnTo>
                  <a:pt x="124909" y="901699"/>
                </a:lnTo>
                <a:lnTo>
                  <a:pt x="106091" y="863599"/>
                </a:lnTo>
                <a:lnTo>
                  <a:pt x="100320" y="838199"/>
                </a:lnTo>
                <a:lnTo>
                  <a:pt x="100933" y="825499"/>
                </a:lnTo>
                <a:lnTo>
                  <a:pt x="102958" y="812799"/>
                </a:lnTo>
                <a:lnTo>
                  <a:pt x="106321" y="800099"/>
                </a:lnTo>
                <a:lnTo>
                  <a:pt x="110948" y="774699"/>
                </a:lnTo>
                <a:lnTo>
                  <a:pt x="116768" y="761999"/>
                </a:lnTo>
                <a:lnTo>
                  <a:pt x="123705" y="749299"/>
                </a:lnTo>
                <a:lnTo>
                  <a:pt x="131687" y="749299"/>
                </a:lnTo>
                <a:lnTo>
                  <a:pt x="140640" y="736599"/>
                </a:lnTo>
                <a:lnTo>
                  <a:pt x="150491" y="723899"/>
                </a:lnTo>
                <a:lnTo>
                  <a:pt x="161166" y="711199"/>
                </a:lnTo>
                <a:lnTo>
                  <a:pt x="172592" y="711199"/>
                </a:lnTo>
                <a:lnTo>
                  <a:pt x="184696" y="698499"/>
                </a:lnTo>
                <a:lnTo>
                  <a:pt x="429230" y="698499"/>
                </a:lnTo>
                <a:lnTo>
                  <a:pt x="421853" y="685799"/>
                </a:lnTo>
                <a:lnTo>
                  <a:pt x="413906" y="685799"/>
                </a:lnTo>
                <a:lnTo>
                  <a:pt x="405413" y="673099"/>
                </a:lnTo>
                <a:lnTo>
                  <a:pt x="396397" y="660399"/>
                </a:lnTo>
                <a:lnTo>
                  <a:pt x="386880" y="647699"/>
                </a:lnTo>
                <a:lnTo>
                  <a:pt x="376887" y="647699"/>
                </a:lnTo>
                <a:lnTo>
                  <a:pt x="366440" y="634999"/>
                </a:lnTo>
                <a:lnTo>
                  <a:pt x="592772" y="380999"/>
                </a:lnTo>
                <a:lnTo>
                  <a:pt x="1075536" y="380999"/>
                </a:lnTo>
                <a:lnTo>
                  <a:pt x="1065282" y="368299"/>
                </a:lnTo>
                <a:lnTo>
                  <a:pt x="734841" y="368299"/>
                </a:lnTo>
                <a:lnTo>
                  <a:pt x="721808" y="355599"/>
                </a:lnTo>
                <a:lnTo>
                  <a:pt x="709485" y="355599"/>
                </a:lnTo>
                <a:lnTo>
                  <a:pt x="697955" y="342899"/>
                </a:lnTo>
                <a:lnTo>
                  <a:pt x="687303" y="342899"/>
                </a:lnTo>
                <a:lnTo>
                  <a:pt x="677613" y="330199"/>
                </a:lnTo>
                <a:lnTo>
                  <a:pt x="655156" y="292099"/>
                </a:lnTo>
                <a:lnTo>
                  <a:pt x="644387" y="253999"/>
                </a:lnTo>
                <a:lnTo>
                  <a:pt x="645000" y="241299"/>
                </a:lnTo>
                <a:lnTo>
                  <a:pt x="650387" y="203199"/>
                </a:lnTo>
                <a:lnTo>
                  <a:pt x="667768" y="165099"/>
                </a:lnTo>
                <a:lnTo>
                  <a:pt x="684701" y="139699"/>
                </a:lnTo>
                <a:lnTo>
                  <a:pt x="694551" y="139699"/>
                </a:lnTo>
                <a:lnTo>
                  <a:pt x="705225" y="126999"/>
                </a:lnTo>
                <a:lnTo>
                  <a:pt x="716650" y="114299"/>
                </a:lnTo>
                <a:lnTo>
                  <a:pt x="741459" y="114299"/>
                </a:lnTo>
                <a:lnTo>
                  <a:pt x="754696" y="101599"/>
                </a:lnTo>
                <a:lnTo>
                  <a:pt x="965555" y="101599"/>
                </a:lnTo>
                <a:lnTo>
                  <a:pt x="954403" y="88899"/>
                </a:lnTo>
                <a:lnTo>
                  <a:pt x="942224" y="76199"/>
                </a:lnTo>
                <a:lnTo>
                  <a:pt x="929081" y="63499"/>
                </a:lnTo>
                <a:lnTo>
                  <a:pt x="915033" y="50799"/>
                </a:lnTo>
                <a:lnTo>
                  <a:pt x="900141" y="38099"/>
                </a:lnTo>
                <a:close/>
              </a:path>
              <a:path w="1508594" h="1676400">
                <a:moveTo>
                  <a:pt x="429230" y="698499"/>
                </a:moveTo>
                <a:lnTo>
                  <a:pt x="269765" y="698499"/>
                </a:lnTo>
                <a:lnTo>
                  <a:pt x="283475" y="711199"/>
                </a:lnTo>
                <a:lnTo>
                  <a:pt x="296365" y="711199"/>
                </a:lnTo>
                <a:lnTo>
                  <a:pt x="308375" y="723899"/>
                </a:lnTo>
                <a:lnTo>
                  <a:pt x="319444" y="723899"/>
                </a:lnTo>
                <a:lnTo>
                  <a:pt x="329510" y="736599"/>
                </a:lnTo>
                <a:lnTo>
                  <a:pt x="353081" y="774699"/>
                </a:lnTo>
                <a:lnTo>
                  <a:pt x="365425" y="812799"/>
                </a:lnTo>
                <a:lnTo>
                  <a:pt x="366758" y="825499"/>
                </a:lnTo>
                <a:lnTo>
                  <a:pt x="366015" y="838199"/>
                </a:lnTo>
                <a:lnTo>
                  <a:pt x="355221" y="876299"/>
                </a:lnTo>
                <a:lnTo>
                  <a:pt x="333242" y="914399"/>
                </a:lnTo>
                <a:lnTo>
                  <a:pt x="313430" y="939799"/>
                </a:lnTo>
                <a:lnTo>
                  <a:pt x="302214" y="939799"/>
                </a:lnTo>
                <a:lnTo>
                  <a:pt x="290231" y="952499"/>
                </a:lnTo>
                <a:lnTo>
                  <a:pt x="264277" y="952499"/>
                </a:lnTo>
                <a:lnTo>
                  <a:pt x="250464" y="965199"/>
                </a:lnTo>
                <a:lnTo>
                  <a:pt x="421516" y="965199"/>
                </a:lnTo>
                <a:lnTo>
                  <a:pt x="431585" y="952499"/>
                </a:lnTo>
                <a:lnTo>
                  <a:pt x="440508" y="939799"/>
                </a:lnTo>
                <a:lnTo>
                  <a:pt x="448224" y="914399"/>
                </a:lnTo>
                <a:lnTo>
                  <a:pt x="454672" y="901699"/>
                </a:lnTo>
                <a:lnTo>
                  <a:pt x="459793" y="888999"/>
                </a:lnTo>
                <a:lnTo>
                  <a:pt x="463526" y="863599"/>
                </a:lnTo>
                <a:lnTo>
                  <a:pt x="465810" y="850899"/>
                </a:lnTo>
                <a:lnTo>
                  <a:pt x="466585" y="825499"/>
                </a:lnTo>
                <a:lnTo>
                  <a:pt x="466177" y="812799"/>
                </a:lnTo>
                <a:lnTo>
                  <a:pt x="464967" y="800099"/>
                </a:lnTo>
                <a:lnTo>
                  <a:pt x="456764" y="761999"/>
                </a:lnTo>
                <a:lnTo>
                  <a:pt x="442184" y="723899"/>
                </a:lnTo>
                <a:lnTo>
                  <a:pt x="436015" y="711199"/>
                </a:lnTo>
                <a:lnTo>
                  <a:pt x="429230" y="698499"/>
                </a:lnTo>
                <a:close/>
              </a:path>
              <a:path w="1508594" h="1676400">
                <a:moveTo>
                  <a:pt x="1468560" y="698499"/>
                </a:moveTo>
                <a:lnTo>
                  <a:pt x="1311777" y="698499"/>
                </a:lnTo>
                <a:lnTo>
                  <a:pt x="1325487" y="711199"/>
                </a:lnTo>
                <a:lnTo>
                  <a:pt x="1338377" y="711199"/>
                </a:lnTo>
                <a:lnTo>
                  <a:pt x="1350387" y="723899"/>
                </a:lnTo>
                <a:lnTo>
                  <a:pt x="1361455" y="723899"/>
                </a:lnTo>
                <a:lnTo>
                  <a:pt x="1371521" y="736599"/>
                </a:lnTo>
                <a:lnTo>
                  <a:pt x="1395090" y="774699"/>
                </a:lnTo>
                <a:lnTo>
                  <a:pt x="1407433" y="812799"/>
                </a:lnTo>
                <a:lnTo>
                  <a:pt x="1408767" y="825499"/>
                </a:lnTo>
                <a:lnTo>
                  <a:pt x="1408025" y="838199"/>
                </a:lnTo>
                <a:lnTo>
                  <a:pt x="1397234" y="876299"/>
                </a:lnTo>
                <a:lnTo>
                  <a:pt x="1375261" y="914399"/>
                </a:lnTo>
                <a:lnTo>
                  <a:pt x="1355454" y="939799"/>
                </a:lnTo>
                <a:lnTo>
                  <a:pt x="1344240" y="939799"/>
                </a:lnTo>
                <a:lnTo>
                  <a:pt x="1332258" y="952499"/>
                </a:lnTo>
                <a:lnTo>
                  <a:pt x="1306306" y="952499"/>
                </a:lnTo>
                <a:lnTo>
                  <a:pt x="1292494" y="965199"/>
                </a:lnTo>
                <a:lnTo>
                  <a:pt x="1462898" y="965199"/>
                </a:lnTo>
                <a:lnTo>
                  <a:pt x="1473174" y="952499"/>
                </a:lnTo>
                <a:lnTo>
                  <a:pt x="1482252" y="939799"/>
                </a:lnTo>
                <a:lnTo>
                  <a:pt x="1490080" y="914399"/>
                </a:lnTo>
                <a:lnTo>
                  <a:pt x="1496603" y="901699"/>
                </a:lnTo>
                <a:lnTo>
                  <a:pt x="1501770" y="888999"/>
                </a:lnTo>
                <a:lnTo>
                  <a:pt x="1505526" y="863599"/>
                </a:lnTo>
                <a:lnTo>
                  <a:pt x="1507818" y="850899"/>
                </a:lnTo>
                <a:lnTo>
                  <a:pt x="1508594" y="825499"/>
                </a:lnTo>
                <a:lnTo>
                  <a:pt x="1507820" y="812799"/>
                </a:lnTo>
                <a:lnTo>
                  <a:pt x="1505536" y="787399"/>
                </a:lnTo>
                <a:lnTo>
                  <a:pt x="1501803" y="774699"/>
                </a:lnTo>
                <a:lnTo>
                  <a:pt x="1496682" y="749299"/>
                </a:lnTo>
                <a:lnTo>
                  <a:pt x="1490233" y="736599"/>
                </a:lnTo>
                <a:lnTo>
                  <a:pt x="1482517" y="723899"/>
                </a:lnTo>
                <a:lnTo>
                  <a:pt x="1473594" y="711199"/>
                </a:lnTo>
                <a:lnTo>
                  <a:pt x="1468560" y="698499"/>
                </a:lnTo>
                <a:close/>
              </a:path>
              <a:path w="1508594" h="1676400">
                <a:moveTo>
                  <a:pt x="841909" y="457199"/>
                </a:moveTo>
                <a:lnTo>
                  <a:pt x="708024" y="457199"/>
                </a:lnTo>
                <a:lnTo>
                  <a:pt x="720781" y="469899"/>
                </a:lnTo>
                <a:lnTo>
                  <a:pt x="829025" y="469899"/>
                </a:lnTo>
                <a:lnTo>
                  <a:pt x="841909" y="457199"/>
                </a:lnTo>
                <a:close/>
              </a:path>
              <a:path w="1508594" h="1676400">
                <a:moveTo>
                  <a:pt x="878473" y="444499"/>
                </a:moveTo>
                <a:lnTo>
                  <a:pt x="671679" y="444499"/>
                </a:lnTo>
                <a:lnTo>
                  <a:pt x="683450" y="457199"/>
                </a:lnTo>
                <a:lnTo>
                  <a:pt x="866650" y="457199"/>
                </a:lnTo>
                <a:lnTo>
                  <a:pt x="878473" y="444499"/>
                </a:lnTo>
                <a:close/>
              </a:path>
              <a:path w="1508594" h="1676400">
                <a:moveTo>
                  <a:pt x="900947" y="431799"/>
                </a:moveTo>
                <a:lnTo>
                  <a:pt x="649275" y="431799"/>
                </a:lnTo>
                <a:lnTo>
                  <a:pt x="660279" y="444499"/>
                </a:lnTo>
                <a:lnTo>
                  <a:pt x="889911" y="444499"/>
                </a:lnTo>
                <a:lnTo>
                  <a:pt x="900947" y="431799"/>
                </a:lnTo>
                <a:close/>
              </a:path>
              <a:path w="1508594" h="1676400">
                <a:moveTo>
                  <a:pt x="1075536" y="380999"/>
                </a:moveTo>
                <a:lnTo>
                  <a:pt x="592772" y="380999"/>
                </a:lnTo>
                <a:lnTo>
                  <a:pt x="600945" y="393699"/>
                </a:lnTo>
                <a:lnTo>
                  <a:pt x="609645" y="406399"/>
                </a:lnTo>
                <a:lnTo>
                  <a:pt x="618850" y="406399"/>
                </a:lnTo>
                <a:lnTo>
                  <a:pt x="628538" y="419099"/>
                </a:lnTo>
                <a:lnTo>
                  <a:pt x="638687" y="431799"/>
                </a:lnTo>
                <a:lnTo>
                  <a:pt x="911564" y="431799"/>
                </a:lnTo>
                <a:lnTo>
                  <a:pt x="921747" y="419099"/>
                </a:lnTo>
                <a:lnTo>
                  <a:pt x="931480" y="419099"/>
                </a:lnTo>
                <a:lnTo>
                  <a:pt x="940746" y="406399"/>
                </a:lnTo>
                <a:lnTo>
                  <a:pt x="949529" y="393699"/>
                </a:lnTo>
                <a:lnTo>
                  <a:pt x="1085791" y="393699"/>
                </a:lnTo>
                <a:lnTo>
                  <a:pt x="1075536" y="380999"/>
                </a:lnTo>
                <a:close/>
              </a:path>
              <a:path w="1508594" h="1676400">
                <a:moveTo>
                  <a:pt x="965555" y="101599"/>
                </a:moveTo>
                <a:lnTo>
                  <a:pt x="784191" y="101599"/>
                </a:lnTo>
                <a:lnTo>
                  <a:pt x="799354" y="114299"/>
                </a:lnTo>
                <a:lnTo>
                  <a:pt x="827530" y="114299"/>
                </a:lnTo>
                <a:lnTo>
                  <a:pt x="840420" y="126999"/>
                </a:lnTo>
                <a:lnTo>
                  <a:pt x="852430" y="126999"/>
                </a:lnTo>
                <a:lnTo>
                  <a:pt x="863498" y="139699"/>
                </a:lnTo>
                <a:lnTo>
                  <a:pt x="873563" y="152399"/>
                </a:lnTo>
                <a:lnTo>
                  <a:pt x="882565" y="152399"/>
                </a:lnTo>
                <a:lnTo>
                  <a:pt x="902576" y="190499"/>
                </a:lnTo>
                <a:lnTo>
                  <a:pt x="910813" y="228599"/>
                </a:lnTo>
                <a:lnTo>
                  <a:pt x="910070" y="253999"/>
                </a:lnTo>
                <a:lnTo>
                  <a:pt x="899280" y="292099"/>
                </a:lnTo>
                <a:lnTo>
                  <a:pt x="877306" y="330199"/>
                </a:lnTo>
                <a:lnTo>
                  <a:pt x="867866" y="342899"/>
                </a:lnTo>
                <a:lnTo>
                  <a:pt x="857499" y="342899"/>
                </a:lnTo>
                <a:lnTo>
                  <a:pt x="846285" y="355599"/>
                </a:lnTo>
                <a:lnTo>
                  <a:pt x="834303" y="355599"/>
                </a:lnTo>
                <a:lnTo>
                  <a:pt x="821632" y="368299"/>
                </a:lnTo>
                <a:lnTo>
                  <a:pt x="1065282" y="368299"/>
                </a:lnTo>
                <a:lnTo>
                  <a:pt x="1003757" y="292099"/>
                </a:lnTo>
                <a:lnTo>
                  <a:pt x="1006434" y="279399"/>
                </a:lnTo>
                <a:lnTo>
                  <a:pt x="1008501" y="266699"/>
                </a:lnTo>
                <a:lnTo>
                  <a:pt x="1009902" y="253999"/>
                </a:lnTo>
                <a:lnTo>
                  <a:pt x="1010582" y="241299"/>
                </a:lnTo>
                <a:lnTo>
                  <a:pt x="1009816" y="228599"/>
                </a:lnTo>
                <a:lnTo>
                  <a:pt x="1007539" y="203199"/>
                </a:lnTo>
                <a:lnTo>
                  <a:pt x="1003812" y="190499"/>
                </a:lnTo>
                <a:lnTo>
                  <a:pt x="998697" y="165099"/>
                </a:lnTo>
                <a:lnTo>
                  <a:pt x="992253" y="152399"/>
                </a:lnTo>
                <a:lnTo>
                  <a:pt x="984541" y="139699"/>
                </a:lnTo>
                <a:lnTo>
                  <a:pt x="975621" y="114299"/>
                </a:lnTo>
                <a:lnTo>
                  <a:pt x="965555" y="101599"/>
                </a:lnTo>
                <a:close/>
              </a:path>
              <a:path w="1508594" h="1676400">
                <a:moveTo>
                  <a:pt x="851007" y="12699"/>
                </a:moveTo>
                <a:lnTo>
                  <a:pt x="703695" y="12699"/>
                </a:lnTo>
                <a:lnTo>
                  <a:pt x="686634" y="25399"/>
                </a:lnTo>
                <a:lnTo>
                  <a:pt x="670234" y="38099"/>
                </a:lnTo>
                <a:lnTo>
                  <a:pt x="884466" y="38099"/>
                </a:lnTo>
                <a:lnTo>
                  <a:pt x="868068" y="25399"/>
                </a:lnTo>
                <a:lnTo>
                  <a:pt x="851007" y="12699"/>
                </a:lnTo>
                <a:close/>
              </a:path>
              <a:path w="1508594" h="1676400">
                <a:moveTo>
                  <a:pt x="777354" y="0"/>
                </a:moveTo>
                <a:lnTo>
                  <a:pt x="758248" y="12699"/>
                </a:lnTo>
                <a:lnTo>
                  <a:pt x="796458" y="12699"/>
                </a:lnTo>
                <a:lnTo>
                  <a:pt x="777354" y="0"/>
                </a:lnTo>
                <a:close/>
              </a:path>
            </a:pathLst>
          </a:custGeom>
          <a:solidFill>
            <a:srgbClr val="FFFFFF"/>
          </a:solidFill>
        </p:spPr>
        <p:txBody>
          <a:bodyPr lIns="0" tIns="0" rIns="0" bIns="0"/>
          <a:lstStyle/>
          <a:p>
            <a:pPr defTabSz="843775" eaLnBrk="0" fontAlgn="base" hangingPunct="0">
              <a:spcBef>
                <a:spcPct val="0"/>
              </a:spcBef>
              <a:spcAft>
                <a:spcPct val="0"/>
              </a:spcAft>
              <a:defRPr/>
            </a:pPr>
            <a:endParaRPr sz="2100">
              <a:solidFill>
                <a:srgbClr val="075109"/>
              </a:solidFill>
              <a:latin typeface="Zawgyi-One" pitchFamily="34" charset="0"/>
              <a:ea typeface="SimHei" panose="02010609060101010101" pitchFamily="49" charset="-122"/>
              <a:cs typeface="Zawgyi-One" pitchFamily="34" charset="0"/>
            </a:endParaRPr>
          </a:p>
        </p:txBody>
      </p:sp>
    </p:spTree>
    <p:extLst>
      <p:ext uri="{BB962C8B-B14F-4D97-AF65-F5344CB8AC3E}">
        <p14:creationId xmlns:p14="http://schemas.microsoft.com/office/powerpoint/2010/main" val="4163278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p:nvPr/>
        </p:nvSpPr>
        <p:spPr>
          <a:xfrm>
            <a:off x="8201897" y="518934"/>
            <a:ext cx="294464" cy="291557"/>
          </a:xfrm>
          <a:prstGeom prst="rect">
            <a:avLst/>
          </a:prstGeom>
        </p:spPr>
        <p:txBody>
          <a:bodyPr lIns="0" tIns="0" rIns="0" bIns="0"/>
          <a:lstStyle>
            <a:lvl1pPr marL="9525"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b="1">
                <a:solidFill>
                  <a:srgbClr val="ED1C24"/>
                </a:solidFill>
                <a:latin typeface="Gill Sans"/>
                <a:ea typeface="Gill Sans"/>
                <a:cs typeface="Gill Sans"/>
              </a:rPr>
              <a:t>55</a:t>
            </a:r>
            <a:endParaRPr lang="en-US" altLang="en-US">
              <a:solidFill>
                <a:srgbClr val="075109"/>
              </a:solidFill>
              <a:latin typeface="Gill Sans"/>
              <a:ea typeface="Gill Sans"/>
              <a:cs typeface="Gill Sans"/>
            </a:endParaRPr>
          </a:p>
        </p:txBody>
      </p:sp>
      <p:sp>
        <p:nvSpPr>
          <p:cNvPr id="24" name="object 24"/>
          <p:cNvSpPr txBox="1"/>
          <p:nvPr/>
        </p:nvSpPr>
        <p:spPr>
          <a:xfrm>
            <a:off x="355010" y="392410"/>
            <a:ext cx="7061648" cy="1003028"/>
          </a:xfrm>
          <a:prstGeom prst="rect">
            <a:avLst/>
          </a:prstGeom>
        </p:spPr>
        <p:txBody>
          <a:bodyPr lIns="0" tIns="0" rIns="0" bIns="0"/>
          <a:lstStyle>
            <a:lvl1pPr marL="11113"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sz="3200">
                <a:solidFill>
                  <a:srgbClr val="000000"/>
                </a:solidFill>
                <a:latin typeface="Zawgyi-One" pitchFamily="34" charset="0"/>
                <a:ea typeface="SimHei" pitchFamily="49" charset="-122"/>
                <a:cs typeface="Zawgyi-One" pitchFamily="34" charset="0"/>
              </a:rPr>
              <a:t>ကေလးကိုမည့္သူ႔ဆီကိုလဲႊမွာလဲ ?</a:t>
            </a:r>
          </a:p>
        </p:txBody>
      </p:sp>
      <p:sp>
        <p:nvSpPr>
          <p:cNvPr id="25" name="object 25"/>
          <p:cNvSpPr txBox="1"/>
          <p:nvPr/>
        </p:nvSpPr>
        <p:spPr>
          <a:xfrm>
            <a:off x="2087856" y="4304588"/>
            <a:ext cx="5328802" cy="364904"/>
          </a:xfrm>
          <a:prstGeom prst="rect">
            <a:avLst/>
          </a:prstGeom>
        </p:spPr>
        <p:txBody>
          <a:bodyPr lIns="0" tIns="0" rIns="0" bIns="0"/>
          <a:lstStyle>
            <a:lvl1pPr marL="11113"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sz="2300">
                <a:solidFill>
                  <a:srgbClr val="ED1C24"/>
                </a:solidFill>
                <a:latin typeface="Zawgyi-One" pitchFamily="34" charset="0"/>
                <a:ea typeface="SimHei" pitchFamily="49" charset="-122"/>
                <a:cs typeface="Zawgyi-One" pitchFamily="34" charset="0"/>
              </a:rPr>
              <a:t>သင္တို႔ေဒသမွာ ဘယ္လိုမ်ိဳးျဖစ္နိုင္ေျခနည္း လမ္းေတြရရွိနိုင္မလဲ။</a:t>
            </a:r>
            <a:endParaRPr lang="en-US" sz="2300">
              <a:solidFill>
                <a:srgbClr val="075109"/>
              </a:solidFill>
              <a:latin typeface="Zawgyi-One" pitchFamily="34" charset="0"/>
              <a:ea typeface="SimHei" pitchFamily="49" charset="-122"/>
              <a:cs typeface="Zawgyi-One" pitchFamily="34" charset="0"/>
            </a:endParaRPr>
          </a:p>
        </p:txBody>
      </p:sp>
      <p:sp>
        <p:nvSpPr>
          <p:cNvPr id="26" name="object 26"/>
          <p:cNvSpPr/>
          <p:nvPr/>
        </p:nvSpPr>
        <p:spPr>
          <a:xfrm>
            <a:off x="1880538" y="2207763"/>
            <a:ext cx="5286605" cy="1508210"/>
          </a:xfrm>
          <a:custGeom>
            <a:avLst/>
            <a:gdLst/>
            <a:ahLst/>
            <a:cxnLst/>
            <a:rect l="l" t="t" r="r" b="b"/>
            <a:pathLst>
              <a:path w="9919804" h="2831401">
                <a:moveTo>
                  <a:pt x="0" y="2831401"/>
                </a:moveTo>
                <a:lnTo>
                  <a:pt x="9919804" y="2831401"/>
                </a:lnTo>
                <a:lnTo>
                  <a:pt x="9919804" y="0"/>
                </a:lnTo>
                <a:lnTo>
                  <a:pt x="0" y="0"/>
                </a:lnTo>
                <a:lnTo>
                  <a:pt x="0" y="2831401"/>
                </a:lnTo>
                <a:close/>
              </a:path>
            </a:pathLst>
          </a:custGeom>
          <a:solidFill>
            <a:srgbClr val="FFFFFF"/>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114696" name="object 27"/>
          <p:cNvSpPr txBox="1">
            <a:spLocks noChangeArrowheads="1"/>
          </p:cNvSpPr>
          <p:nvPr/>
        </p:nvSpPr>
        <p:spPr bwMode="auto">
          <a:xfrm>
            <a:off x="1959428" y="2535993"/>
            <a:ext cx="5207714" cy="741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727075" indent="-717550" defTabSz="1460500">
              <a:defRPr>
                <a:solidFill>
                  <a:schemeClr val="tx1"/>
                </a:solidFill>
                <a:latin typeface="Gill Sans MT" pitchFamily="34" charset="0"/>
                <a:cs typeface="Arial" pitchFamily="34" charset="0"/>
              </a:defRPr>
            </a:lvl1pPr>
            <a:lvl2pPr marL="742950" indent="-285750" defTabSz="1460500">
              <a:defRPr>
                <a:solidFill>
                  <a:schemeClr val="tx1"/>
                </a:solidFill>
                <a:latin typeface="Gill Sans MT" pitchFamily="34" charset="0"/>
                <a:cs typeface="Arial" pitchFamily="34" charset="0"/>
              </a:defRPr>
            </a:lvl2pPr>
            <a:lvl3pPr marL="1143000" indent="-228600" defTabSz="1460500">
              <a:defRPr>
                <a:solidFill>
                  <a:schemeClr val="tx1"/>
                </a:solidFill>
                <a:latin typeface="Gill Sans MT" pitchFamily="34" charset="0"/>
                <a:cs typeface="Arial" pitchFamily="34" charset="0"/>
              </a:defRPr>
            </a:lvl3pPr>
            <a:lvl4pPr marL="1600200" indent="-228600" defTabSz="1460500">
              <a:defRPr>
                <a:solidFill>
                  <a:schemeClr val="tx1"/>
                </a:solidFill>
                <a:latin typeface="Gill Sans MT" pitchFamily="34" charset="0"/>
                <a:cs typeface="Arial" pitchFamily="34" charset="0"/>
              </a:defRPr>
            </a:lvl4pPr>
            <a:lvl5pPr marL="2057400" indent="-228600" defTabSz="1460500">
              <a:defRPr>
                <a:solidFill>
                  <a:schemeClr val="tx1"/>
                </a:solidFill>
                <a:latin typeface="Gill Sans MT" pitchFamily="34" charset="0"/>
                <a:cs typeface="Arial" pitchFamily="34" charset="0"/>
              </a:defRPr>
            </a:lvl5pPr>
            <a:lvl6pPr marL="2514600" indent="-228600" defTabSz="1460500" eaLnBrk="0" fontAlgn="base" hangingPunct="0">
              <a:spcBef>
                <a:spcPct val="0"/>
              </a:spcBef>
              <a:spcAft>
                <a:spcPct val="0"/>
              </a:spcAft>
              <a:defRPr>
                <a:solidFill>
                  <a:schemeClr val="tx1"/>
                </a:solidFill>
                <a:latin typeface="Gill Sans MT" pitchFamily="34" charset="0"/>
                <a:cs typeface="Arial" pitchFamily="34" charset="0"/>
              </a:defRPr>
            </a:lvl6pPr>
            <a:lvl7pPr marL="2971800" indent="-228600" defTabSz="1460500" eaLnBrk="0" fontAlgn="base" hangingPunct="0">
              <a:spcBef>
                <a:spcPct val="0"/>
              </a:spcBef>
              <a:spcAft>
                <a:spcPct val="0"/>
              </a:spcAft>
              <a:defRPr>
                <a:solidFill>
                  <a:schemeClr val="tx1"/>
                </a:solidFill>
                <a:latin typeface="Gill Sans MT" pitchFamily="34" charset="0"/>
                <a:cs typeface="Arial" pitchFamily="34" charset="0"/>
              </a:defRPr>
            </a:lvl7pPr>
            <a:lvl8pPr marL="3429000" indent="-228600" defTabSz="1460500" eaLnBrk="0" fontAlgn="base" hangingPunct="0">
              <a:spcBef>
                <a:spcPct val="0"/>
              </a:spcBef>
              <a:spcAft>
                <a:spcPct val="0"/>
              </a:spcAft>
              <a:defRPr>
                <a:solidFill>
                  <a:schemeClr val="tx1"/>
                </a:solidFill>
                <a:latin typeface="Gill Sans MT" pitchFamily="34" charset="0"/>
                <a:cs typeface="Arial" pitchFamily="34" charset="0"/>
              </a:defRPr>
            </a:lvl8pPr>
            <a:lvl9pPr marL="3886200" indent="-228600" defTabSz="1460500" eaLnBrk="0" fontAlgn="base" hangingPunct="0">
              <a:spcBef>
                <a:spcPct val="0"/>
              </a:spcBef>
              <a:spcAft>
                <a:spcPct val="0"/>
              </a:spcAft>
              <a:defRPr>
                <a:solidFill>
                  <a:schemeClr val="tx1"/>
                </a:solidFill>
                <a:latin typeface="Gill Sans MT" pitchFamily="34" charset="0"/>
                <a:cs typeface="Arial" pitchFamily="34" charset="0"/>
              </a:defRPr>
            </a:lvl9pPr>
          </a:lstStyle>
          <a:p>
            <a:r>
              <a:rPr lang="en-US" altLang="en-US">
                <a:solidFill>
                  <a:srgbClr val="231F20"/>
                </a:solidFill>
                <a:latin typeface="Zawgyi-One" pitchFamily="34" charset="0"/>
                <a:ea typeface="SimHei" pitchFamily="49" charset="-122"/>
                <a:cs typeface="Zawgyi-One" pitchFamily="34" charset="0"/>
              </a:rPr>
              <a:t>တကယ္လို႔ကေလးတစ္ေယာက္က ျပင္းထန္ေသာ ဖိစီးမွဳခံရလွ်င္ သူ/သူမကို ကြ်မ္းက်င္ ေသာ အေထာက္ အပံေပးနိုင္သူတို႔ ႏွင့္ ခ်ိတ္ဆက္ေပး သင့္တယ္။ </a:t>
            </a:r>
            <a:endParaRPr lang="en-US" altLang="en-US">
              <a:solidFill>
                <a:srgbClr val="075109"/>
              </a:solidFill>
              <a:latin typeface="Zawgyi-One" pitchFamily="34" charset="0"/>
              <a:ea typeface="SimHei" pitchFamily="49" charset="-122"/>
              <a:cs typeface="Zawgyi-One" pitchFamily="34" charset="0"/>
            </a:endParaRPr>
          </a:p>
        </p:txBody>
      </p:sp>
      <p:sp>
        <p:nvSpPr>
          <p:cNvPr id="28" name="object 28"/>
          <p:cNvSpPr/>
          <p:nvPr/>
        </p:nvSpPr>
        <p:spPr>
          <a:xfrm>
            <a:off x="1880538" y="2289362"/>
            <a:ext cx="81643" cy="300725"/>
          </a:xfrm>
          <a:custGeom>
            <a:avLst/>
            <a:gdLst/>
            <a:ahLst/>
            <a:cxnLst/>
            <a:rect l="l" t="t" r="r" b="b"/>
            <a:pathLst>
              <a:path w="154393" h="562609">
                <a:moveTo>
                  <a:pt x="0" y="562610"/>
                </a:moveTo>
                <a:lnTo>
                  <a:pt x="154393" y="562610"/>
                </a:lnTo>
                <a:lnTo>
                  <a:pt x="154393" y="0"/>
                </a:lnTo>
                <a:lnTo>
                  <a:pt x="0" y="0"/>
                </a:lnTo>
                <a:lnTo>
                  <a:pt x="0" y="562610"/>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29" name="object 29"/>
          <p:cNvSpPr/>
          <p:nvPr/>
        </p:nvSpPr>
        <p:spPr>
          <a:xfrm>
            <a:off x="1880538" y="2207763"/>
            <a:ext cx="380695" cy="81599"/>
          </a:xfrm>
          <a:custGeom>
            <a:avLst/>
            <a:gdLst/>
            <a:ahLst/>
            <a:cxnLst/>
            <a:rect l="l" t="t" r="r" b="b"/>
            <a:pathLst>
              <a:path w="716762" h="154940">
                <a:moveTo>
                  <a:pt x="0" y="154940"/>
                </a:moveTo>
                <a:lnTo>
                  <a:pt x="716762" y="154940"/>
                </a:lnTo>
                <a:lnTo>
                  <a:pt x="716762" y="0"/>
                </a:lnTo>
                <a:lnTo>
                  <a:pt x="0" y="0"/>
                </a:lnTo>
                <a:lnTo>
                  <a:pt x="0" y="154940"/>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0" name="object 30"/>
          <p:cNvSpPr/>
          <p:nvPr/>
        </p:nvSpPr>
        <p:spPr>
          <a:xfrm>
            <a:off x="7091003" y="2289362"/>
            <a:ext cx="81643" cy="300725"/>
          </a:xfrm>
          <a:custGeom>
            <a:avLst/>
            <a:gdLst/>
            <a:ahLst/>
            <a:cxnLst/>
            <a:rect l="l" t="t" r="r" b="b"/>
            <a:pathLst>
              <a:path w="154444" h="562609">
                <a:moveTo>
                  <a:pt x="0" y="562609"/>
                </a:moveTo>
                <a:lnTo>
                  <a:pt x="154444" y="562609"/>
                </a:lnTo>
                <a:lnTo>
                  <a:pt x="154444" y="0"/>
                </a:lnTo>
                <a:lnTo>
                  <a:pt x="0" y="0"/>
                </a:lnTo>
                <a:lnTo>
                  <a:pt x="0" y="562609"/>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1" name="object 31"/>
          <p:cNvSpPr/>
          <p:nvPr/>
        </p:nvSpPr>
        <p:spPr>
          <a:xfrm>
            <a:off x="6791035" y="2207763"/>
            <a:ext cx="381612" cy="81599"/>
          </a:xfrm>
          <a:custGeom>
            <a:avLst/>
            <a:gdLst/>
            <a:ahLst/>
            <a:cxnLst/>
            <a:rect l="l" t="t" r="r" b="b"/>
            <a:pathLst>
              <a:path w="716762" h="153670">
                <a:moveTo>
                  <a:pt x="0" y="153669"/>
                </a:moveTo>
                <a:lnTo>
                  <a:pt x="716762" y="153669"/>
                </a:lnTo>
                <a:lnTo>
                  <a:pt x="716762" y="0"/>
                </a:lnTo>
                <a:lnTo>
                  <a:pt x="0" y="0"/>
                </a:lnTo>
                <a:lnTo>
                  <a:pt x="0" y="153669"/>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2" name="object 32"/>
          <p:cNvSpPr/>
          <p:nvPr/>
        </p:nvSpPr>
        <p:spPr>
          <a:xfrm>
            <a:off x="6787366" y="3634374"/>
            <a:ext cx="382529" cy="81599"/>
          </a:xfrm>
          <a:custGeom>
            <a:avLst/>
            <a:gdLst/>
            <a:ahLst/>
            <a:cxnLst/>
            <a:rect l="l" t="t" r="r" b="b"/>
            <a:pathLst>
              <a:path w="716762" h="154939">
                <a:moveTo>
                  <a:pt x="0" y="154940"/>
                </a:moveTo>
                <a:lnTo>
                  <a:pt x="716762" y="154940"/>
                </a:lnTo>
                <a:lnTo>
                  <a:pt x="716762" y="0"/>
                </a:lnTo>
                <a:lnTo>
                  <a:pt x="0" y="0"/>
                </a:lnTo>
                <a:lnTo>
                  <a:pt x="0" y="154940"/>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3" name="object 33"/>
          <p:cNvSpPr/>
          <p:nvPr/>
        </p:nvSpPr>
        <p:spPr>
          <a:xfrm>
            <a:off x="7088252" y="3333648"/>
            <a:ext cx="81643" cy="300725"/>
          </a:xfrm>
          <a:custGeom>
            <a:avLst/>
            <a:gdLst/>
            <a:ahLst/>
            <a:cxnLst/>
            <a:rect l="l" t="t" r="r" b="b"/>
            <a:pathLst>
              <a:path w="154393" h="562610">
                <a:moveTo>
                  <a:pt x="0" y="562610"/>
                </a:moveTo>
                <a:lnTo>
                  <a:pt x="154393" y="562610"/>
                </a:lnTo>
                <a:lnTo>
                  <a:pt x="154393" y="0"/>
                </a:lnTo>
                <a:lnTo>
                  <a:pt x="0" y="0"/>
                </a:lnTo>
                <a:lnTo>
                  <a:pt x="0" y="562610"/>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4" name="object 34"/>
          <p:cNvSpPr/>
          <p:nvPr/>
        </p:nvSpPr>
        <p:spPr>
          <a:xfrm>
            <a:off x="1876868" y="3634374"/>
            <a:ext cx="381612" cy="81599"/>
          </a:xfrm>
          <a:custGeom>
            <a:avLst/>
            <a:gdLst/>
            <a:ahLst/>
            <a:cxnLst/>
            <a:rect l="l" t="t" r="r" b="b"/>
            <a:pathLst>
              <a:path w="716762" h="153669">
                <a:moveTo>
                  <a:pt x="0" y="153669"/>
                </a:moveTo>
                <a:lnTo>
                  <a:pt x="716762" y="153669"/>
                </a:lnTo>
                <a:lnTo>
                  <a:pt x="716762" y="0"/>
                </a:lnTo>
                <a:lnTo>
                  <a:pt x="0" y="0"/>
                </a:lnTo>
                <a:lnTo>
                  <a:pt x="0" y="153669"/>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
        <p:nvSpPr>
          <p:cNvPr id="35" name="object 35"/>
          <p:cNvSpPr/>
          <p:nvPr/>
        </p:nvSpPr>
        <p:spPr>
          <a:xfrm>
            <a:off x="1876869" y="3333648"/>
            <a:ext cx="82560" cy="300725"/>
          </a:xfrm>
          <a:custGeom>
            <a:avLst/>
            <a:gdLst/>
            <a:ahLst/>
            <a:cxnLst/>
            <a:rect l="l" t="t" r="r" b="b"/>
            <a:pathLst>
              <a:path w="154444" h="562610">
                <a:moveTo>
                  <a:pt x="0" y="562610"/>
                </a:moveTo>
                <a:lnTo>
                  <a:pt x="154444" y="562610"/>
                </a:lnTo>
                <a:lnTo>
                  <a:pt x="154444" y="0"/>
                </a:lnTo>
                <a:lnTo>
                  <a:pt x="0" y="0"/>
                </a:lnTo>
                <a:lnTo>
                  <a:pt x="0" y="562610"/>
                </a:lnTo>
                <a:close/>
              </a:path>
            </a:pathLst>
          </a:custGeom>
          <a:solidFill>
            <a:srgbClr val="ED1C24"/>
          </a:solidFill>
        </p:spPr>
        <p:txBody>
          <a:bodyPr lIns="0" tIns="0" rIns="0" bIns="0"/>
          <a:lstStyle/>
          <a:p>
            <a:pPr defTabSz="843825">
              <a:defRPr/>
            </a:pPr>
            <a:endParaRPr sz="2100">
              <a:solidFill>
                <a:srgbClr val="075109"/>
              </a:solidFill>
              <a:latin typeface="Zawgyi-One" pitchFamily="34" charset="0"/>
              <a:ea typeface="SimHei" panose="02010609060101010101" pitchFamily="49" charset="-122"/>
              <a:cs typeface="Zawgyi-One" pitchFamily="34" charset="0"/>
            </a:endParaRPr>
          </a:p>
        </p:txBody>
      </p:sp>
    </p:spTree>
    <p:extLst>
      <p:ext uri="{BB962C8B-B14F-4D97-AF65-F5344CB8AC3E}">
        <p14:creationId xmlns:p14="http://schemas.microsoft.com/office/powerpoint/2010/main" val="211136548"/>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algn="ctr"/>
            <a:endParaRPr lang="en-US" dirty="0"/>
          </a:p>
        </p:txBody>
      </p:sp>
      <p:sp>
        <p:nvSpPr>
          <p:cNvPr id="4" name="Slide Number Placeholder 3"/>
          <p:cNvSpPr>
            <a:spLocks noGrp="1"/>
          </p:cNvSpPr>
          <p:nvPr>
            <p:ph type="sldNum" sz="quarter" idx="12"/>
          </p:nvPr>
        </p:nvSpPr>
        <p:spPr/>
        <p:txBody>
          <a:bodyPr/>
          <a:lstStyle/>
          <a:p>
            <a:fld id="{C3FDE51E-0052-334C-A4B2-C567FE9F326F}" type="slidenum">
              <a:rPr lang="en-US" smtClean="0"/>
              <a:t>33</a:t>
            </a:fld>
            <a:endParaRPr lang="en-US"/>
          </a:p>
        </p:txBody>
      </p:sp>
      <p:sp>
        <p:nvSpPr>
          <p:cNvPr id="6" name="Title 1"/>
          <p:cNvSpPr txBox="1">
            <a:spLocks/>
          </p:cNvSpPr>
          <p:nvPr/>
        </p:nvSpPr>
        <p:spPr bwMode="auto">
          <a:xfrm>
            <a:off x="2455954" y="1811670"/>
            <a:ext cx="6248399" cy="83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algn="ctr">
              <a:spcBef>
                <a:spcPct val="0"/>
              </a:spcBef>
              <a:buClrTx/>
              <a:buFontTx/>
              <a:buNone/>
            </a:pPr>
            <a:endParaRPr lang="en-US" altLang="en-US" sz="3600" b="1" dirty="0">
              <a:latin typeface="+mj-lt"/>
            </a:endParaRPr>
          </a:p>
          <a:p>
            <a:pPr algn="ctr">
              <a:spcBef>
                <a:spcPct val="0"/>
              </a:spcBef>
              <a:buClrTx/>
              <a:buFontTx/>
              <a:buNone/>
            </a:pPr>
            <a:r>
              <a:rPr lang="en-US" altLang="en-US" sz="3600" b="1" dirty="0">
                <a:latin typeface="+mj-lt"/>
              </a:rPr>
              <a:t>Safe identification and timely referrals to Child Protection caseworkers</a:t>
            </a:r>
          </a:p>
        </p:txBody>
      </p:sp>
      <p:grpSp>
        <p:nvGrpSpPr>
          <p:cNvPr id="7" name="Group 6">
            <a:extLst>
              <a:ext uri="{FF2B5EF4-FFF2-40B4-BE49-F238E27FC236}">
                <a16:creationId xmlns:a16="http://schemas.microsoft.com/office/drawing/2014/main" id="{1937ABA4-CA66-4A8B-B2A5-173627521888}"/>
              </a:ext>
            </a:extLst>
          </p:cNvPr>
          <p:cNvGrpSpPr/>
          <p:nvPr/>
        </p:nvGrpSpPr>
        <p:grpSpPr>
          <a:xfrm>
            <a:off x="766315" y="2286000"/>
            <a:ext cx="1689639" cy="1701834"/>
            <a:chOff x="1064151" y="1680577"/>
            <a:chExt cx="2328786" cy="2492901"/>
          </a:xfrm>
        </p:grpSpPr>
        <p:sp>
          <p:nvSpPr>
            <p:cNvPr id="8" name="object 24">
              <a:extLst>
                <a:ext uri="{FF2B5EF4-FFF2-40B4-BE49-F238E27FC236}">
                  <a16:creationId xmlns:a16="http://schemas.microsoft.com/office/drawing/2014/main" id="{D93699B5-E4BC-4518-8541-6F01D29F100F}"/>
                </a:ext>
              </a:extLst>
            </p:cNvPr>
            <p:cNvSpPr>
              <a:spLocks/>
            </p:cNvSpPr>
            <p:nvPr/>
          </p:nvSpPr>
          <p:spPr bwMode="auto">
            <a:xfrm>
              <a:off x="1064151" y="1680577"/>
              <a:ext cx="2328786" cy="2492901"/>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900"/>
            </a:p>
          </p:txBody>
        </p:sp>
        <p:sp>
          <p:nvSpPr>
            <p:cNvPr id="9" name="object 25">
              <a:extLst>
                <a:ext uri="{FF2B5EF4-FFF2-40B4-BE49-F238E27FC236}">
                  <a16:creationId xmlns:a16="http://schemas.microsoft.com/office/drawing/2014/main" id="{636AC25E-AE5A-4728-AE52-DF70CF8C1CDC}"/>
                </a:ext>
              </a:extLst>
            </p:cNvPr>
            <p:cNvSpPr txBox="1">
              <a:spLocks noChangeArrowheads="1"/>
            </p:cNvSpPr>
            <p:nvPr/>
          </p:nvSpPr>
          <p:spPr bwMode="auto">
            <a:xfrm>
              <a:off x="1634429" y="2970577"/>
              <a:ext cx="1188231" cy="64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600" b="1">
                  <a:solidFill>
                    <a:srgbClr val="FFFFFF"/>
                  </a:solidFill>
                  <a:latin typeface="Gill Sans" pitchFamily="34" charset="0"/>
                  <a:cs typeface="Gill Sans" pitchFamily="34" charset="0"/>
                </a:rPr>
                <a:t>Link</a:t>
              </a:r>
              <a:endParaRPr lang="en-US" altLang="en-US" sz="3600">
                <a:latin typeface="Gill Sans" pitchFamily="34" charset="0"/>
                <a:cs typeface="Gill Sans" pitchFamily="34" charset="0"/>
              </a:endParaRPr>
            </a:p>
          </p:txBody>
        </p:sp>
        <p:sp>
          <p:nvSpPr>
            <p:cNvPr id="10" name="object 37">
              <a:extLst>
                <a:ext uri="{FF2B5EF4-FFF2-40B4-BE49-F238E27FC236}">
                  <a16:creationId xmlns:a16="http://schemas.microsoft.com/office/drawing/2014/main" id="{BC047429-3847-4FD4-8F6C-30E99E85B2AD}"/>
                </a:ext>
              </a:extLst>
            </p:cNvPr>
            <p:cNvSpPr>
              <a:spLocks/>
            </p:cNvSpPr>
            <p:nvPr/>
          </p:nvSpPr>
          <p:spPr bwMode="auto">
            <a:xfrm>
              <a:off x="1792126" y="1933626"/>
              <a:ext cx="871920" cy="968188"/>
            </a:xfrm>
            <a:custGeom>
              <a:avLst/>
              <a:gdLst>
                <a:gd name="T0" fmla="*/ 884468 w 1508594"/>
                <a:gd name="T1" fmla="*/ 1650999 h 1676400"/>
                <a:gd name="T2" fmla="*/ 570326 w 1508594"/>
                <a:gd name="T3" fmla="*/ 1346199 h 1676400"/>
                <a:gd name="T4" fmla="*/ 544842 w 1508594"/>
                <a:gd name="T5" fmla="*/ 1473199 h 1676400"/>
                <a:gd name="T6" fmla="*/ 639665 w 1508594"/>
                <a:gd name="T7" fmla="*/ 1638299 h 1676400"/>
                <a:gd name="T8" fmla="*/ 721808 w 1508594"/>
                <a:gd name="T9" fmla="*/ 1574799 h 1676400"/>
                <a:gd name="T10" fmla="*/ 647025 w 1508594"/>
                <a:gd name="T11" fmla="*/ 1435099 h 1676400"/>
                <a:gd name="T12" fmla="*/ 694559 w 1508594"/>
                <a:gd name="T13" fmla="*/ 1346199 h 1676400"/>
                <a:gd name="T14" fmla="*/ 882383 w 1508594"/>
                <a:gd name="T15" fmla="*/ 1244599 h 1676400"/>
                <a:gd name="T16" fmla="*/ 863513 w 1508594"/>
                <a:gd name="T17" fmla="*/ 1346199 h 1676400"/>
                <a:gd name="T18" fmla="*/ 909482 w 1508594"/>
                <a:gd name="T19" fmla="*/ 1435099 h 1676400"/>
                <a:gd name="T20" fmla="*/ 808325 w 1508594"/>
                <a:gd name="T21" fmla="*/ 1574799 h 1676400"/>
                <a:gd name="T22" fmla="*/ 1003848 w 1508594"/>
                <a:gd name="T23" fmla="*/ 1511299 h 1676400"/>
                <a:gd name="T24" fmla="*/ 987438 w 1508594"/>
                <a:gd name="T25" fmla="*/ 1346199 h 1676400"/>
                <a:gd name="T26" fmla="*/ 1123162 w 1508594"/>
                <a:gd name="T27" fmla="*/ 647699 h 1676400"/>
                <a:gd name="T28" fmla="*/ 1042030 w 1508594"/>
                <a:gd name="T29" fmla="*/ 825499 h 1676400"/>
                <a:gd name="T30" fmla="*/ 1156182 w 1508594"/>
                <a:gd name="T31" fmla="*/ 1028699 h 1676400"/>
                <a:gd name="T32" fmla="*/ 1207442 w 1508594"/>
                <a:gd name="T33" fmla="*/ 939799 h 1676400"/>
                <a:gd name="T34" fmla="*/ 1148342 w 1508594"/>
                <a:gd name="T35" fmla="*/ 800099 h 1676400"/>
                <a:gd name="T36" fmla="*/ 1203179 w 1508594"/>
                <a:gd name="T37" fmla="*/ 711199 h 1676400"/>
                <a:gd name="T38" fmla="*/ 1427046 w 1508594"/>
                <a:gd name="T39" fmla="*/ 647699 h 1676400"/>
                <a:gd name="T40" fmla="*/ 1249858 w 1508594"/>
                <a:gd name="T41" fmla="*/ 596899 h 1676400"/>
                <a:gd name="T42" fmla="*/ 271090 w 1508594"/>
                <a:gd name="T43" fmla="*/ 1054099 h 1676400"/>
                <a:gd name="T44" fmla="*/ 1265498 w 1508594"/>
                <a:gd name="T45" fmla="*/ 1066799 h 1676400"/>
                <a:gd name="T46" fmla="*/ 1379063 w 1508594"/>
                <a:gd name="T47" fmla="*/ 1028699 h 1676400"/>
                <a:gd name="T48" fmla="*/ 1379063 w 1508594"/>
                <a:gd name="T49" fmla="*/ 1028699 h 1676400"/>
                <a:gd name="T50" fmla="*/ 555980 w 1508594"/>
                <a:gd name="T51" fmla="*/ 165099 h 1676400"/>
                <a:gd name="T52" fmla="*/ 547352 w 1508594"/>
                <a:gd name="T53" fmla="*/ 279399 h 1676400"/>
                <a:gd name="T54" fmla="*/ 97573 w 1508594"/>
                <a:gd name="T55" fmla="*/ 634999 h 1676400"/>
                <a:gd name="T56" fmla="*/ 3068 w 1508594"/>
                <a:gd name="T57" fmla="*/ 787399 h 1676400"/>
                <a:gd name="T58" fmla="*/ 18363 w 1508594"/>
                <a:gd name="T59" fmla="*/ 914399 h 1676400"/>
                <a:gd name="T60" fmla="*/ 410361 w 1508594"/>
                <a:gd name="T61" fmla="*/ 977899 h 1676400"/>
                <a:gd name="T62" fmla="*/ 124909 w 1508594"/>
                <a:gd name="T63" fmla="*/ 901699 h 1676400"/>
                <a:gd name="T64" fmla="*/ 116768 w 1508594"/>
                <a:gd name="T65" fmla="*/ 761999 h 1676400"/>
                <a:gd name="T66" fmla="*/ 184696 w 1508594"/>
                <a:gd name="T67" fmla="*/ 698499 h 1676400"/>
                <a:gd name="T68" fmla="*/ 376887 w 1508594"/>
                <a:gd name="T69" fmla="*/ 647699 h 1676400"/>
                <a:gd name="T70" fmla="*/ 709485 w 1508594"/>
                <a:gd name="T71" fmla="*/ 355599 h 1676400"/>
                <a:gd name="T72" fmla="*/ 650387 w 1508594"/>
                <a:gd name="T73" fmla="*/ 203199 h 1676400"/>
                <a:gd name="T74" fmla="*/ 754696 w 1508594"/>
                <a:gd name="T75" fmla="*/ 101599 h 1676400"/>
                <a:gd name="T76" fmla="*/ 429230 w 1508594"/>
                <a:gd name="T77" fmla="*/ 698499 h 1676400"/>
                <a:gd name="T78" fmla="*/ 353081 w 1508594"/>
                <a:gd name="T79" fmla="*/ 774699 h 1676400"/>
                <a:gd name="T80" fmla="*/ 302214 w 1508594"/>
                <a:gd name="T81" fmla="*/ 939799 h 1676400"/>
                <a:gd name="T82" fmla="*/ 448224 w 1508594"/>
                <a:gd name="T83" fmla="*/ 914399 h 1676400"/>
                <a:gd name="T84" fmla="*/ 464967 w 1508594"/>
                <a:gd name="T85" fmla="*/ 800099 h 1676400"/>
                <a:gd name="T86" fmla="*/ 1325487 w 1508594"/>
                <a:gd name="T87" fmla="*/ 711199 h 1676400"/>
                <a:gd name="T88" fmla="*/ 1408767 w 1508594"/>
                <a:gd name="T89" fmla="*/ 825499 h 1676400"/>
                <a:gd name="T90" fmla="*/ 1306306 w 1508594"/>
                <a:gd name="T91" fmla="*/ 952499 h 1676400"/>
                <a:gd name="T92" fmla="*/ 1501770 w 1508594"/>
                <a:gd name="T93" fmla="*/ 888999 h 1676400"/>
                <a:gd name="T94" fmla="*/ 1496682 w 1508594"/>
                <a:gd name="T95" fmla="*/ 749299 h 1676400"/>
                <a:gd name="T96" fmla="*/ 720781 w 1508594"/>
                <a:gd name="T97" fmla="*/ 469899 h 1676400"/>
                <a:gd name="T98" fmla="*/ 878473 w 1508594"/>
                <a:gd name="T99" fmla="*/ 444499 h 1676400"/>
                <a:gd name="T100" fmla="*/ 592772 w 1508594"/>
                <a:gd name="T101" fmla="*/ 380999 h 1676400"/>
                <a:gd name="T102" fmla="*/ 921747 w 1508594"/>
                <a:gd name="T103" fmla="*/ 419099 h 1676400"/>
                <a:gd name="T104" fmla="*/ 784191 w 1508594"/>
                <a:gd name="T105" fmla="*/ 101599 h 1676400"/>
                <a:gd name="T106" fmla="*/ 882565 w 1508594"/>
                <a:gd name="T107" fmla="*/ 152399 h 1676400"/>
                <a:gd name="T108" fmla="*/ 857499 w 1508594"/>
                <a:gd name="T109" fmla="*/ 342899 h 1676400"/>
                <a:gd name="T110" fmla="*/ 1008501 w 1508594"/>
                <a:gd name="T111" fmla="*/ 266699 h 1676400"/>
                <a:gd name="T112" fmla="*/ 992253 w 1508594"/>
                <a:gd name="T113" fmla="*/ 152399 h 1676400"/>
                <a:gd name="T114" fmla="*/ 670234 w 1508594"/>
                <a:gd name="T115" fmla="*/ 38099 h 1676400"/>
                <a:gd name="T116" fmla="*/ 777354 w 1508594"/>
                <a:gd name="T117" fmla="*/ 0 h 167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8594" h="1676400">
                  <a:moveTo>
                    <a:pt x="884468" y="1650999"/>
                  </a:moveTo>
                  <a:lnTo>
                    <a:pt x="670234" y="1650999"/>
                  </a:lnTo>
                  <a:lnTo>
                    <a:pt x="686634" y="1663699"/>
                  </a:lnTo>
                  <a:lnTo>
                    <a:pt x="703695" y="1676399"/>
                  </a:lnTo>
                  <a:lnTo>
                    <a:pt x="851008" y="1676399"/>
                  </a:lnTo>
                  <a:lnTo>
                    <a:pt x="868069" y="1663699"/>
                  </a:lnTo>
                  <a:lnTo>
                    <a:pt x="884468" y="1650999"/>
                  </a:lnTo>
                  <a:close/>
                </a:path>
                <a:path w="1508594" h="1676400">
                  <a:moveTo>
                    <a:pt x="871071" y="1231899"/>
                  </a:moveTo>
                  <a:lnTo>
                    <a:pt x="689469" y="1231899"/>
                  </a:lnTo>
                  <a:lnTo>
                    <a:pt x="672540" y="1244599"/>
                  </a:lnTo>
                  <a:lnTo>
                    <a:pt x="656404" y="1257299"/>
                  </a:lnTo>
                  <a:lnTo>
                    <a:pt x="641117" y="1257299"/>
                  </a:lnTo>
                  <a:lnTo>
                    <a:pt x="600904" y="1295399"/>
                  </a:lnTo>
                  <a:lnTo>
                    <a:pt x="570326" y="1346199"/>
                  </a:lnTo>
                  <a:lnTo>
                    <a:pt x="562534" y="1358899"/>
                  </a:lnTo>
                  <a:lnTo>
                    <a:pt x="556034" y="1371599"/>
                  </a:lnTo>
                  <a:lnTo>
                    <a:pt x="550882" y="1396999"/>
                  </a:lnTo>
                  <a:lnTo>
                    <a:pt x="547133" y="1409699"/>
                  </a:lnTo>
                  <a:lnTo>
                    <a:pt x="544843" y="1435099"/>
                  </a:lnTo>
                  <a:lnTo>
                    <a:pt x="544068" y="1447799"/>
                  </a:lnTo>
                  <a:lnTo>
                    <a:pt x="544842" y="1473199"/>
                  </a:lnTo>
                  <a:lnTo>
                    <a:pt x="547126" y="1485899"/>
                  </a:lnTo>
                  <a:lnTo>
                    <a:pt x="550859" y="1511299"/>
                  </a:lnTo>
                  <a:lnTo>
                    <a:pt x="555980" y="1523999"/>
                  </a:lnTo>
                  <a:lnTo>
                    <a:pt x="562429" y="1536699"/>
                  </a:lnTo>
                  <a:lnTo>
                    <a:pt x="570145" y="1562099"/>
                  </a:lnTo>
                  <a:lnTo>
                    <a:pt x="600291" y="1600199"/>
                  </a:lnTo>
                  <a:lnTo>
                    <a:pt x="639665" y="1638299"/>
                  </a:lnTo>
                  <a:lnTo>
                    <a:pt x="654558" y="1650999"/>
                  </a:lnTo>
                  <a:lnTo>
                    <a:pt x="900144" y="1650999"/>
                  </a:lnTo>
                  <a:lnTo>
                    <a:pt x="929086" y="1625599"/>
                  </a:lnTo>
                  <a:lnTo>
                    <a:pt x="965567" y="1587499"/>
                  </a:lnTo>
                  <a:lnTo>
                    <a:pt x="762698" y="1587499"/>
                  </a:lnTo>
                  <a:lnTo>
                    <a:pt x="748499" y="1574799"/>
                  </a:lnTo>
                  <a:lnTo>
                    <a:pt x="721808" y="1574799"/>
                  </a:lnTo>
                  <a:lnTo>
                    <a:pt x="709485" y="1562099"/>
                  </a:lnTo>
                  <a:lnTo>
                    <a:pt x="697955" y="1562099"/>
                  </a:lnTo>
                  <a:lnTo>
                    <a:pt x="668969" y="1523999"/>
                  </a:lnTo>
                  <a:lnTo>
                    <a:pt x="650156" y="1485899"/>
                  </a:lnTo>
                  <a:lnTo>
                    <a:pt x="644387" y="1460499"/>
                  </a:lnTo>
                  <a:lnTo>
                    <a:pt x="645000" y="1447799"/>
                  </a:lnTo>
                  <a:lnTo>
                    <a:pt x="647025" y="1435099"/>
                  </a:lnTo>
                  <a:lnTo>
                    <a:pt x="650388" y="1409699"/>
                  </a:lnTo>
                  <a:lnTo>
                    <a:pt x="655016" y="1396999"/>
                  </a:lnTo>
                  <a:lnTo>
                    <a:pt x="660835" y="1384299"/>
                  </a:lnTo>
                  <a:lnTo>
                    <a:pt x="667773" y="1371599"/>
                  </a:lnTo>
                  <a:lnTo>
                    <a:pt x="675755" y="1358899"/>
                  </a:lnTo>
                  <a:lnTo>
                    <a:pt x="684708" y="1358899"/>
                  </a:lnTo>
                  <a:lnTo>
                    <a:pt x="694559" y="1346199"/>
                  </a:lnTo>
                  <a:lnTo>
                    <a:pt x="705235" y="1333499"/>
                  </a:lnTo>
                  <a:lnTo>
                    <a:pt x="716662" y="1333499"/>
                  </a:lnTo>
                  <a:lnTo>
                    <a:pt x="728766" y="1320799"/>
                  </a:lnTo>
                  <a:lnTo>
                    <a:pt x="968105" y="1320799"/>
                  </a:lnTo>
                  <a:lnTo>
                    <a:pt x="960548" y="1308099"/>
                  </a:lnTo>
                  <a:lnTo>
                    <a:pt x="1005010" y="1244599"/>
                  </a:lnTo>
                  <a:lnTo>
                    <a:pt x="882383" y="1244599"/>
                  </a:lnTo>
                  <a:lnTo>
                    <a:pt x="871071" y="1231899"/>
                  </a:lnTo>
                  <a:close/>
                </a:path>
                <a:path w="1508594" h="1676400">
                  <a:moveTo>
                    <a:pt x="975121" y="1320799"/>
                  </a:moveTo>
                  <a:lnTo>
                    <a:pt x="813839" y="1320799"/>
                  </a:lnTo>
                  <a:lnTo>
                    <a:pt x="827547" y="1333499"/>
                  </a:lnTo>
                  <a:lnTo>
                    <a:pt x="840436" y="1333499"/>
                  </a:lnTo>
                  <a:lnTo>
                    <a:pt x="852446" y="1346199"/>
                  </a:lnTo>
                  <a:lnTo>
                    <a:pt x="863513" y="1346199"/>
                  </a:lnTo>
                  <a:lnTo>
                    <a:pt x="873578" y="1358899"/>
                  </a:lnTo>
                  <a:lnTo>
                    <a:pt x="882579" y="1371599"/>
                  </a:lnTo>
                  <a:lnTo>
                    <a:pt x="890455" y="1384299"/>
                  </a:lnTo>
                  <a:lnTo>
                    <a:pt x="897144" y="1396999"/>
                  </a:lnTo>
                  <a:lnTo>
                    <a:pt x="902586" y="1396999"/>
                  </a:lnTo>
                  <a:lnTo>
                    <a:pt x="906719" y="1422399"/>
                  </a:lnTo>
                  <a:lnTo>
                    <a:pt x="909482" y="1435099"/>
                  </a:lnTo>
                  <a:lnTo>
                    <a:pt x="910814" y="1447799"/>
                  </a:lnTo>
                  <a:lnTo>
                    <a:pt x="904223" y="1485899"/>
                  </a:lnTo>
                  <a:lnTo>
                    <a:pt x="885735" y="1523999"/>
                  </a:lnTo>
                  <a:lnTo>
                    <a:pt x="857485" y="1562099"/>
                  </a:lnTo>
                  <a:lnTo>
                    <a:pt x="846268" y="1562099"/>
                  </a:lnTo>
                  <a:lnTo>
                    <a:pt x="834283" y="1574799"/>
                  </a:lnTo>
                  <a:lnTo>
                    <a:pt x="808325" y="1574799"/>
                  </a:lnTo>
                  <a:lnTo>
                    <a:pt x="794510" y="1587499"/>
                  </a:lnTo>
                  <a:lnTo>
                    <a:pt x="965567" y="1587499"/>
                  </a:lnTo>
                  <a:lnTo>
                    <a:pt x="975637" y="1574799"/>
                  </a:lnTo>
                  <a:lnTo>
                    <a:pt x="984560" y="1562099"/>
                  </a:lnTo>
                  <a:lnTo>
                    <a:pt x="992277" y="1536699"/>
                  </a:lnTo>
                  <a:lnTo>
                    <a:pt x="998726" y="1523999"/>
                  </a:lnTo>
                  <a:lnTo>
                    <a:pt x="1003848" y="1511299"/>
                  </a:lnTo>
                  <a:lnTo>
                    <a:pt x="1007581" y="1485899"/>
                  </a:lnTo>
                  <a:lnTo>
                    <a:pt x="1009865" y="1473199"/>
                  </a:lnTo>
                  <a:lnTo>
                    <a:pt x="1010640" y="1447799"/>
                  </a:lnTo>
                  <a:lnTo>
                    <a:pt x="1010252" y="1435099"/>
                  </a:lnTo>
                  <a:lnTo>
                    <a:pt x="1009102" y="1422399"/>
                  </a:lnTo>
                  <a:lnTo>
                    <a:pt x="1001302" y="1384299"/>
                  </a:lnTo>
                  <a:lnTo>
                    <a:pt x="987438" y="1346199"/>
                  </a:lnTo>
                  <a:lnTo>
                    <a:pt x="981572" y="1333499"/>
                  </a:lnTo>
                  <a:lnTo>
                    <a:pt x="975121" y="1320799"/>
                  </a:lnTo>
                  <a:close/>
                </a:path>
                <a:path w="1508594" h="1676400">
                  <a:moveTo>
                    <a:pt x="1085791" y="393699"/>
                  </a:moveTo>
                  <a:lnTo>
                    <a:pt x="949529" y="393699"/>
                  </a:lnTo>
                  <a:lnTo>
                    <a:pt x="1143749" y="634999"/>
                  </a:lnTo>
                  <a:lnTo>
                    <a:pt x="1133230" y="647699"/>
                  </a:lnTo>
                  <a:lnTo>
                    <a:pt x="1123162" y="647699"/>
                  </a:lnTo>
                  <a:lnTo>
                    <a:pt x="1113569" y="660399"/>
                  </a:lnTo>
                  <a:lnTo>
                    <a:pt x="1104474" y="673099"/>
                  </a:lnTo>
                  <a:lnTo>
                    <a:pt x="1095899" y="673099"/>
                  </a:lnTo>
                  <a:lnTo>
                    <a:pt x="1073531" y="711199"/>
                  </a:lnTo>
                  <a:lnTo>
                    <a:pt x="1056681" y="749299"/>
                  </a:lnTo>
                  <a:lnTo>
                    <a:pt x="1045973" y="787399"/>
                  </a:lnTo>
                  <a:lnTo>
                    <a:pt x="1042030" y="825499"/>
                  </a:lnTo>
                  <a:lnTo>
                    <a:pt x="1042399" y="838199"/>
                  </a:lnTo>
                  <a:lnTo>
                    <a:pt x="1047799" y="876299"/>
                  </a:lnTo>
                  <a:lnTo>
                    <a:pt x="1059214" y="914399"/>
                  </a:lnTo>
                  <a:lnTo>
                    <a:pt x="1076095" y="952499"/>
                  </a:lnTo>
                  <a:lnTo>
                    <a:pt x="882383" y="1244599"/>
                  </a:lnTo>
                  <a:lnTo>
                    <a:pt x="1005010" y="1244599"/>
                  </a:lnTo>
                  <a:lnTo>
                    <a:pt x="1156182" y="1028699"/>
                  </a:lnTo>
                  <a:lnTo>
                    <a:pt x="1395410" y="1028699"/>
                  </a:lnTo>
                  <a:lnTo>
                    <a:pt x="1425414" y="1003299"/>
                  </a:lnTo>
                  <a:lnTo>
                    <a:pt x="1462898" y="965199"/>
                  </a:lnTo>
                  <a:lnTo>
                    <a:pt x="1260653" y="965199"/>
                  </a:lnTo>
                  <a:lnTo>
                    <a:pt x="1246455" y="952499"/>
                  </a:lnTo>
                  <a:lnTo>
                    <a:pt x="1219765" y="952499"/>
                  </a:lnTo>
                  <a:lnTo>
                    <a:pt x="1207442" y="939799"/>
                  </a:lnTo>
                  <a:lnTo>
                    <a:pt x="1195913" y="939799"/>
                  </a:lnTo>
                  <a:lnTo>
                    <a:pt x="1166927" y="901699"/>
                  </a:lnTo>
                  <a:lnTo>
                    <a:pt x="1148112" y="863599"/>
                  </a:lnTo>
                  <a:lnTo>
                    <a:pt x="1142343" y="838199"/>
                  </a:lnTo>
                  <a:lnTo>
                    <a:pt x="1142955" y="825499"/>
                  </a:lnTo>
                  <a:lnTo>
                    <a:pt x="1144979" y="812799"/>
                  </a:lnTo>
                  <a:lnTo>
                    <a:pt x="1148342" y="800099"/>
                  </a:lnTo>
                  <a:lnTo>
                    <a:pt x="1152968" y="774699"/>
                  </a:lnTo>
                  <a:lnTo>
                    <a:pt x="1158787" y="761999"/>
                  </a:lnTo>
                  <a:lnTo>
                    <a:pt x="1165723" y="749299"/>
                  </a:lnTo>
                  <a:lnTo>
                    <a:pt x="1173704" y="749299"/>
                  </a:lnTo>
                  <a:lnTo>
                    <a:pt x="1182655" y="736599"/>
                  </a:lnTo>
                  <a:lnTo>
                    <a:pt x="1192505" y="723899"/>
                  </a:lnTo>
                  <a:lnTo>
                    <a:pt x="1203179" y="711199"/>
                  </a:lnTo>
                  <a:lnTo>
                    <a:pt x="1214604" y="711199"/>
                  </a:lnTo>
                  <a:lnTo>
                    <a:pt x="1226707" y="698499"/>
                  </a:lnTo>
                  <a:lnTo>
                    <a:pt x="1468560" y="698499"/>
                  </a:lnTo>
                  <a:lnTo>
                    <a:pt x="1463525" y="685799"/>
                  </a:lnTo>
                  <a:lnTo>
                    <a:pt x="1452371" y="673099"/>
                  </a:lnTo>
                  <a:lnTo>
                    <a:pt x="1440191" y="660399"/>
                  </a:lnTo>
                  <a:lnTo>
                    <a:pt x="1427046" y="647699"/>
                  </a:lnTo>
                  <a:lnTo>
                    <a:pt x="1412997" y="634999"/>
                  </a:lnTo>
                  <a:lnTo>
                    <a:pt x="1398104" y="634999"/>
                  </a:lnTo>
                  <a:lnTo>
                    <a:pt x="1382427" y="622299"/>
                  </a:lnTo>
                  <a:lnTo>
                    <a:pt x="1366028" y="609599"/>
                  </a:lnTo>
                  <a:lnTo>
                    <a:pt x="1348967" y="609599"/>
                  </a:lnTo>
                  <a:lnTo>
                    <a:pt x="1331304" y="596899"/>
                  </a:lnTo>
                  <a:lnTo>
                    <a:pt x="1249858" y="596899"/>
                  </a:lnTo>
                  <a:lnTo>
                    <a:pt x="1085791" y="393699"/>
                  </a:lnTo>
                  <a:close/>
                </a:path>
                <a:path w="1508594" h="1676400">
                  <a:moveTo>
                    <a:pt x="835320" y="1219199"/>
                  </a:moveTo>
                  <a:lnTo>
                    <a:pt x="725486" y="1219199"/>
                  </a:lnTo>
                  <a:lnTo>
                    <a:pt x="707136" y="1231899"/>
                  </a:lnTo>
                  <a:lnTo>
                    <a:pt x="847522" y="1231899"/>
                  </a:lnTo>
                  <a:lnTo>
                    <a:pt x="835320" y="1219199"/>
                  </a:lnTo>
                  <a:close/>
                </a:path>
                <a:path w="1508594" h="1676400">
                  <a:moveTo>
                    <a:pt x="271090" y="1054099"/>
                  </a:moveTo>
                  <a:lnTo>
                    <a:pt x="195507" y="1054099"/>
                  </a:lnTo>
                  <a:lnTo>
                    <a:pt x="214193" y="1066799"/>
                  </a:lnTo>
                  <a:lnTo>
                    <a:pt x="252404" y="1066799"/>
                  </a:lnTo>
                  <a:lnTo>
                    <a:pt x="271090" y="1054099"/>
                  </a:lnTo>
                  <a:close/>
                </a:path>
                <a:path w="1508594" h="1676400">
                  <a:moveTo>
                    <a:pt x="1286003" y="1054099"/>
                  </a:moveTo>
                  <a:lnTo>
                    <a:pt x="1252319" y="1054099"/>
                  </a:lnTo>
                  <a:lnTo>
                    <a:pt x="1265498" y="1066799"/>
                  </a:lnTo>
                  <a:lnTo>
                    <a:pt x="1286003" y="1054099"/>
                  </a:lnTo>
                  <a:close/>
                </a:path>
                <a:path w="1508594" h="1676400">
                  <a:moveTo>
                    <a:pt x="324019" y="1041399"/>
                  </a:moveTo>
                  <a:lnTo>
                    <a:pt x="142576" y="1041399"/>
                  </a:lnTo>
                  <a:lnTo>
                    <a:pt x="159638" y="1054099"/>
                  </a:lnTo>
                  <a:lnTo>
                    <a:pt x="306957" y="1054099"/>
                  </a:lnTo>
                  <a:lnTo>
                    <a:pt x="324019" y="1041399"/>
                  </a:lnTo>
                  <a:close/>
                </a:path>
                <a:path w="1508594" h="1676400">
                  <a:moveTo>
                    <a:pt x="1379063" y="1028699"/>
                  </a:moveTo>
                  <a:lnTo>
                    <a:pt x="1167123" y="1028699"/>
                  </a:lnTo>
                  <a:lnTo>
                    <a:pt x="1178409" y="1041399"/>
                  </a:lnTo>
                  <a:lnTo>
                    <a:pt x="1190020" y="1041399"/>
                  </a:lnTo>
                  <a:lnTo>
                    <a:pt x="1201939" y="1054099"/>
                  </a:lnTo>
                  <a:lnTo>
                    <a:pt x="1343944" y="1054099"/>
                  </a:lnTo>
                  <a:lnTo>
                    <a:pt x="1361890" y="1041399"/>
                  </a:lnTo>
                  <a:lnTo>
                    <a:pt x="1379063" y="1028699"/>
                  </a:lnTo>
                  <a:close/>
                </a:path>
                <a:path w="1508594" h="1676400">
                  <a:moveTo>
                    <a:pt x="900141" y="38099"/>
                  </a:moveTo>
                  <a:lnTo>
                    <a:pt x="654558" y="38099"/>
                  </a:lnTo>
                  <a:lnTo>
                    <a:pt x="639665" y="50799"/>
                  </a:lnTo>
                  <a:lnTo>
                    <a:pt x="600291" y="88899"/>
                  </a:lnTo>
                  <a:lnTo>
                    <a:pt x="570145" y="126999"/>
                  </a:lnTo>
                  <a:lnTo>
                    <a:pt x="562429" y="152399"/>
                  </a:lnTo>
                  <a:lnTo>
                    <a:pt x="555980" y="165099"/>
                  </a:lnTo>
                  <a:lnTo>
                    <a:pt x="550859" y="177799"/>
                  </a:lnTo>
                  <a:lnTo>
                    <a:pt x="547126" y="203199"/>
                  </a:lnTo>
                  <a:lnTo>
                    <a:pt x="544842" y="215899"/>
                  </a:lnTo>
                  <a:lnTo>
                    <a:pt x="544068" y="241299"/>
                  </a:lnTo>
                  <a:lnTo>
                    <a:pt x="544458" y="253999"/>
                  </a:lnTo>
                  <a:lnTo>
                    <a:pt x="545579" y="266699"/>
                  </a:lnTo>
                  <a:lnTo>
                    <a:pt x="547352" y="279399"/>
                  </a:lnTo>
                  <a:lnTo>
                    <a:pt x="267589" y="596899"/>
                  </a:lnTo>
                  <a:lnTo>
                    <a:pt x="182896" y="596899"/>
                  </a:lnTo>
                  <a:lnTo>
                    <a:pt x="164302" y="609599"/>
                  </a:lnTo>
                  <a:lnTo>
                    <a:pt x="146419" y="609599"/>
                  </a:lnTo>
                  <a:lnTo>
                    <a:pt x="129301" y="622299"/>
                  </a:lnTo>
                  <a:lnTo>
                    <a:pt x="113001" y="634999"/>
                  </a:lnTo>
                  <a:lnTo>
                    <a:pt x="97573" y="634999"/>
                  </a:lnTo>
                  <a:lnTo>
                    <a:pt x="57059" y="673099"/>
                  </a:lnTo>
                  <a:lnTo>
                    <a:pt x="35394" y="711199"/>
                  </a:lnTo>
                  <a:lnTo>
                    <a:pt x="26325" y="723899"/>
                  </a:lnTo>
                  <a:lnTo>
                    <a:pt x="18505" y="736599"/>
                  </a:lnTo>
                  <a:lnTo>
                    <a:pt x="11986" y="749299"/>
                  </a:lnTo>
                  <a:lnTo>
                    <a:pt x="6823" y="774699"/>
                  </a:lnTo>
                  <a:lnTo>
                    <a:pt x="3068" y="787399"/>
                  </a:lnTo>
                  <a:lnTo>
                    <a:pt x="776" y="812799"/>
                  </a:lnTo>
                  <a:lnTo>
                    <a:pt x="0" y="825499"/>
                  </a:lnTo>
                  <a:lnTo>
                    <a:pt x="774" y="850899"/>
                  </a:lnTo>
                  <a:lnTo>
                    <a:pt x="3059" y="863599"/>
                  </a:lnTo>
                  <a:lnTo>
                    <a:pt x="6792" y="888999"/>
                  </a:lnTo>
                  <a:lnTo>
                    <a:pt x="11913" y="901699"/>
                  </a:lnTo>
                  <a:lnTo>
                    <a:pt x="18363" y="914399"/>
                  </a:lnTo>
                  <a:lnTo>
                    <a:pt x="26079" y="939799"/>
                  </a:lnTo>
                  <a:lnTo>
                    <a:pt x="56229" y="977899"/>
                  </a:lnTo>
                  <a:lnTo>
                    <a:pt x="95606" y="1015999"/>
                  </a:lnTo>
                  <a:lnTo>
                    <a:pt x="126176" y="1041399"/>
                  </a:lnTo>
                  <a:lnTo>
                    <a:pt x="340418" y="1041399"/>
                  </a:lnTo>
                  <a:lnTo>
                    <a:pt x="370987" y="1015999"/>
                  </a:lnTo>
                  <a:lnTo>
                    <a:pt x="410361" y="977899"/>
                  </a:lnTo>
                  <a:lnTo>
                    <a:pt x="421516" y="965199"/>
                  </a:lnTo>
                  <a:lnTo>
                    <a:pt x="204445" y="965199"/>
                  </a:lnTo>
                  <a:lnTo>
                    <a:pt x="190786" y="952499"/>
                  </a:lnTo>
                  <a:lnTo>
                    <a:pt x="177753" y="952499"/>
                  </a:lnTo>
                  <a:lnTo>
                    <a:pt x="165429" y="939799"/>
                  </a:lnTo>
                  <a:lnTo>
                    <a:pt x="153899" y="939799"/>
                  </a:lnTo>
                  <a:lnTo>
                    <a:pt x="124909" y="901699"/>
                  </a:lnTo>
                  <a:lnTo>
                    <a:pt x="106091" y="863599"/>
                  </a:lnTo>
                  <a:lnTo>
                    <a:pt x="100320" y="838199"/>
                  </a:lnTo>
                  <a:lnTo>
                    <a:pt x="100933" y="825499"/>
                  </a:lnTo>
                  <a:lnTo>
                    <a:pt x="102958" y="812799"/>
                  </a:lnTo>
                  <a:lnTo>
                    <a:pt x="106321" y="800099"/>
                  </a:lnTo>
                  <a:lnTo>
                    <a:pt x="110948" y="774699"/>
                  </a:lnTo>
                  <a:lnTo>
                    <a:pt x="116768" y="761999"/>
                  </a:lnTo>
                  <a:lnTo>
                    <a:pt x="123705" y="749299"/>
                  </a:lnTo>
                  <a:lnTo>
                    <a:pt x="131687" y="749299"/>
                  </a:lnTo>
                  <a:lnTo>
                    <a:pt x="140640" y="736599"/>
                  </a:lnTo>
                  <a:lnTo>
                    <a:pt x="150491" y="723899"/>
                  </a:lnTo>
                  <a:lnTo>
                    <a:pt x="161166" y="711199"/>
                  </a:lnTo>
                  <a:lnTo>
                    <a:pt x="172592" y="711199"/>
                  </a:lnTo>
                  <a:lnTo>
                    <a:pt x="184696" y="698499"/>
                  </a:lnTo>
                  <a:lnTo>
                    <a:pt x="429230" y="698499"/>
                  </a:lnTo>
                  <a:lnTo>
                    <a:pt x="421853" y="685799"/>
                  </a:lnTo>
                  <a:lnTo>
                    <a:pt x="413906" y="685799"/>
                  </a:lnTo>
                  <a:lnTo>
                    <a:pt x="405413" y="673099"/>
                  </a:lnTo>
                  <a:lnTo>
                    <a:pt x="396397" y="660399"/>
                  </a:lnTo>
                  <a:lnTo>
                    <a:pt x="386880" y="647699"/>
                  </a:lnTo>
                  <a:lnTo>
                    <a:pt x="376887" y="647699"/>
                  </a:lnTo>
                  <a:lnTo>
                    <a:pt x="366440" y="634999"/>
                  </a:lnTo>
                  <a:lnTo>
                    <a:pt x="592772" y="380999"/>
                  </a:lnTo>
                  <a:lnTo>
                    <a:pt x="1075536" y="380999"/>
                  </a:lnTo>
                  <a:lnTo>
                    <a:pt x="1065282" y="368299"/>
                  </a:lnTo>
                  <a:lnTo>
                    <a:pt x="734841" y="368299"/>
                  </a:lnTo>
                  <a:lnTo>
                    <a:pt x="721808" y="355599"/>
                  </a:lnTo>
                  <a:lnTo>
                    <a:pt x="709485" y="355599"/>
                  </a:lnTo>
                  <a:lnTo>
                    <a:pt x="697955" y="342899"/>
                  </a:lnTo>
                  <a:lnTo>
                    <a:pt x="687303" y="342899"/>
                  </a:lnTo>
                  <a:lnTo>
                    <a:pt x="677613" y="330199"/>
                  </a:lnTo>
                  <a:lnTo>
                    <a:pt x="655156" y="292099"/>
                  </a:lnTo>
                  <a:lnTo>
                    <a:pt x="644387" y="253999"/>
                  </a:lnTo>
                  <a:lnTo>
                    <a:pt x="645000" y="241299"/>
                  </a:lnTo>
                  <a:lnTo>
                    <a:pt x="650387" y="203199"/>
                  </a:lnTo>
                  <a:lnTo>
                    <a:pt x="667768" y="165099"/>
                  </a:lnTo>
                  <a:lnTo>
                    <a:pt x="684701" y="139699"/>
                  </a:lnTo>
                  <a:lnTo>
                    <a:pt x="694551" y="139699"/>
                  </a:lnTo>
                  <a:lnTo>
                    <a:pt x="705225" y="126999"/>
                  </a:lnTo>
                  <a:lnTo>
                    <a:pt x="716650" y="114299"/>
                  </a:lnTo>
                  <a:lnTo>
                    <a:pt x="741459" y="114299"/>
                  </a:lnTo>
                  <a:lnTo>
                    <a:pt x="754696" y="101599"/>
                  </a:lnTo>
                  <a:lnTo>
                    <a:pt x="965555" y="101599"/>
                  </a:lnTo>
                  <a:lnTo>
                    <a:pt x="954403" y="88899"/>
                  </a:lnTo>
                  <a:lnTo>
                    <a:pt x="942224" y="76199"/>
                  </a:lnTo>
                  <a:lnTo>
                    <a:pt x="929081" y="63499"/>
                  </a:lnTo>
                  <a:lnTo>
                    <a:pt x="915033" y="50799"/>
                  </a:lnTo>
                  <a:lnTo>
                    <a:pt x="900141" y="38099"/>
                  </a:lnTo>
                  <a:close/>
                </a:path>
                <a:path w="1508594" h="1676400">
                  <a:moveTo>
                    <a:pt x="429230" y="698499"/>
                  </a:moveTo>
                  <a:lnTo>
                    <a:pt x="269765" y="698499"/>
                  </a:lnTo>
                  <a:lnTo>
                    <a:pt x="283475" y="711199"/>
                  </a:lnTo>
                  <a:lnTo>
                    <a:pt x="296365" y="711199"/>
                  </a:lnTo>
                  <a:lnTo>
                    <a:pt x="308375" y="723899"/>
                  </a:lnTo>
                  <a:lnTo>
                    <a:pt x="319444" y="723899"/>
                  </a:lnTo>
                  <a:lnTo>
                    <a:pt x="329510" y="736599"/>
                  </a:lnTo>
                  <a:lnTo>
                    <a:pt x="353081" y="774699"/>
                  </a:lnTo>
                  <a:lnTo>
                    <a:pt x="365425" y="812799"/>
                  </a:lnTo>
                  <a:lnTo>
                    <a:pt x="366758" y="825499"/>
                  </a:lnTo>
                  <a:lnTo>
                    <a:pt x="366015" y="838199"/>
                  </a:lnTo>
                  <a:lnTo>
                    <a:pt x="355221" y="876299"/>
                  </a:lnTo>
                  <a:lnTo>
                    <a:pt x="333242" y="914399"/>
                  </a:lnTo>
                  <a:lnTo>
                    <a:pt x="313430" y="939799"/>
                  </a:lnTo>
                  <a:lnTo>
                    <a:pt x="302214" y="939799"/>
                  </a:lnTo>
                  <a:lnTo>
                    <a:pt x="290231" y="952499"/>
                  </a:lnTo>
                  <a:lnTo>
                    <a:pt x="264277" y="952499"/>
                  </a:lnTo>
                  <a:lnTo>
                    <a:pt x="250464" y="965199"/>
                  </a:lnTo>
                  <a:lnTo>
                    <a:pt x="421516" y="965199"/>
                  </a:lnTo>
                  <a:lnTo>
                    <a:pt x="431585" y="952499"/>
                  </a:lnTo>
                  <a:lnTo>
                    <a:pt x="440508" y="939799"/>
                  </a:lnTo>
                  <a:lnTo>
                    <a:pt x="448224" y="914399"/>
                  </a:lnTo>
                  <a:lnTo>
                    <a:pt x="454672" y="901699"/>
                  </a:lnTo>
                  <a:lnTo>
                    <a:pt x="459793" y="888999"/>
                  </a:lnTo>
                  <a:lnTo>
                    <a:pt x="463526" y="863599"/>
                  </a:lnTo>
                  <a:lnTo>
                    <a:pt x="465810" y="850899"/>
                  </a:lnTo>
                  <a:lnTo>
                    <a:pt x="466585" y="825499"/>
                  </a:lnTo>
                  <a:lnTo>
                    <a:pt x="466177" y="812799"/>
                  </a:lnTo>
                  <a:lnTo>
                    <a:pt x="464967" y="800099"/>
                  </a:lnTo>
                  <a:lnTo>
                    <a:pt x="456764" y="761999"/>
                  </a:lnTo>
                  <a:lnTo>
                    <a:pt x="442184" y="723899"/>
                  </a:lnTo>
                  <a:lnTo>
                    <a:pt x="436015" y="711199"/>
                  </a:lnTo>
                  <a:lnTo>
                    <a:pt x="429230" y="698499"/>
                  </a:lnTo>
                  <a:close/>
                </a:path>
                <a:path w="1508594" h="1676400">
                  <a:moveTo>
                    <a:pt x="1468560" y="698499"/>
                  </a:moveTo>
                  <a:lnTo>
                    <a:pt x="1311777" y="698499"/>
                  </a:lnTo>
                  <a:lnTo>
                    <a:pt x="1325487" y="711199"/>
                  </a:lnTo>
                  <a:lnTo>
                    <a:pt x="1338377" y="711199"/>
                  </a:lnTo>
                  <a:lnTo>
                    <a:pt x="1350387" y="723899"/>
                  </a:lnTo>
                  <a:lnTo>
                    <a:pt x="1361455" y="723899"/>
                  </a:lnTo>
                  <a:lnTo>
                    <a:pt x="1371521" y="736599"/>
                  </a:lnTo>
                  <a:lnTo>
                    <a:pt x="1395090" y="774699"/>
                  </a:lnTo>
                  <a:lnTo>
                    <a:pt x="1407433" y="812799"/>
                  </a:lnTo>
                  <a:lnTo>
                    <a:pt x="1408767" y="825499"/>
                  </a:lnTo>
                  <a:lnTo>
                    <a:pt x="1408025" y="838199"/>
                  </a:lnTo>
                  <a:lnTo>
                    <a:pt x="1397234" y="876299"/>
                  </a:lnTo>
                  <a:lnTo>
                    <a:pt x="1375261" y="914399"/>
                  </a:lnTo>
                  <a:lnTo>
                    <a:pt x="1355454" y="939799"/>
                  </a:lnTo>
                  <a:lnTo>
                    <a:pt x="1344240" y="939799"/>
                  </a:lnTo>
                  <a:lnTo>
                    <a:pt x="1332258" y="952499"/>
                  </a:lnTo>
                  <a:lnTo>
                    <a:pt x="1306306" y="952499"/>
                  </a:lnTo>
                  <a:lnTo>
                    <a:pt x="1292494" y="965199"/>
                  </a:lnTo>
                  <a:lnTo>
                    <a:pt x="1462898" y="965199"/>
                  </a:lnTo>
                  <a:lnTo>
                    <a:pt x="1473174" y="952499"/>
                  </a:lnTo>
                  <a:lnTo>
                    <a:pt x="1482252" y="939799"/>
                  </a:lnTo>
                  <a:lnTo>
                    <a:pt x="1490080" y="914399"/>
                  </a:lnTo>
                  <a:lnTo>
                    <a:pt x="1496603" y="901699"/>
                  </a:lnTo>
                  <a:lnTo>
                    <a:pt x="1501770" y="888999"/>
                  </a:lnTo>
                  <a:lnTo>
                    <a:pt x="1505526" y="863599"/>
                  </a:lnTo>
                  <a:lnTo>
                    <a:pt x="1507818" y="850899"/>
                  </a:lnTo>
                  <a:lnTo>
                    <a:pt x="1508594" y="825499"/>
                  </a:lnTo>
                  <a:lnTo>
                    <a:pt x="1507820" y="812799"/>
                  </a:lnTo>
                  <a:lnTo>
                    <a:pt x="1505536" y="787399"/>
                  </a:lnTo>
                  <a:lnTo>
                    <a:pt x="1501803" y="774699"/>
                  </a:lnTo>
                  <a:lnTo>
                    <a:pt x="1496682" y="749299"/>
                  </a:lnTo>
                  <a:lnTo>
                    <a:pt x="1490233" y="736599"/>
                  </a:lnTo>
                  <a:lnTo>
                    <a:pt x="1482517" y="723899"/>
                  </a:lnTo>
                  <a:lnTo>
                    <a:pt x="1473594" y="711199"/>
                  </a:lnTo>
                  <a:lnTo>
                    <a:pt x="1468560" y="698499"/>
                  </a:lnTo>
                  <a:close/>
                </a:path>
                <a:path w="1508594" h="1676400">
                  <a:moveTo>
                    <a:pt x="841909" y="457199"/>
                  </a:moveTo>
                  <a:lnTo>
                    <a:pt x="708024" y="457199"/>
                  </a:lnTo>
                  <a:lnTo>
                    <a:pt x="720781" y="469899"/>
                  </a:lnTo>
                  <a:lnTo>
                    <a:pt x="829025" y="469899"/>
                  </a:lnTo>
                  <a:lnTo>
                    <a:pt x="841909" y="457199"/>
                  </a:lnTo>
                  <a:close/>
                </a:path>
                <a:path w="1508594" h="1676400">
                  <a:moveTo>
                    <a:pt x="878473" y="444499"/>
                  </a:moveTo>
                  <a:lnTo>
                    <a:pt x="671679" y="444499"/>
                  </a:lnTo>
                  <a:lnTo>
                    <a:pt x="683450" y="457199"/>
                  </a:lnTo>
                  <a:lnTo>
                    <a:pt x="866650" y="457199"/>
                  </a:lnTo>
                  <a:lnTo>
                    <a:pt x="878473" y="444499"/>
                  </a:lnTo>
                  <a:close/>
                </a:path>
                <a:path w="1508594" h="1676400">
                  <a:moveTo>
                    <a:pt x="900947" y="431799"/>
                  </a:moveTo>
                  <a:lnTo>
                    <a:pt x="649275" y="431799"/>
                  </a:lnTo>
                  <a:lnTo>
                    <a:pt x="660279" y="444499"/>
                  </a:lnTo>
                  <a:lnTo>
                    <a:pt x="889911" y="444499"/>
                  </a:lnTo>
                  <a:lnTo>
                    <a:pt x="900947" y="431799"/>
                  </a:lnTo>
                  <a:close/>
                </a:path>
                <a:path w="1508594" h="1676400">
                  <a:moveTo>
                    <a:pt x="1075536" y="380999"/>
                  </a:moveTo>
                  <a:lnTo>
                    <a:pt x="592772" y="380999"/>
                  </a:lnTo>
                  <a:lnTo>
                    <a:pt x="600945" y="393699"/>
                  </a:lnTo>
                  <a:lnTo>
                    <a:pt x="609645" y="406399"/>
                  </a:lnTo>
                  <a:lnTo>
                    <a:pt x="618850" y="406399"/>
                  </a:lnTo>
                  <a:lnTo>
                    <a:pt x="628538" y="419099"/>
                  </a:lnTo>
                  <a:lnTo>
                    <a:pt x="638687" y="431799"/>
                  </a:lnTo>
                  <a:lnTo>
                    <a:pt x="911564" y="431799"/>
                  </a:lnTo>
                  <a:lnTo>
                    <a:pt x="921747" y="419099"/>
                  </a:lnTo>
                  <a:lnTo>
                    <a:pt x="931480" y="419099"/>
                  </a:lnTo>
                  <a:lnTo>
                    <a:pt x="940746" y="406399"/>
                  </a:lnTo>
                  <a:lnTo>
                    <a:pt x="949529" y="393699"/>
                  </a:lnTo>
                  <a:lnTo>
                    <a:pt x="1085791" y="393699"/>
                  </a:lnTo>
                  <a:lnTo>
                    <a:pt x="1075536" y="380999"/>
                  </a:lnTo>
                  <a:close/>
                </a:path>
                <a:path w="1508594" h="1676400">
                  <a:moveTo>
                    <a:pt x="965555" y="101599"/>
                  </a:moveTo>
                  <a:lnTo>
                    <a:pt x="784191" y="101599"/>
                  </a:lnTo>
                  <a:lnTo>
                    <a:pt x="799354" y="114299"/>
                  </a:lnTo>
                  <a:lnTo>
                    <a:pt x="827530" y="114299"/>
                  </a:lnTo>
                  <a:lnTo>
                    <a:pt x="840420" y="126999"/>
                  </a:lnTo>
                  <a:lnTo>
                    <a:pt x="852430" y="126999"/>
                  </a:lnTo>
                  <a:lnTo>
                    <a:pt x="863498" y="139699"/>
                  </a:lnTo>
                  <a:lnTo>
                    <a:pt x="873563" y="152399"/>
                  </a:lnTo>
                  <a:lnTo>
                    <a:pt x="882565" y="152399"/>
                  </a:lnTo>
                  <a:lnTo>
                    <a:pt x="902576" y="190499"/>
                  </a:lnTo>
                  <a:lnTo>
                    <a:pt x="910813" y="228599"/>
                  </a:lnTo>
                  <a:lnTo>
                    <a:pt x="910070" y="253999"/>
                  </a:lnTo>
                  <a:lnTo>
                    <a:pt x="899280" y="292099"/>
                  </a:lnTo>
                  <a:lnTo>
                    <a:pt x="877306" y="330199"/>
                  </a:lnTo>
                  <a:lnTo>
                    <a:pt x="867866" y="342899"/>
                  </a:lnTo>
                  <a:lnTo>
                    <a:pt x="857499" y="342899"/>
                  </a:lnTo>
                  <a:lnTo>
                    <a:pt x="846285" y="355599"/>
                  </a:lnTo>
                  <a:lnTo>
                    <a:pt x="834303" y="355599"/>
                  </a:lnTo>
                  <a:lnTo>
                    <a:pt x="821632" y="368299"/>
                  </a:lnTo>
                  <a:lnTo>
                    <a:pt x="1065282" y="368299"/>
                  </a:lnTo>
                  <a:lnTo>
                    <a:pt x="1003757" y="292099"/>
                  </a:lnTo>
                  <a:lnTo>
                    <a:pt x="1006434" y="279399"/>
                  </a:lnTo>
                  <a:lnTo>
                    <a:pt x="1008501" y="266699"/>
                  </a:lnTo>
                  <a:lnTo>
                    <a:pt x="1009902" y="253999"/>
                  </a:lnTo>
                  <a:lnTo>
                    <a:pt x="1010582" y="241299"/>
                  </a:lnTo>
                  <a:lnTo>
                    <a:pt x="1009816" y="228599"/>
                  </a:lnTo>
                  <a:lnTo>
                    <a:pt x="1007539" y="203199"/>
                  </a:lnTo>
                  <a:lnTo>
                    <a:pt x="1003812" y="190499"/>
                  </a:lnTo>
                  <a:lnTo>
                    <a:pt x="998697" y="165099"/>
                  </a:lnTo>
                  <a:lnTo>
                    <a:pt x="992253" y="152399"/>
                  </a:lnTo>
                  <a:lnTo>
                    <a:pt x="984541" y="139699"/>
                  </a:lnTo>
                  <a:lnTo>
                    <a:pt x="975621" y="114299"/>
                  </a:lnTo>
                  <a:lnTo>
                    <a:pt x="965555" y="101599"/>
                  </a:lnTo>
                  <a:close/>
                </a:path>
                <a:path w="1508594" h="1676400">
                  <a:moveTo>
                    <a:pt x="851007" y="12699"/>
                  </a:moveTo>
                  <a:lnTo>
                    <a:pt x="703695" y="12699"/>
                  </a:lnTo>
                  <a:lnTo>
                    <a:pt x="686634" y="25399"/>
                  </a:lnTo>
                  <a:lnTo>
                    <a:pt x="670234" y="38099"/>
                  </a:lnTo>
                  <a:lnTo>
                    <a:pt x="884466" y="38099"/>
                  </a:lnTo>
                  <a:lnTo>
                    <a:pt x="868068" y="25399"/>
                  </a:lnTo>
                  <a:lnTo>
                    <a:pt x="851007" y="12699"/>
                  </a:lnTo>
                  <a:close/>
                </a:path>
                <a:path w="1508594" h="1676400">
                  <a:moveTo>
                    <a:pt x="777354" y="0"/>
                  </a:moveTo>
                  <a:lnTo>
                    <a:pt x="758248" y="12699"/>
                  </a:lnTo>
                  <a:lnTo>
                    <a:pt x="796458" y="12699"/>
                  </a:lnTo>
                  <a:lnTo>
                    <a:pt x="7773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900"/>
            </a:p>
          </p:txBody>
        </p:sp>
      </p:grpSp>
    </p:spTree>
    <p:extLst>
      <p:ext uri="{BB962C8B-B14F-4D97-AF65-F5344CB8AC3E}">
        <p14:creationId xmlns:p14="http://schemas.microsoft.com/office/powerpoint/2010/main" val="35962902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6" name="Title 1"/>
          <p:cNvSpPr txBox="1">
            <a:spLocks/>
          </p:cNvSpPr>
          <p:nvPr/>
        </p:nvSpPr>
        <p:spPr bwMode="auto">
          <a:xfrm>
            <a:off x="-345833" y="1069402"/>
            <a:ext cx="948983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28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endParaRPr>
          </a:p>
        </p:txBody>
      </p:sp>
      <p:sp>
        <p:nvSpPr>
          <p:cNvPr id="22" name="Rectangle 10"/>
          <p:cNvSpPr/>
          <p:nvPr/>
        </p:nvSpPr>
        <p:spPr>
          <a:xfrm>
            <a:off x="389673" y="2780625"/>
            <a:ext cx="6215751" cy="70788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tab pos="0" algn="l"/>
                <a:tab pos="810260" algn="l"/>
              </a:tabLst>
              <a:defRPr/>
            </a:pPr>
            <a:r>
              <a:rPr kumimoji="0" lang="en-US" sz="2000"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If you are aware of any child protection concerns, these should be referred to SC’s child protection caseworkers.</a:t>
            </a:r>
          </a:p>
        </p:txBody>
      </p:sp>
      <p:sp>
        <p:nvSpPr>
          <p:cNvPr id="7" name="Rectangle 3"/>
          <p:cNvSpPr txBox="1">
            <a:spLocks noChangeArrowheads="1"/>
          </p:cNvSpPr>
          <p:nvPr/>
        </p:nvSpPr>
        <p:spPr>
          <a:xfrm>
            <a:off x="389672" y="4869110"/>
            <a:ext cx="6215751" cy="506202"/>
          </a:xfrm>
          <a:prstGeom prst="rect">
            <a:avLst/>
          </a:prstGeom>
          <a:solidFill>
            <a:schemeClr val="accent1">
              <a:lumMod val="20000"/>
              <a:lumOff val="80000"/>
            </a:schemeClr>
          </a:solidFill>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20000"/>
              </a:spcBef>
              <a:spcAft>
                <a:spcPts val="0"/>
              </a:spcAft>
              <a:buClrTx/>
              <a:buSzTx/>
              <a:buFont typeface="Arial" panose="020B0604020202020204" pitchFamily="34" charset="0"/>
              <a:buNone/>
              <a:tabLst/>
              <a:defRPr/>
            </a:pPr>
            <a:r>
              <a:rPr kumimoji="0" lang="en-GB" altLang="en-US" sz="2000" b="0" i="0" u="none" strike="noStrike" kern="1200" cap="none" spc="0" normalizeH="0" baseline="0" noProof="0" dirty="0">
                <a:ln>
                  <a:noFill/>
                </a:ln>
                <a:solidFill>
                  <a:srgbClr val="222221"/>
                </a:solidFill>
                <a:effectLst/>
                <a:uLnTx/>
                <a:uFillTx/>
                <a:latin typeface="Gill Sans Infant Std"/>
                <a:ea typeface="ＭＳ Ｐゴシック" panose="020B0600070205080204" pitchFamily="34" charset="-128"/>
                <a:cs typeface="Arial" panose="020B0604020202020204" pitchFamily="34" charset="0"/>
              </a:rPr>
              <a:t>In the areas where you work you can contact </a:t>
            </a:r>
            <a:r>
              <a:rPr kumimoji="0" lang="en-GB" altLang="en-US" sz="2000" b="0" i="0" u="none" strike="noStrike" kern="1200" cap="none" spc="0" normalizeH="0" baseline="0" noProof="0" dirty="0">
                <a:ln>
                  <a:noFill/>
                </a:ln>
                <a:solidFill>
                  <a:srgbClr val="F20F0E"/>
                </a:solidFill>
                <a:effectLst/>
                <a:uLnTx/>
                <a:uFillTx/>
                <a:latin typeface="Gill Sans Infant Std"/>
                <a:ea typeface="ＭＳ Ｐゴシック" panose="020B0600070205080204" pitchFamily="34" charset="-128"/>
                <a:cs typeface="Arial" panose="020B0604020202020204" pitchFamily="34" charset="0"/>
              </a:rPr>
              <a:t>XXX</a:t>
            </a:r>
            <a:endParaRPr kumimoji="0" lang="en-AU" altLang="en-US" sz="2000" b="0" i="0" u="none" strike="noStrike" kern="1200" cap="none" spc="0" normalizeH="0" baseline="0" noProof="0" dirty="0">
              <a:ln>
                <a:noFill/>
              </a:ln>
              <a:solidFill>
                <a:srgbClr val="F20F0E"/>
              </a:solidFill>
              <a:effectLst/>
              <a:uLnTx/>
              <a:uFillTx/>
              <a:latin typeface="Gill Sans Infant Std"/>
              <a:ea typeface="ＭＳ Ｐゴシック" panose="020B0600070205080204" pitchFamily="34" charset="-128"/>
              <a:cs typeface="Arial" panose="020B0604020202020204" pitchFamily="34" charset="0"/>
            </a:endParaRPr>
          </a:p>
          <a:p>
            <a:pPr marL="0" marR="0" lvl="0" indent="0" algn="l" defTabSz="914400" rtl="0" eaLnBrk="1" fontAlgn="auto" latinLnBrk="0" hangingPunct="1">
              <a:lnSpc>
                <a:spcPct val="90000"/>
              </a:lnSpc>
              <a:spcBef>
                <a:spcPct val="20000"/>
              </a:spcBef>
              <a:spcAft>
                <a:spcPts val="0"/>
              </a:spcAft>
              <a:buClrTx/>
              <a:buSzTx/>
              <a:buFont typeface="Arial" panose="020B0604020202020204" pitchFamily="34" charset="0"/>
              <a:buNone/>
              <a:tabLst/>
              <a:defRPr/>
            </a:pPr>
            <a:endParaRPr kumimoji="0" lang="en-GB" altLang="en-US" sz="1800" b="0" i="0" u="none" strike="noStrike" kern="1200" cap="none" spc="0" normalizeH="0" baseline="0" noProof="0" dirty="0">
              <a:ln>
                <a:noFill/>
              </a:ln>
              <a:solidFill>
                <a:srgbClr val="222221"/>
              </a:solidFill>
              <a:effectLst/>
              <a:uLnTx/>
              <a:uFillTx/>
              <a:latin typeface="Arial" panose="020B0604020202020204" pitchFamily="34" charset="0"/>
              <a:ea typeface="ＭＳ Ｐゴシック" panose="020B0600070205080204" pitchFamily="34" charset="-128"/>
              <a:cs typeface="Arial" panose="020B0604020202020204" pitchFamily="34" charset="0"/>
            </a:endParaRPr>
          </a:p>
          <a:p>
            <a:pPr marL="342900" marR="0" lvl="0" indent="-342900" algn="l" defTabSz="914400" rtl="0" eaLnBrk="1" fontAlgn="auto" latinLnBrk="0" hangingPunct="1">
              <a:lnSpc>
                <a:spcPct val="90000"/>
              </a:lnSpc>
              <a:spcBef>
                <a:spcPct val="20000"/>
              </a:spcBef>
              <a:spcAft>
                <a:spcPts val="0"/>
              </a:spcAft>
              <a:buClrTx/>
              <a:buSzTx/>
              <a:buFontTx/>
              <a:buNone/>
              <a:tabLst/>
              <a:defRPr/>
            </a:pPr>
            <a:endParaRPr kumimoji="0" lang="en-US" altLang="en-US" sz="1800" b="0" i="0" u="none" strike="noStrike" kern="1200" cap="none" spc="0" normalizeH="0" baseline="0" noProof="0" dirty="0">
              <a:ln>
                <a:noFill/>
              </a:ln>
              <a:solidFill>
                <a:srgbClr val="222221"/>
              </a:solidFill>
              <a:effectLst/>
              <a:uLnTx/>
              <a:uFillTx/>
              <a:latin typeface="Gill Sans MT"/>
              <a:ea typeface="ＭＳ Ｐゴシック" panose="020B0600070205080204" pitchFamily="34" charset="-128"/>
              <a:cs typeface="+mn-cs"/>
            </a:endParaRPr>
          </a:p>
        </p:txBody>
      </p:sp>
      <p:pic>
        <p:nvPicPr>
          <p:cNvPr id="8" name="Picture 7"/>
          <p:cNvPicPr>
            <a:picLocks noChangeAspect="1"/>
          </p:cNvPicPr>
          <p:nvPr/>
        </p:nvPicPr>
        <p:blipFill>
          <a:blip r:embed="rId3"/>
          <a:stretch>
            <a:fillRect/>
          </a:stretch>
        </p:blipFill>
        <p:spPr>
          <a:xfrm>
            <a:off x="7086600" y="3790036"/>
            <a:ext cx="1532733" cy="2063485"/>
          </a:xfrm>
          <a:prstGeom prst="rect">
            <a:avLst/>
          </a:prstGeom>
        </p:spPr>
      </p:pic>
      <p:sp>
        <p:nvSpPr>
          <p:cNvPr id="9" name="Title 1">
            <a:extLst>
              <a:ext uri="{FF2B5EF4-FFF2-40B4-BE49-F238E27FC236}">
                <a16:creationId xmlns:a16="http://schemas.microsoft.com/office/drawing/2014/main" id="{AAB5C0D3-2F99-4AD5-8282-55FC535A5DB4}"/>
              </a:ext>
            </a:extLst>
          </p:cNvPr>
          <p:cNvSpPr txBox="1">
            <a:spLocks/>
          </p:cNvSpPr>
          <p:nvPr/>
        </p:nvSpPr>
        <p:spPr bwMode="auto">
          <a:xfrm>
            <a:off x="776534" y="151381"/>
            <a:ext cx="7640637" cy="91802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0000"/>
          </a:bodyPr>
          <a:lst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a:lstStyle>
          <a:p>
            <a:pPr algn="ctr">
              <a:lnSpc>
                <a:spcPct val="150000"/>
              </a:lnSpc>
              <a:defRPr/>
            </a:pPr>
            <a:r>
              <a:rPr lang="en-US" altLang="en-US" sz="20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ကၽြ</a:t>
            </a:r>
            <a:r>
              <a:rPr lang="en-US" altLang="en-US" sz="20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န္ပ္တုိ</a:t>
            </a:r>
            <a:r>
              <a:rPr lang="en-US" altLang="en-US" sz="20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႔ </a:t>
            </a:r>
            <a:r>
              <a:rPr lang="en-US" altLang="en-US" sz="20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ဘယ္လုိ</a:t>
            </a:r>
            <a:r>
              <a:rPr lang="en-US" altLang="en-US" sz="20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20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ညႊန္းပုိ႔မလဲ</a:t>
            </a:r>
            <a:r>
              <a:rPr lang="en-US" altLang="en-US" sz="20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p>
          <a:p>
            <a:pPr algn="ctr">
              <a:lnSpc>
                <a:spcPct val="150000"/>
              </a:lnSpc>
              <a:defRPr/>
            </a:pPr>
            <a:r>
              <a:rPr kumimoji="0" lang="en-US" altLang="en-US" sz="20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How do we refer?</a:t>
            </a:r>
          </a:p>
          <a:p>
            <a:pPr algn="ctr">
              <a:lnSpc>
                <a:spcPct val="150000"/>
              </a:lnSpc>
              <a:defRPr/>
            </a:pPr>
            <a:endParaRPr lang="en-US" altLang="en-US" sz="2400" b="0" dirty="0"/>
          </a:p>
        </p:txBody>
      </p:sp>
      <p:sp>
        <p:nvSpPr>
          <p:cNvPr id="10" name="Title 1">
            <a:extLst>
              <a:ext uri="{FF2B5EF4-FFF2-40B4-BE49-F238E27FC236}">
                <a16:creationId xmlns:a16="http://schemas.microsoft.com/office/drawing/2014/main" id="{BD69FB96-53F6-445D-9E13-FA6DFD5107AA}"/>
              </a:ext>
            </a:extLst>
          </p:cNvPr>
          <p:cNvSpPr txBox="1">
            <a:spLocks/>
          </p:cNvSpPr>
          <p:nvPr/>
        </p:nvSpPr>
        <p:spPr bwMode="auto">
          <a:xfrm>
            <a:off x="389673" y="1778397"/>
            <a:ext cx="7640637" cy="91802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82500" lnSpcReduction="10000"/>
          </a:bodyPr>
          <a:lst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a:lstStyle>
          <a:p>
            <a:pPr algn="ctr">
              <a:lnSpc>
                <a:spcPct val="150000"/>
              </a:lnSpc>
              <a:defRPr/>
            </a:pP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မည္သည</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ကေလးသူငယ္ကာကြယ္ေစာင</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ရွာက္ေရး</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စုိးရမ္ပူပန္မႈမ်ိဳးကုိမဆုိ</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သင္သိျမင</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ၾ</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ကားခဲ့လ</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င္ SC </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ကေလးသူငယ္ကာကြယ္ေစာင</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ရွာက္ေရး</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လုပ္သားထံသုိ</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႔ </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ညႊန္းပုိ႔သင</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altLang="en-US" sz="1800" b="0"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သည</a:t>
            </a:r>
            <a:r>
              <a:rPr lang="en-US" altLang="en-US" sz="1800" b="0"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endParaRPr lang="en-US" altLang="en-US" sz="2000" b="0" dirty="0"/>
          </a:p>
        </p:txBody>
      </p:sp>
      <p:sp>
        <p:nvSpPr>
          <p:cNvPr id="11" name="Rectangle 3">
            <a:extLst>
              <a:ext uri="{FF2B5EF4-FFF2-40B4-BE49-F238E27FC236}">
                <a16:creationId xmlns:a16="http://schemas.microsoft.com/office/drawing/2014/main" id="{16400E15-61B6-4AFB-A2E8-23905C6FFC6E}"/>
              </a:ext>
            </a:extLst>
          </p:cNvPr>
          <p:cNvSpPr txBox="1">
            <a:spLocks noChangeArrowheads="1"/>
          </p:cNvSpPr>
          <p:nvPr/>
        </p:nvSpPr>
        <p:spPr>
          <a:xfrm>
            <a:off x="389672" y="3775493"/>
            <a:ext cx="6215751" cy="793184"/>
          </a:xfrm>
          <a:prstGeom prst="rect">
            <a:avLst/>
          </a:prstGeom>
          <a:solidFill>
            <a:schemeClr val="accent1">
              <a:lumMod val="20000"/>
              <a:lumOff val="80000"/>
            </a:schemeClr>
          </a:solidFill>
        </p:spPr>
        <p:txBody>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20000"/>
              </a:spcBef>
              <a:spcAft>
                <a:spcPts val="0"/>
              </a:spcAft>
              <a:buClrTx/>
              <a:buSzTx/>
              <a:buFont typeface="Arial" panose="020B0604020202020204" pitchFamily="34" charset="0"/>
              <a:buNone/>
              <a:tabLst/>
              <a:defRPr/>
            </a:pPr>
            <a:r>
              <a:rPr kumimoji="0" lang="en-US" altLang="en-US" sz="1600" i="0" u="none" strike="noStrike" kern="1200" cap="none" spc="0" normalizeH="0" baseline="0" noProof="0" dirty="0" err="1">
                <a:ln w="0"/>
                <a:solidFill>
                  <a:srgbClr val="222221"/>
                </a:solidFill>
                <a:effectLst>
                  <a:outerShdw blurRad="38100" dist="25400" dir="5400000" algn="ctr" rotWithShape="0">
                    <a:srgbClr val="6E747A">
                      <a:alpha val="43000"/>
                    </a:srgbClr>
                  </a:outerShdw>
                </a:effectLst>
                <a:uLnTx/>
                <a:uFillTx/>
                <a:latin typeface="Zawgyi-One" panose="020B0604030504040204" pitchFamily="34" charset="0"/>
                <a:ea typeface="ＭＳ Ｐゴシック" panose="020B0600070205080204" pitchFamily="34" charset="-128"/>
                <a:cs typeface="Zawgyi-One" panose="020B0604030504040204" pitchFamily="34" charset="0"/>
              </a:rPr>
              <a:t>သင္အလုပ္လုပ္ေနသည</a:t>
            </a:r>
            <a:r>
              <a:rPr kumimoji="0" lang="en-US" altLang="en-US" sz="1600" i="0" u="none" strike="noStrike" kern="1200" cap="none" spc="0" normalizeH="0" baseline="0" noProof="0" dirty="0">
                <a:ln w="0"/>
                <a:solidFill>
                  <a:srgbClr val="222221"/>
                </a:solidFill>
                <a:effectLst>
                  <a:outerShdw blurRad="38100" dist="25400" dir="5400000" algn="ctr" rotWithShape="0">
                    <a:srgbClr val="6E747A">
                      <a:alpha val="43000"/>
                    </a:srgbClr>
                  </a:outerShdw>
                </a:effectLst>
                <a:uLnTx/>
                <a:uFillTx/>
                <a:latin typeface="Zawgyi-One" panose="020B0604030504040204" pitchFamily="34" charset="0"/>
                <a:ea typeface="ＭＳ Ｐゴシック" panose="020B0600070205080204" pitchFamily="34" charset="-128"/>
                <a:cs typeface="Zawgyi-One" panose="020B0604030504040204" pitchFamily="34" charset="0"/>
              </a:rPr>
              <a:t>့္ </a:t>
            </a:r>
            <a:r>
              <a:rPr kumimoji="0" lang="en-US" altLang="en-US" sz="1600" i="0" u="none" strike="noStrike" kern="1200" cap="none" spc="0" normalizeH="0" baseline="0" noProof="0" dirty="0" err="1">
                <a:ln w="0"/>
                <a:solidFill>
                  <a:srgbClr val="222221"/>
                </a:solidFill>
                <a:effectLst>
                  <a:outerShdw blurRad="38100" dist="25400" dir="5400000" algn="ctr" rotWithShape="0">
                    <a:srgbClr val="6E747A">
                      <a:alpha val="43000"/>
                    </a:srgbClr>
                  </a:outerShdw>
                </a:effectLst>
                <a:uLnTx/>
                <a:uFillTx/>
                <a:latin typeface="Zawgyi-One" panose="020B0604030504040204" pitchFamily="34" charset="0"/>
                <a:ea typeface="ＭＳ Ｐゴシック" panose="020B0600070205080204" pitchFamily="34" charset="-128"/>
                <a:cs typeface="Zawgyi-One" panose="020B0604030504040204" pitchFamily="34" charset="0"/>
              </a:rPr>
              <a:t>ဧရိယာအတြင္း</a:t>
            </a:r>
            <a:r>
              <a:rPr kumimoji="0" lang="en-US" altLang="en-US" sz="1600" i="0" u="none" strike="noStrike" kern="1200" cap="none" spc="0" normalizeH="0" baseline="0" noProof="0" dirty="0">
                <a:ln w="0"/>
                <a:solidFill>
                  <a:srgbClr val="222221"/>
                </a:solidFill>
                <a:effectLst>
                  <a:outerShdw blurRad="38100" dist="25400" dir="5400000" algn="ctr" rotWithShape="0">
                    <a:srgbClr val="6E747A">
                      <a:alpha val="43000"/>
                    </a:srgbClr>
                  </a:outerShdw>
                </a:effectLst>
                <a:uLnTx/>
                <a:uFillTx/>
                <a:latin typeface="Zawgyi-One" panose="020B0604030504040204" pitchFamily="34" charset="0"/>
                <a:ea typeface="ＭＳ Ｐゴシック" panose="020B0600070205080204" pitchFamily="34" charset="-128"/>
                <a:cs typeface="Zawgyi-One" panose="020B0604030504040204" pitchFamily="34" charset="0"/>
              </a:rPr>
              <a:t> </a:t>
            </a:r>
            <a:r>
              <a:rPr kumimoji="0" lang="en-US" altLang="en-US" sz="1600" i="0" u="none" strike="noStrike" kern="1200" cap="none" spc="0" normalizeH="0" baseline="0" noProof="0" dirty="0" err="1">
                <a:ln w="0"/>
                <a:solidFill>
                  <a:srgbClr val="222221"/>
                </a:solidFill>
                <a:effectLst>
                  <a:outerShdw blurRad="38100" dist="25400" dir="5400000" algn="ctr" rotWithShape="0">
                    <a:srgbClr val="6E747A">
                      <a:alpha val="43000"/>
                    </a:srgbClr>
                  </a:outerShdw>
                </a:effectLst>
                <a:uLnTx/>
                <a:uFillTx/>
                <a:latin typeface="Zawgyi-One" panose="020B0604030504040204" pitchFamily="34" charset="0"/>
                <a:ea typeface="ＭＳ Ｐゴシック" panose="020B0600070205080204" pitchFamily="34" charset="-128"/>
                <a:cs typeface="Zawgyi-One" panose="020B0604030504040204" pitchFamily="34" charset="0"/>
              </a:rPr>
              <a:t>ေဖာ</a:t>
            </a:r>
            <a:r>
              <a:rPr kumimoji="0" lang="en-US" altLang="en-US" sz="1600" i="0" u="none" strike="noStrike" kern="1200" cap="none" spc="0" normalizeH="0" baseline="0" noProof="0" dirty="0">
                <a:ln w="0"/>
                <a:solidFill>
                  <a:srgbClr val="222221"/>
                </a:solidFill>
                <a:effectLst>
                  <a:outerShdw blurRad="38100" dist="25400" dir="5400000" algn="ctr" rotWithShape="0">
                    <a:srgbClr val="6E747A">
                      <a:alpha val="43000"/>
                    </a:srgbClr>
                  </a:outerShdw>
                </a:effectLst>
                <a:uLnTx/>
                <a:uFillTx/>
                <a:latin typeface="Zawgyi-One" panose="020B0604030504040204" pitchFamily="34" charset="0"/>
                <a:ea typeface="ＭＳ Ｐゴシック" panose="020B0600070205080204" pitchFamily="34" charset="-128"/>
                <a:cs typeface="Zawgyi-One" panose="020B0604030504040204" pitchFamily="34" charset="0"/>
              </a:rPr>
              <a:t>္ျ</a:t>
            </a:r>
            <a:r>
              <a:rPr kumimoji="0" lang="en-US" altLang="en-US" sz="1600" i="0" u="none" strike="noStrike" kern="1200" cap="none" spc="0" normalizeH="0" baseline="0" noProof="0" dirty="0" err="1">
                <a:ln w="0"/>
                <a:solidFill>
                  <a:srgbClr val="222221"/>
                </a:solidFill>
                <a:effectLst>
                  <a:outerShdw blurRad="38100" dist="25400" dir="5400000" algn="ctr" rotWithShape="0">
                    <a:srgbClr val="6E747A">
                      <a:alpha val="43000"/>
                    </a:srgbClr>
                  </a:outerShdw>
                </a:effectLst>
                <a:uLnTx/>
                <a:uFillTx/>
                <a:latin typeface="Zawgyi-One" panose="020B0604030504040204" pitchFamily="34" charset="0"/>
                <a:ea typeface="ＭＳ Ｐゴシック" panose="020B0600070205080204" pitchFamily="34" charset="-128"/>
                <a:cs typeface="Zawgyi-One" panose="020B0604030504040204" pitchFamily="34" charset="0"/>
              </a:rPr>
              <a:t>ပပါပုဂ</a:t>
            </a:r>
            <a:r>
              <a:rPr lang="en-US" altLang="en-US" sz="1600" dirty="0">
                <a:ln w="0"/>
                <a:solidFill>
                  <a:srgbClr val="222221"/>
                </a:solidFill>
                <a:effectLst>
                  <a:outerShdw blurRad="38100" dist="25400" dir="5400000" algn="ctr" rotWithShape="0">
                    <a:srgbClr val="6E747A">
                      <a:alpha val="43000"/>
                    </a:srgbClr>
                  </a:outerShdw>
                </a:effectLst>
                <a:latin typeface="Zawgyi-One" panose="020B0604030504040204" pitchFamily="34" charset="0"/>
                <a:ea typeface="ＭＳ Ｐゴシック" panose="020B0600070205080204" pitchFamily="34" charset="-128"/>
                <a:cs typeface="Zawgyi-One" panose="020B0604030504040204" pitchFamily="34" charset="0"/>
              </a:rPr>
              <a:t>ၢ</a:t>
            </a:r>
            <a:r>
              <a:rPr lang="en-US" altLang="en-US" sz="1600" dirty="0" err="1">
                <a:ln w="0"/>
                <a:solidFill>
                  <a:srgbClr val="222221"/>
                </a:solidFill>
                <a:effectLst>
                  <a:outerShdw blurRad="38100" dist="25400" dir="5400000" algn="ctr" rotWithShape="0">
                    <a:srgbClr val="6E747A">
                      <a:alpha val="43000"/>
                    </a:srgbClr>
                  </a:outerShdw>
                </a:effectLst>
                <a:latin typeface="Zawgyi-One" panose="020B0604030504040204" pitchFamily="34" charset="0"/>
                <a:ea typeface="ＭＳ Ｐゴシック" panose="020B0600070205080204" pitchFamily="34" charset="-128"/>
                <a:cs typeface="Zawgyi-One" panose="020B0604030504040204" pitchFamily="34" charset="0"/>
              </a:rPr>
              <a:t>ိဳလ္မ်ားထံသုိ</a:t>
            </a:r>
            <a:r>
              <a:rPr lang="en-US" altLang="en-US" sz="1600" dirty="0">
                <a:ln w="0"/>
                <a:solidFill>
                  <a:srgbClr val="222221"/>
                </a:solidFill>
                <a:effectLst>
                  <a:outerShdw blurRad="38100" dist="25400" dir="5400000" algn="ctr" rotWithShape="0">
                    <a:srgbClr val="6E747A">
                      <a:alpha val="43000"/>
                    </a:srgbClr>
                  </a:outerShdw>
                </a:effectLst>
                <a:latin typeface="Zawgyi-One" panose="020B0604030504040204" pitchFamily="34" charset="0"/>
                <a:ea typeface="ＭＳ Ｐゴシック" panose="020B0600070205080204" pitchFamily="34" charset="-128"/>
                <a:cs typeface="Zawgyi-One" panose="020B0604030504040204" pitchFamily="34" charset="0"/>
              </a:rPr>
              <a:t>႔ </a:t>
            </a:r>
            <a:r>
              <a:rPr lang="en-US" altLang="en-US" sz="1600" dirty="0" err="1">
                <a:ln w="0"/>
                <a:solidFill>
                  <a:srgbClr val="222221"/>
                </a:solidFill>
                <a:effectLst>
                  <a:outerShdw blurRad="38100" dist="25400" dir="5400000" algn="ctr" rotWithShape="0">
                    <a:srgbClr val="6E747A">
                      <a:alpha val="43000"/>
                    </a:srgbClr>
                  </a:outerShdw>
                </a:effectLst>
                <a:latin typeface="Zawgyi-One" panose="020B0604030504040204" pitchFamily="34" charset="0"/>
                <a:ea typeface="ＭＳ Ｐゴシック" panose="020B0600070205080204" pitchFamily="34" charset="-128"/>
                <a:cs typeface="Zawgyi-One" panose="020B0604030504040204" pitchFamily="34" charset="0"/>
              </a:rPr>
              <a:t>ဆက္သြယ</a:t>
            </a:r>
            <a:r>
              <a:rPr lang="en-US" altLang="en-US" sz="1600" dirty="0">
                <a:ln w="0"/>
                <a:solidFill>
                  <a:srgbClr val="222221"/>
                </a:solidFill>
                <a:effectLst>
                  <a:outerShdw blurRad="38100" dist="25400" dir="5400000" algn="ctr" rotWithShape="0">
                    <a:srgbClr val="6E747A">
                      <a:alpha val="43000"/>
                    </a:srgbClr>
                  </a:outerShdw>
                </a:effectLst>
                <a:latin typeface="Zawgyi-One" panose="020B0604030504040204" pitchFamily="34" charset="0"/>
                <a:ea typeface="ＭＳ Ｐゴシック" panose="020B0600070205080204" pitchFamily="34" charset="-128"/>
                <a:cs typeface="Zawgyi-One" panose="020B0604030504040204" pitchFamily="34" charset="0"/>
              </a:rPr>
              <a:t>္ႏ</a:t>
            </a:r>
            <a:r>
              <a:rPr lang="en-US" altLang="en-US" sz="1600" dirty="0" err="1">
                <a:ln w="0"/>
                <a:solidFill>
                  <a:srgbClr val="222221"/>
                </a:solidFill>
                <a:effectLst>
                  <a:outerShdw blurRad="38100" dist="25400" dir="5400000" algn="ctr" rotWithShape="0">
                    <a:srgbClr val="6E747A">
                      <a:alpha val="43000"/>
                    </a:srgbClr>
                  </a:outerShdw>
                </a:effectLst>
                <a:latin typeface="Zawgyi-One" panose="020B0604030504040204" pitchFamily="34" charset="0"/>
                <a:ea typeface="ＭＳ Ｐゴシック" panose="020B0600070205080204" pitchFamily="34" charset="-128"/>
                <a:cs typeface="Zawgyi-One" panose="020B0604030504040204" pitchFamily="34" charset="0"/>
              </a:rPr>
              <a:t>ိုင္သည</a:t>
            </a:r>
            <a:r>
              <a:rPr lang="en-US" altLang="en-US" sz="1600" dirty="0">
                <a:ln w="0"/>
                <a:solidFill>
                  <a:srgbClr val="222221"/>
                </a:solidFill>
                <a:effectLst>
                  <a:outerShdw blurRad="38100" dist="25400" dir="5400000" algn="ctr" rotWithShape="0">
                    <a:srgbClr val="6E747A">
                      <a:alpha val="43000"/>
                    </a:srgbClr>
                  </a:outerShdw>
                </a:effectLst>
                <a:latin typeface="Zawgyi-One" panose="020B0604030504040204" pitchFamily="34" charset="0"/>
                <a:ea typeface="ＭＳ Ｐゴシック" panose="020B0600070205080204" pitchFamily="34" charset="-128"/>
                <a:cs typeface="Zawgyi-One" panose="020B0604030504040204" pitchFamily="34" charset="0"/>
              </a:rPr>
              <a:t>္။ </a:t>
            </a:r>
            <a:endParaRPr kumimoji="0" lang="en-US" altLang="en-US" sz="1600" b="0" i="0" u="none" strike="noStrike" kern="1200" cap="none" spc="0" normalizeH="0" baseline="0" noProof="0" dirty="0">
              <a:ln>
                <a:noFill/>
              </a:ln>
              <a:solidFill>
                <a:srgbClr val="222221"/>
              </a:solidFill>
              <a:effectLst/>
              <a:uLnTx/>
              <a:uFillTx/>
              <a:latin typeface="Gill Sans MT"/>
              <a:ea typeface="ＭＳ Ｐゴシック" panose="020B0600070205080204" pitchFamily="34" charset="-128"/>
              <a:cs typeface="+mn-cs"/>
            </a:endParaRPr>
          </a:p>
        </p:txBody>
      </p:sp>
      <p:grpSp>
        <p:nvGrpSpPr>
          <p:cNvPr id="12" name="Group 11">
            <a:extLst>
              <a:ext uri="{FF2B5EF4-FFF2-40B4-BE49-F238E27FC236}">
                <a16:creationId xmlns:a16="http://schemas.microsoft.com/office/drawing/2014/main" id="{ECC0D645-12F5-4F1D-9216-27047EA41D60}"/>
              </a:ext>
            </a:extLst>
          </p:cNvPr>
          <p:cNvGrpSpPr/>
          <p:nvPr/>
        </p:nvGrpSpPr>
        <p:grpSpPr>
          <a:xfrm>
            <a:off x="389673" y="342597"/>
            <a:ext cx="1298049" cy="1341344"/>
            <a:chOff x="1064151" y="1680577"/>
            <a:chExt cx="2328786" cy="2492901"/>
          </a:xfrm>
        </p:grpSpPr>
        <p:sp>
          <p:nvSpPr>
            <p:cNvPr id="13" name="object 24">
              <a:extLst>
                <a:ext uri="{FF2B5EF4-FFF2-40B4-BE49-F238E27FC236}">
                  <a16:creationId xmlns:a16="http://schemas.microsoft.com/office/drawing/2014/main" id="{6CB49388-348B-48B9-AC6F-3CC491D1A0B8}"/>
                </a:ext>
              </a:extLst>
            </p:cNvPr>
            <p:cNvSpPr>
              <a:spLocks/>
            </p:cNvSpPr>
            <p:nvPr/>
          </p:nvSpPr>
          <p:spPr bwMode="auto">
            <a:xfrm>
              <a:off x="1064151" y="1680577"/>
              <a:ext cx="2328786" cy="2492901"/>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700"/>
            </a:p>
          </p:txBody>
        </p:sp>
        <p:sp>
          <p:nvSpPr>
            <p:cNvPr id="14" name="object 25">
              <a:extLst>
                <a:ext uri="{FF2B5EF4-FFF2-40B4-BE49-F238E27FC236}">
                  <a16:creationId xmlns:a16="http://schemas.microsoft.com/office/drawing/2014/main" id="{03580A7B-F30D-4559-B7D6-B452DD07FA43}"/>
                </a:ext>
              </a:extLst>
            </p:cNvPr>
            <p:cNvSpPr txBox="1">
              <a:spLocks noChangeArrowheads="1"/>
            </p:cNvSpPr>
            <p:nvPr/>
          </p:nvSpPr>
          <p:spPr bwMode="auto">
            <a:xfrm>
              <a:off x="1634429" y="2970577"/>
              <a:ext cx="1188231" cy="64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800" b="1">
                  <a:solidFill>
                    <a:srgbClr val="FFFFFF"/>
                  </a:solidFill>
                  <a:latin typeface="Gill Sans" pitchFamily="34" charset="0"/>
                  <a:cs typeface="Gill Sans" pitchFamily="34" charset="0"/>
                </a:rPr>
                <a:t>Link</a:t>
              </a:r>
              <a:endParaRPr lang="en-US" altLang="en-US" sz="2800">
                <a:latin typeface="Gill Sans" pitchFamily="34" charset="0"/>
                <a:cs typeface="Gill Sans" pitchFamily="34" charset="0"/>
              </a:endParaRPr>
            </a:p>
          </p:txBody>
        </p:sp>
        <p:sp>
          <p:nvSpPr>
            <p:cNvPr id="15" name="object 37">
              <a:extLst>
                <a:ext uri="{FF2B5EF4-FFF2-40B4-BE49-F238E27FC236}">
                  <a16:creationId xmlns:a16="http://schemas.microsoft.com/office/drawing/2014/main" id="{C72C156C-327A-46E1-9D2C-9CA91C684E99}"/>
                </a:ext>
              </a:extLst>
            </p:cNvPr>
            <p:cNvSpPr>
              <a:spLocks/>
            </p:cNvSpPr>
            <p:nvPr/>
          </p:nvSpPr>
          <p:spPr bwMode="auto">
            <a:xfrm>
              <a:off x="1792126" y="1933626"/>
              <a:ext cx="871920" cy="968188"/>
            </a:xfrm>
            <a:custGeom>
              <a:avLst/>
              <a:gdLst>
                <a:gd name="T0" fmla="*/ 884468 w 1508594"/>
                <a:gd name="T1" fmla="*/ 1650999 h 1676400"/>
                <a:gd name="T2" fmla="*/ 570326 w 1508594"/>
                <a:gd name="T3" fmla="*/ 1346199 h 1676400"/>
                <a:gd name="T4" fmla="*/ 544842 w 1508594"/>
                <a:gd name="T5" fmla="*/ 1473199 h 1676400"/>
                <a:gd name="T6" fmla="*/ 639665 w 1508594"/>
                <a:gd name="T7" fmla="*/ 1638299 h 1676400"/>
                <a:gd name="T8" fmla="*/ 721808 w 1508594"/>
                <a:gd name="T9" fmla="*/ 1574799 h 1676400"/>
                <a:gd name="T10" fmla="*/ 647025 w 1508594"/>
                <a:gd name="T11" fmla="*/ 1435099 h 1676400"/>
                <a:gd name="T12" fmla="*/ 694559 w 1508594"/>
                <a:gd name="T13" fmla="*/ 1346199 h 1676400"/>
                <a:gd name="T14" fmla="*/ 882383 w 1508594"/>
                <a:gd name="T15" fmla="*/ 1244599 h 1676400"/>
                <a:gd name="T16" fmla="*/ 863513 w 1508594"/>
                <a:gd name="T17" fmla="*/ 1346199 h 1676400"/>
                <a:gd name="T18" fmla="*/ 909482 w 1508594"/>
                <a:gd name="T19" fmla="*/ 1435099 h 1676400"/>
                <a:gd name="T20" fmla="*/ 808325 w 1508594"/>
                <a:gd name="T21" fmla="*/ 1574799 h 1676400"/>
                <a:gd name="T22" fmla="*/ 1003848 w 1508594"/>
                <a:gd name="T23" fmla="*/ 1511299 h 1676400"/>
                <a:gd name="T24" fmla="*/ 987438 w 1508594"/>
                <a:gd name="T25" fmla="*/ 1346199 h 1676400"/>
                <a:gd name="T26" fmla="*/ 1123162 w 1508594"/>
                <a:gd name="T27" fmla="*/ 647699 h 1676400"/>
                <a:gd name="T28" fmla="*/ 1042030 w 1508594"/>
                <a:gd name="T29" fmla="*/ 825499 h 1676400"/>
                <a:gd name="T30" fmla="*/ 1156182 w 1508594"/>
                <a:gd name="T31" fmla="*/ 1028699 h 1676400"/>
                <a:gd name="T32" fmla="*/ 1207442 w 1508594"/>
                <a:gd name="T33" fmla="*/ 939799 h 1676400"/>
                <a:gd name="T34" fmla="*/ 1148342 w 1508594"/>
                <a:gd name="T35" fmla="*/ 800099 h 1676400"/>
                <a:gd name="T36" fmla="*/ 1203179 w 1508594"/>
                <a:gd name="T37" fmla="*/ 711199 h 1676400"/>
                <a:gd name="T38" fmla="*/ 1427046 w 1508594"/>
                <a:gd name="T39" fmla="*/ 647699 h 1676400"/>
                <a:gd name="T40" fmla="*/ 1249858 w 1508594"/>
                <a:gd name="T41" fmla="*/ 596899 h 1676400"/>
                <a:gd name="T42" fmla="*/ 271090 w 1508594"/>
                <a:gd name="T43" fmla="*/ 1054099 h 1676400"/>
                <a:gd name="T44" fmla="*/ 1265498 w 1508594"/>
                <a:gd name="T45" fmla="*/ 1066799 h 1676400"/>
                <a:gd name="T46" fmla="*/ 1379063 w 1508594"/>
                <a:gd name="T47" fmla="*/ 1028699 h 1676400"/>
                <a:gd name="T48" fmla="*/ 1379063 w 1508594"/>
                <a:gd name="T49" fmla="*/ 1028699 h 1676400"/>
                <a:gd name="T50" fmla="*/ 555980 w 1508594"/>
                <a:gd name="T51" fmla="*/ 165099 h 1676400"/>
                <a:gd name="T52" fmla="*/ 547352 w 1508594"/>
                <a:gd name="T53" fmla="*/ 279399 h 1676400"/>
                <a:gd name="T54" fmla="*/ 97573 w 1508594"/>
                <a:gd name="T55" fmla="*/ 634999 h 1676400"/>
                <a:gd name="T56" fmla="*/ 3068 w 1508594"/>
                <a:gd name="T57" fmla="*/ 787399 h 1676400"/>
                <a:gd name="T58" fmla="*/ 18363 w 1508594"/>
                <a:gd name="T59" fmla="*/ 914399 h 1676400"/>
                <a:gd name="T60" fmla="*/ 410361 w 1508594"/>
                <a:gd name="T61" fmla="*/ 977899 h 1676400"/>
                <a:gd name="T62" fmla="*/ 124909 w 1508594"/>
                <a:gd name="T63" fmla="*/ 901699 h 1676400"/>
                <a:gd name="T64" fmla="*/ 116768 w 1508594"/>
                <a:gd name="T65" fmla="*/ 761999 h 1676400"/>
                <a:gd name="T66" fmla="*/ 184696 w 1508594"/>
                <a:gd name="T67" fmla="*/ 698499 h 1676400"/>
                <a:gd name="T68" fmla="*/ 376887 w 1508594"/>
                <a:gd name="T69" fmla="*/ 647699 h 1676400"/>
                <a:gd name="T70" fmla="*/ 709485 w 1508594"/>
                <a:gd name="T71" fmla="*/ 355599 h 1676400"/>
                <a:gd name="T72" fmla="*/ 650387 w 1508594"/>
                <a:gd name="T73" fmla="*/ 203199 h 1676400"/>
                <a:gd name="T74" fmla="*/ 754696 w 1508594"/>
                <a:gd name="T75" fmla="*/ 101599 h 1676400"/>
                <a:gd name="T76" fmla="*/ 429230 w 1508594"/>
                <a:gd name="T77" fmla="*/ 698499 h 1676400"/>
                <a:gd name="T78" fmla="*/ 353081 w 1508594"/>
                <a:gd name="T79" fmla="*/ 774699 h 1676400"/>
                <a:gd name="T80" fmla="*/ 302214 w 1508594"/>
                <a:gd name="T81" fmla="*/ 939799 h 1676400"/>
                <a:gd name="T82" fmla="*/ 448224 w 1508594"/>
                <a:gd name="T83" fmla="*/ 914399 h 1676400"/>
                <a:gd name="T84" fmla="*/ 464967 w 1508594"/>
                <a:gd name="T85" fmla="*/ 800099 h 1676400"/>
                <a:gd name="T86" fmla="*/ 1325487 w 1508594"/>
                <a:gd name="T87" fmla="*/ 711199 h 1676400"/>
                <a:gd name="T88" fmla="*/ 1408767 w 1508594"/>
                <a:gd name="T89" fmla="*/ 825499 h 1676400"/>
                <a:gd name="T90" fmla="*/ 1306306 w 1508594"/>
                <a:gd name="T91" fmla="*/ 952499 h 1676400"/>
                <a:gd name="T92" fmla="*/ 1501770 w 1508594"/>
                <a:gd name="T93" fmla="*/ 888999 h 1676400"/>
                <a:gd name="T94" fmla="*/ 1496682 w 1508594"/>
                <a:gd name="T95" fmla="*/ 749299 h 1676400"/>
                <a:gd name="T96" fmla="*/ 720781 w 1508594"/>
                <a:gd name="T97" fmla="*/ 469899 h 1676400"/>
                <a:gd name="T98" fmla="*/ 878473 w 1508594"/>
                <a:gd name="T99" fmla="*/ 444499 h 1676400"/>
                <a:gd name="T100" fmla="*/ 592772 w 1508594"/>
                <a:gd name="T101" fmla="*/ 380999 h 1676400"/>
                <a:gd name="T102" fmla="*/ 921747 w 1508594"/>
                <a:gd name="T103" fmla="*/ 419099 h 1676400"/>
                <a:gd name="T104" fmla="*/ 784191 w 1508594"/>
                <a:gd name="T105" fmla="*/ 101599 h 1676400"/>
                <a:gd name="T106" fmla="*/ 882565 w 1508594"/>
                <a:gd name="T107" fmla="*/ 152399 h 1676400"/>
                <a:gd name="T108" fmla="*/ 857499 w 1508594"/>
                <a:gd name="T109" fmla="*/ 342899 h 1676400"/>
                <a:gd name="T110" fmla="*/ 1008501 w 1508594"/>
                <a:gd name="T111" fmla="*/ 266699 h 1676400"/>
                <a:gd name="T112" fmla="*/ 992253 w 1508594"/>
                <a:gd name="T113" fmla="*/ 152399 h 1676400"/>
                <a:gd name="T114" fmla="*/ 670234 w 1508594"/>
                <a:gd name="T115" fmla="*/ 38099 h 1676400"/>
                <a:gd name="T116" fmla="*/ 777354 w 1508594"/>
                <a:gd name="T117" fmla="*/ 0 h 167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8594" h="1676400">
                  <a:moveTo>
                    <a:pt x="884468" y="1650999"/>
                  </a:moveTo>
                  <a:lnTo>
                    <a:pt x="670234" y="1650999"/>
                  </a:lnTo>
                  <a:lnTo>
                    <a:pt x="686634" y="1663699"/>
                  </a:lnTo>
                  <a:lnTo>
                    <a:pt x="703695" y="1676399"/>
                  </a:lnTo>
                  <a:lnTo>
                    <a:pt x="851008" y="1676399"/>
                  </a:lnTo>
                  <a:lnTo>
                    <a:pt x="868069" y="1663699"/>
                  </a:lnTo>
                  <a:lnTo>
                    <a:pt x="884468" y="1650999"/>
                  </a:lnTo>
                  <a:close/>
                </a:path>
                <a:path w="1508594" h="1676400">
                  <a:moveTo>
                    <a:pt x="871071" y="1231899"/>
                  </a:moveTo>
                  <a:lnTo>
                    <a:pt x="689469" y="1231899"/>
                  </a:lnTo>
                  <a:lnTo>
                    <a:pt x="672540" y="1244599"/>
                  </a:lnTo>
                  <a:lnTo>
                    <a:pt x="656404" y="1257299"/>
                  </a:lnTo>
                  <a:lnTo>
                    <a:pt x="641117" y="1257299"/>
                  </a:lnTo>
                  <a:lnTo>
                    <a:pt x="600904" y="1295399"/>
                  </a:lnTo>
                  <a:lnTo>
                    <a:pt x="570326" y="1346199"/>
                  </a:lnTo>
                  <a:lnTo>
                    <a:pt x="562534" y="1358899"/>
                  </a:lnTo>
                  <a:lnTo>
                    <a:pt x="556034" y="1371599"/>
                  </a:lnTo>
                  <a:lnTo>
                    <a:pt x="550882" y="1396999"/>
                  </a:lnTo>
                  <a:lnTo>
                    <a:pt x="547133" y="1409699"/>
                  </a:lnTo>
                  <a:lnTo>
                    <a:pt x="544843" y="1435099"/>
                  </a:lnTo>
                  <a:lnTo>
                    <a:pt x="544068" y="1447799"/>
                  </a:lnTo>
                  <a:lnTo>
                    <a:pt x="544842" y="1473199"/>
                  </a:lnTo>
                  <a:lnTo>
                    <a:pt x="547126" y="1485899"/>
                  </a:lnTo>
                  <a:lnTo>
                    <a:pt x="550859" y="1511299"/>
                  </a:lnTo>
                  <a:lnTo>
                    <a:pt x="555980" y="1523999"/>
                  </a:lnTo>
                  <a:lnTo>
                    <a:pt x="562429" y="1536699"/>
                  </a:lnTo>
                  <a:lnTo>
                    <a:pt x="570145" y="1562099"/>
                  </a:lnTo>
                  <a:lnTo>
                    <a:pt x="600291" y="1600199"/>
                  </a:lnTo>
                  <a:lnTo>
                    <a:pt x="639665" y="1638299"/>
                  </a:lnTo>
                  <a:lnTo>
                    <a:pt x="654558" y="1650999"/>
                  </a:lnTo>
                  <a:lnTo>
                    <a:pt x="900144" y="1650999"/>
                  </a:lnTo>
                  <a:lnTo>
                    <a:pt x="929086" y="1625599"/>
                  </a:lnTo>
                  <a:lnTo>
                    <a:pt x="965567" y="1587499"/>
                  </a:lnTo>
                  <a:lnTo>
                    <a:pt x="762698" y="1587499"/>
                  </a:lnTo>
                  <a:lnTo>
                    <a:pt x="748499" y="1574799"/>
                  </a:lnTo>
                  <a:lnTo>
                    <a:pt x="721808" y="1574799"/>
                  </a:lnTo>
                  <a:lnTo>
                    <a:pt x="709485" y="1562099"/>
                  </a:lnTo>
                  <a:lnTo>
                    <a:pt x="697955" y="1562099"/>
                  </a:lnTo>
                  <a:lnTo>
                    <a:pt x="668969" y="1523999"/>
                  </a:lnTo>
                  <a:lnTo>
                    <a:pt x="650156" y="1485899"/>
                  </a:lnTo>
                  <a:lnTo>
                    <a:pt x="644387" y="1460499"/>
                  </a:lnTo>
                  <a:lnTo>
                    <a:pt x="645000" y="1447799"/>
                  </a:lnTo>
                  <a:lnTo>
                    <a:pt x="647025" y="1435099"/>
                  </a:lnTo>
                  <a:lnTo>
                    <a:pt x="650388" y="1409699"/>
                  </a:lnTo>
                  <a:lnTo>
                    <a:pt x="655016" y="1396999"/>
                  </a:lnTo>
                  <a:lnTo>
                    <a:pt x="660835" y="1384299"/>
                  </a:lnTo>
                  <a:lnTo>
                    <a:pt x="667773" y="1371599"/>
                  </a:lnTo>
                  <a:lnTo>
                    <a:pt x="675755" y="1358899"/>
                  </a:lnTo>
                  <a:lnTo>
                    <a:pt x="684708" y="1358899"/>
                  </a:lnTo>
                  <a:lnTo>
                    <a:pt x="694559" y="1346199"/>
                  </a:lnTo>
                  <a:lnTo>
                    <a:pt x="705235" y="1333499"/>
                  </a:lnTo>
                  <a:lnTo>
                    <a:pt x="716662" y="1333499"/>
                  </a:lnTo>
                  <a:lnTo>
                    <a:pt x="728766" y="1320799"/>
                  </a:lnTo>
                  <a:lnTo>
                    <a:pt x="968105" y="1320799"/>
                  </a:lnTo>
                  <a:lnTo>
                    <a:pt x="960548" y="1308099"/>
                  </a:lnTo>
                  <a:lnTo>
                    <a:pt x="1005010" y="1244599"/>
                  </a:lnTo>
                  <a:lnTo>
                    <a:pt x="882383" y="1244599"/>
                  </a:lnTo>
                  <a:lnTo>
                    <a:pt x="871071" y="1231899"/>
                  </a:lnTo>
                  <a:close/>
                </a:path>
                <a:path w="1508594" h="1676400">
                  <a:moveTo>
                    <a:pt x="975121" y="1320799"/>
                  </a:moveTo>
                  <a:lnTo>
                    <a:pt x="813839" y="1320799"/>
                  </a:lnTo>
                  <a:lnTo>
                    <a:pt x="827547" y="1333499"/>
                  </a:lnTo>
                  <a:lnTo>
                    <a:pt x="840436" y="1333499"/>
                  </a:lnTo>
                  <a:lnTo>
                    <a:pt x="852446" y="1346199"/>
                  </a:lnTo>
                  <a:lnTo>
                    <a:pt x="863513" y="1346199"/>
                  </a:lnTo>
                  <a:lnTo>
                    <a:pt x="873578" y="1358899"/>
                  </a:lnTo>
                  <a:lnTo>
                    <a:pt x="882579" y="1371599"/>
                  </a:lnTo>
                  <a:lnTo>
                    <a:pt x="890455" y="1384299"/>
                  </a:lnTo>
                  <a:lnTo>
                    <a:pt x="897144" y="1396999"/>
                  </a:lnTo>
                  <a:lnTo>
                    <a:pt x="902586" y="1396999"/>
                  </a:lnTo>
                  <a:lnTo>
                    <a:pt x="906719" y="1422399"/>
                  </a:lnTo>
                  <a:lnTo>
                    <a:pt x="909482" y="1435099"/>
                  </a:lnTo>
                  <a:lnTo>
                    <a:pt x="910814" y="1447799"/>
                  </a:lnTo>
                  <a:lnTo>
                    <a:pt x="904223" y="1485899"/>
                  </a:lnTo>
                  <a:lnTo>
                    <a:pt x="885735" y="1523999"/>
                  </a:lnTo>
                  <a:lnTo>
                    <a:pt x="857485" y="1562099"/>
                  </a:lnTo>
                  <a:lnTo>
                    <a:pt x="846268" y="1562099"/>
                  </a:lnTo>
                  <a:lnTo>
                    <a:pt x="834283" y="1574799"/>
                  </a:lnTo>
                  <a:lnTo>
                    <a:pt x="808325" y="1574799"/>
                  </a:lnTo>
                  <a:lnTo>
                    <a:pt x="794510" y="1587499"/>
                  </a:lnTo>
                  <a:lnTo>
                    <a:pt x="965567" y="1587499"/>
                  </a:lnTo>
                  <a:lnTo>
                    <a:pt x="975637" y="1574799"/>
                  </a:lnTo>
                  <a:lnTo>
                    <a:pt x="984560" y="1562099"/>
                  </a:lnTo>
                  <a:lnTo>
                    <a:pt x="992277" y="1536699"/>
                  </a:lnTo>
                  <a:lnTo>
                    <a:pt x="998726" y="1523999"/>
                  </a:lnTo>
                  <a:lnTo>
                    <a:pt x="1003848" y="1511299"/>
                  </a:lnTo>
                  <a:lnTo>
                    <a:pt x="1007581" y="1485899"/>
                  </a:lnTo>
                  <a:lnTo>
                    <a:pt x="1009865" y="1473199"/>
                  </a:lnTo>
                  <a:lnTo>
                    <a:pt x="1010640" y="1447799"/>
                  </a:lnTo>
                  <a:lnTo>
                    <a:pt x="1010252" y="1435099"/>
                  </a:lnTo>
                  <a:lnTo>
                    <a:pt x="1009102" y="1422399"/>
                  </a:lnTo>
                  <a:lnTo>
                    <a:pt x="1001302" y="1384299"/>
                  </a:lnTo>
                  <a:lnTo>
                    <a:pt x="987438" y="1346199"/>
                  </a:lnTo>
                  <a:lnTo>
                    <a:pt x="981572" y="1333499"/>
                  </a:lnTo>
                  <a:lnTo>
                    <a:pt x="975121" y="1320799"/>
                  </a:lnTo>
                  <a:close/>
                </a:path>
                <a:path w="1508594" h="1676400">
                  <a:moveTo>
                    <a:pt x="1085791" y="393699"/>
                  </a:moveTo>
                  <a:lnTo>
                    <a:pt x="949529" y="393699"/>
                  </a:lnTo>
                  <a:lnTo>
                    <a:pt x="1143749" y="634999"/>
                  </a:lnTo>
                  <a:lnTo>
                    <a:pt x="1133230" y="647699"/>
                  </a:lnTo>
                  <a:lnTo>
                    <a:pt x="1123162" y="647699"/>
                  </a:lnTo>
                  <a:lnTo>
                    <a:pt x="1113569" y="660399"/>
                  </a:lnTo>
                  <a:lnTo>
                    <a:pt x="1104474" y="673099"/>
                  </a:lnTo>
                  <a:lnTo>
                    <a:pt x="1095899" y="673099"/>
                  </a:lnTo>
                  <a:lnTo>
                    <a:pt x="1073531" y="711199"/>
                  </a:lnTo>
                  <a:lnTo>
                    <a:pt x="1056681" y="749299"/>
                  </a:lnTo>
                  <a:lnTo>
                    <a:pt x="1045973" y="787399"/>
                  </a:lnTo>
                  <a:lnTo>
                    <a:pt x="1042030" y="825499"/>
                  </a:lnTo>
                  <a:lnTo>
                    <a:pt x="1042399" y="838199"/>
                  </a:lnTo>
                  <a:lnTo>
                    <a:pt x="1047799" y="876299"/>
                  </a:lnTo>
                  <a:lnTo>
                    <a:pt x="1059214" y="914399"/>
                  </a:lnTo>
                  <a:lnTo>
                    <a:pt x="1076095" y="952499"/>
                  </a:lnTo>
                  <a:lnTo>
                    <a:pt x="882383" y="1244599"/>
                  </a:lnTo>
                  <a:lnTo>
                    <a:pt x="1005010" y="1244599"/>
                  </a:lnTo>
                  <a:lnTo>
                    <a:pt x="1156182" y="1028699"/>
                  </a:lnTo>
                  <a:lnTo>
                    <a:pt x="1395410" y="1028699"/>
                  </a:lnTo>
                  <a:lnTo>
                    <a:pt x="1425414" y="1003299"/>
                  </a:lnTo>
                  <a:lnTo>
                    <a:pt x="1462898" y="965199"/>
                  </a:lnTo>
                  <a:lnTo>
                    <a:pt x="1260653" y="965199"/>
                  </a:lnTo>
                  <a:lnTo>
                    <a:pt x="1246455" y="952499"/>
                  </a:lnTo>
                  <a:lnTo>
                    <a:pt x="1219765" y="952499"/>
                  </a:lnTo>
                  <a:lnTo>
                    <a:pt x="1207442" y="939799"/>
                  </a:lnTo>
                  <a:lnTo>
                    <a:pt x="1195913" y="939799"/>
                  </a:lnTo>
                  <a:lnTo>
                    <a:pt x="1166927" y="901699"/>
                  </a:lnTo>
                  <a:lnTo>
                    <a:pt x="1148112" y="863599"/>
                  </a:lnTo>
                  <a:lnTo>
                    <a:pt x="1142343" y="838199"/>
                  </a:lnTo>
                  <a:lnTo>
                    <a:pt x="1142955" y="825499"/>
                  </a:lnTo>
                  <a:lnTo>
                    <a:pt x="1144979" y="812799"/>
                  </a:lnTo>
                  <a:lnTo>
                    <a:pt x="1148342" y="800099"/>
                  </a:lnTo>
                  <a:lnTo>
                    <a:pt x="1152968" y="774699"/>
                  </a:lnTo>
                  <a:lnTo>
                    <a:pt x="1158787" y="761999"/>
                  </a:lnTo>
                  <a:lnTo>
                    <a:pt x="1165723" y="749299"/>
                  </a:lnTo>
                  <a:lnTo>
                    <a:pt x="1173704" y="749299"/>
                  </a:lnTo>
                  <a:lnTo>
                    <a:pt x="1182655" y="736599"/>
                  </a:lnTo>
                  <a:lnTo>
                    <a:pt x="1192505" y="723899"/>
                  </a:lnTo>
                  <a:lnTo>
                    <a:pt x="1203179" y="711199"/>
                  </a:lnTo>
                  <a:lnTo>
                    <a:pt x="1214604" y="711199"/>
                  </a:lnTo>
                  <a:lnTo>
                    <a:pt x="1226707" y="698499"/>
                  </a:lnTo>
                  <a:lnTo>
                    <a:pt x="1468560" y="698499"/>
                  </a:lnTo>
                  <a:lnTo>
                    <a:pt x="1463525" y="685799"/>
                  </a:lnTo>
                  <a:lnTo>
                    <a:pt x="1452371" y="673099"/>
                  </a:lnTo>
                  <a:lnTo>
                    <a:pt x="1440191" y="660399"/>
                  </a:lnTo>
                  <a:lnTo>
                    <a:pt x="1427046" y="647699"/>
                  </a:lnTo>
                  <a:lnTo>
                    <a:pt x="1412997" y="634999"/>
                  </a:lnTo>
                  <a:lnTo>
                    <a:pt x="1398104" y="634999"/>
                  </a:lnTo>
                  <a:lnTo>
                    <a:pt x="1382427" y="622299"/>
                  </a:lnTo>
                  <a:lnTo>
                    <a:pt x="1366028" y="609599"/>
                  </a:lnTo>
                  <a:lnTo>
                    <a:pt x="1348967" y="609599"/>
                  </a:lnTo>
                  <a:lnTo>
                    <a:pt x="1331304" y="596899"/>
                  </a:lnTo>
                  <a:lnTo>
                    <a:pt x="1249858" y="596899"/>
                  </a:lnTo>
                  <a:lnTo>
                    <a:pt x="1085791" y="393699"/>
                  </a:lnTo>
                  <a:close/>
                </a:path>
                <a:path w="1508594" h="1676400">
                  <a:moveTo>
                    <a:pt x="835320" y="1219199"/>
                  </a:moveTo>
                  <a:lnTo>
                    <a:pt x="725486" y="1219199"/>
                  </a:lnTo>
                  <a:lnTo>
                    <a:pt x="707136" y="1231899"/>
                  </a:lnTo>
                  <a:lnTo>
                    <a:pt x="847522" y="1231899"/>
                  </a:lnTo>
                  <a:lnTo>
                    <a:pt x="835320" y="1219199"/>
                  </a:lnTo>
                  <a:close/>
                </a:path>
                <a:path w="1508594" h="1676400">
                  <a:moveTo>
                    <a:pt x="271090" y="1054099"/>
                  </a:moveTo>
                  <a:lnTo>
                    <a:pt x="195507" y="1054099"/>
                  </a:lnTo>
                  <a:lnTo>
                    <a:pt x="214193" y="1066799"/>
                  </a:lnTo>
                  <a:lnTo>
                    <a:pt x="252404" y="1066799"/>
                  </a:lnTo>
                  <a:lnTo>
                    <a:pt x="271090" y="1054099"/>
                  </a:lnTo>
                  <a:close/>
                </a:path>
                <a:path w="1508594" h="1676400">
                  <a:moveTo>
                    <a:pt x="1286003" y="1054099"/>
                  </a:moveTo>
                  <a:lnTo>
                    <a:pt x="1252319" y="1054099"/>
                  </a:lnTo>
                  <a:lnTo>
                    <a:pt x="1265498" y="1066799"/>
                  </a:lnTo>
                  <a:lnTo>
                    <a:pt x="1286003" y="1054099"/>
                  </a:lnTo>
                  <a:close/>
                </a:path>
                <a:path w="1508594" h="1676400">
                  <a:moveTo>
                    <a:pt x="324019" y="1041399"/>
                  </a:moveTo>
                  <a:lnTo>
                    <a:pt x="142576" y="1041399"/>
                  </a:lnTo>
                  <a:lnTo>
                    <a:pt x="159638" y="1054099"/>
                  </a:lnTo>
                  <a:lnTo>
                    <a:pt x="306957" y="1054099"/>
                  </a:lnTo>
                  <a:lnTo>
                    <a:pt x="324019" y="1041399"/>
                  </a:lnTo>
                  <a:close/>
                </a:path>
                <a:path w="1508594" h="1676400">
                  <a:moveTo>
                    <a:pt x="1379063" y="1028699"/>
                  </a:moveTo>
                  <a:lnTo>
                    <a:pt x="1167123" y="1028699"/>
                  </a:lnTo>
                  <a:lnTo>
                    <a:pt x="1178409" y="1041399"/>
                  </a:lnTo>
                  <a:lnTo>
                    <a:pt x="1190020" y="1041399"/>
                  </a:lnTo>
                  <a:lnTo>
                    <a:pt x="1201939" y="1054099"/>
                  </a:lnTo>
                  <a:lnTo>
                    <a:pt x="1343944" y="1054099"/>
                  </a:lnTo>
                  <a:lnTo>
                    <a:pt x="1361890" y="1041399"/>
                  </a:lnTo>
                  <a:lnTo>
                    <a:pt x="1379063" y="1028699"/>
                  </a:lnTo>
                  <a:close/>
                </a:path>
                <a:path w="1508594" h="1676400">
                  <a:moveTo>
                    <a:pt x="900141" y="38099"/>
                  </a:moveTo>
                  <a:lnTo>
                    <a:pt x="654558" y="38099"/>
                  </a:lnTo>
                  <a:lnTo>
                    <a:pt x="639665" y="50799"/>
                  </a:lnTo>
                  <a:lnTo>
                    <a:pt x="600291" y="88899"/>
                  </a:lnTo>
                  <a:lnTo>
                    <a:pt x="570145" y="126999"/>
                  </a:lnTo>
                  <a:lnTo>
                    <a:pt x="562429" y="152399"/>
                  </a:lnTo>
                  <a:lnTo>
                    <a:pt x="555980" y="165099"/>
                  </a:lnTo>
                  <a:lnTo>
                    <a:pt x="550859" y="177799"/>
                  </a:lnTo>
                  <a:lnTo>
                    <a:pt x="547126" y="203199"/>
                  </a:lnTo>
                  <a:lnTo>
                    <a:pt x="544842" y="215899"/>
                  </a:lnTo>
                  <a:lnTo>
                    <a:pt x="544068" y="241299"/>
                  </a:lnTo>
                  <a:lnTo>
                    <a:pt x="544458" y="253999"/>
                  </a:lnTo>
                  <a:lnTo>
                    <a:pt x="545579" y="266699"/>
                  </a:lnTo>
                  <a:lnTo>
                    <a:pt x="547352" y="279399"/>
                  </a:lnTo>
                  <a:lnTo>
                    <a:pt x="267589" y="596899"/>
                  </a:lnTo>
                  <a:lnTo>
                    <a:pt x="182896" y="596899"/>
                  </a:lnTo>
                  <a:lnTo>
                    <a:pt x="164302" y="609599"/>
                  </a:lnTo>
                  <a:lnTo>
                    <a:pt x="146419" y="609599"/>
                  </a:lnTo>
                  <a:lnTo>
                    <a:pt x="129301" y="622299"/>
                  </a:lnTo>
                  <a:lnTo>
                    <a:pt x="113001" y="634999"/>
                  </a:lnTo>
                  <a:lnTo>
                    <a:pt x="97573" y="634999"/>
                  </a:lnTo>
                  <a:lnTo>
                    <a:pt x="57059" y="673099"/>
                  </a:lnTo>
                  <a:lnTo>
                    <a:pt x="35394" y="711199"/>
                  </a:lnTo>
                  <a:lnTo>
                    <a:pt x="26325" y="723899"/>
                  </a:lnTo>
                  <a:lnTo>
                    <a:pt x="18505" y="736599"/>
                  </a:lnTo>
                  <a:lnTo>
                    <a:pt x="11986" y="749299"/>
                  </a:lnTo>
                  <a:lnTo>
                    <a:pt x="6823" y="774699"/>
                  </a:lnTo>
                  <a:lnTo>
                    <a:pt x="3068" y="787399"/>
                  </a:lnTo>
                  <a:lnTo>
                    <a:pt x="776" y="812799"/>
                  </a:lnTo>
                  <a:lnTo>
                    <a:pt x="0" y="825499"/>
                  </a:lnTo>
                  <a:lnTo>
                    <a:pt x="774" y="850899"/>
                  </a:lnTo>
                  <a:lnTo>
                    <a:pt x="3059" y="863599"/>
                  </a:lnTo>
                  <a:lnTo>
                    <a:pt x="6792" y="888999"/>
                  </a:lnTo>
                  <a:lnTo>
                    <a:pt x="11913" y="901699"/>
                  </a:lnTo>
                  <a:lnTo>
                    <a:pt x="18363" y="914399"/>
                  </a:lnTo>
                  <a:lnTo>
                    <a:pt x="26079" y="939799"/>
                  </a:lnTo>
                  <a:lnTo>
                    <a:pt x="56229" y="977899"/>
                  </a:lnTo>
                  <a:lnTo>
                    <a:pt x="95606" y="1015999"/>
                  </a:lnTo>
                  <a:lnTo>
                    <a:pt x="126176" y="1041399"/>
                  </a:lnTo>
                  <a:lnTo>
                    <a:pt x="340418" y="1041399"/>
                  </a:lnTo>
                  <a:lnTo>
                    <a:pt x="370987" y="1015999"/>
                  </a:lnTo>
                  <a:lnTo>
                    <a:pt x="410361" y="977899"/>
                  </a:lnTo>
                  <a:lnTo>
                    <a:pt x="421516" y="965199"/>
                  </a:lnTo>
                  <a:lnTo>
                    <a:pt x="204445" y="965199"/>
                  </a:lnTo>
                  <a:lnTo>
                    <a:pt x="190786" y="952499"/>
                  </a:lnTo>
                  <a:lnTo>
                    <a:pt x="177753" y="952499"/>
                  </a:lnTo>
                  <a:lnTo>
                    <a:pt x="165429" y="939799"/>
                  </a:lnTo>
                  <a:lnTo>
                    <a:pt x="153899" y="939799"/>
                  </a:lnTo>
                  <a:lnTo>
                    <a:pt x="124909" y="901699"/>
                  </a:lnTo>
                  <a:lnTo>
                    <a:pt x="106091" y="863599"/>
                  </a:lnTo>
                  <a:lnTo>
                    <a:pt x="100320" y="838199"/>
                  </a:lnTo>
                  <a:lnTo>
                    <a:pt x="100933" y="825499"/>
                  </a:lnTo>
                  <a:lnTo>
                    <a:pt x="102958" y="812799"/>
                  </a:lnTo>
                  <a:lnTo>
                    <a:pt x="106321" y="800099"/>
                  </a:lnTo>
                  <a:lnTo>
                    <a:pt x="110948" y="774699"/>
                  </a:lnTo>
                  <a:lnTo>
                    <a:pt x="116768" y="761999"/>
                  </a:lnTo>
                  <a:lnTo>
                    <a:pt x="123705" y="749299"/>
                  </a:lnTo>
                  <a:lnTo>
                    <a:pt x="131687" y="749299"/>
                  </a:lnTo>
                  <a:lnTo>
                    <a:pt x="140640" y="736599"/>
                  </a:lnTo>
                  <a:lnTo>
                    <a:pt x="150491" y="723899"/>
                  </a:lnTo>
                  <a:lnTo>
                    <a:pt x="161166" y="711199"/>
                  </a:lnTo>
                  <a:lnTo>
                    <a:pt x="172592" y="711199"/>
                  </a:lnTo>
                  <a:lnTo>
                    <a:pt x="184696" y="698499"/>
                  </a:lnTo>
                  <a:lnTo>
                    <a:pt x="429230" y="698499"/>
                  </a:lnTo>
                  <a:lnTo>
                    <a:pt x="421853" y="685799"/>
                  </a:lnTo>
                  <a:lnTo>
                    <a:pt x="413906" y="685799"/>
                  </a:lnTo>
                  <a:lnTo>
                    <a:pt x="405413" y="673099"/>
                  </a:lnTo>
                  <a:lnTo>
                    <a:pt x="396397" y="660399"/>
                  </a:lnTo>
                  <a:lnTo>
                    <a:pt x="386880" y="647699"/>
                  </a:lnTo>
                  <a:lnTo>
                    <a:pt x="376887" y="647699"/>
                  </a:lnTo>
                  <a:lnTo>
                    <a:pt x="366440" y="634999"/>
                  </a:lnTo>
                  <a:lnTo>
                    <a:pt x="592772" y="380999"/>
                  </a:lnTo>
                  <a:lnTo>
                    <a:pt x="1075536" y="380999"/>
                  </a:lnTo>
                  <a:lnTo>
                    <a:pt x="1065282" y="368299"/>
                  </a:lnTo>
                  <a:lnTo>
                    <a:pt x="734841" y="368299"/>
                  </a:lnTo>
                  <a:lnTo>
                    <a:pt x="721808" y="355599"/>
                  </a:lnTo>
                  <a:lnTo>
                    <a:pt x="709485" y="355599"/>
                  </a:lnTo>
                  <a:lnTo>
                    <a:pt x="697955" y="342899"/>
                  </a:lnTo>
                  <a:lnTo>
                    <a:pt x="687303" y="342899"/>
                  </a:lnTo>
                  <a:lnTo>
                    <a:pt x="677613" y="330199"/>
                  </a:lnTo>
                  <a:lnTo>
                    <a:pt x="655156" y="292099"/>
                  </a:lnTo>
                  <a:lnTo>
                    <a:pt x="644387" y="253999"/>
                  </a:lnTo>
                  <a:lnTo>
                    <a:pt x="645000" y="241299"/>
                  </a:lnTo>
                  <a:lnTo>
                    <a:pt x="650387" y="203199"/>
                  </a:lnTo>
                  <a:lnTo>
                    <a:pt x="667768" y="165099"/>
                  </a:lnTo>
                  <a:lnTo>
                    <a:pt x="684701" y="139699"/>
                  </a:lnTo>
                  <a:lnTo>
                    <a:pt x="694551" y="139699"/>
                  </a:lnTo>
                  <a:lnTo>
                    <a:pt x="705225" y="126999"/>
                  </a:lnTo>
                  <a:lnTo>
                    <a:pt x="716650" y="114299"/>
                  </a:lnTo>
                  <a:lnTo>
                    <a:pt x="741459" y="114299"/>
                  </a:lnTo>
                  <a:lnTo>
                    <a:pt x="754696" y="101599"/>
                  </a:lnTo>
                  <a:lnTo>
                    <a:pt x="965555" y="101599"/>
                  </a:lnTo>
                  <a:lnTo>
                    <a:pt x="954403" y="88899"/>
                  </a:lnTo>
                  <a:lnTo>
                    <a:pt x="942224" y="76199"/>
                  </a:lnTo>
                  <a:lnTo>
                    <a:pt x="929081" y="63499"/>
                  </a:lnTo>
                  <a:lnTo>
                    <a:pt x="915033" y="50799"/>
                  </a:lnTo>
                  <a:lnTo>
                    <a:pt x="900141" y="38099"/>
                  </a:lnTo>
                  <a:close/>
                </a:path>
                <a:path w="1508594" h="1676400">
                  <a:moveTo>
                    <a:pt x="429230" y="698499"/>
                  </a:moveTo>
                  <a:lnTo>
                    <a:pt x="269765" y="698499"/>
                  </a:lnTo>
                  <a:lnTo>
                    <a:pt x="283475" y="711199"/>
                  </a:lnTo>
                  <a:lnTo>
                    <a:pt x="296365" y="711199"/>
                  </a:lnTo>
                  <a:lnTo>
                    <a:pt x="308375" y="723899"/>
                  </a:lnTo>
                  <a:lnTo>
                    <a:pt x="319444" y="723899"/>
                  </a:lnTo>
                  <a:lnTo>
                    <a:pt x="329510" y="736599"/>
                  </a:lnTo>
                  <a:lnTo>
                    <a:pt x="353081" y="774699"/>
                  </a:lnTo>
                  <a:lnTo>
                    <a:pt x="365425" y="812799"/>
                  </a:lnTo>
                  <a:lnTo>
                    <a:pt x="366758" y="825499"/>
                  </a:lnTo>
                  <a:lnTo>
                    <a:pt x="366015" y="838199"/>
                  </a:lnTo>
                  <a:lnTo>
                    <a:pt x="355221" y="876299"/>
                  </a:lnTo>
                  <a:lnTo>
                    <a:pt x="333242" y="914399"/>
                  </a:lnTo>
                  <a:lnTo>
                    <a:pt x="313430" y="939799"/>
                  </a:lnTo>
                  <a:lnTo>
                    <a:pt x="302214" y="939799"/>
                  </a:lnTo>
                  <a:lnTo>
                    <a:pt x="290231" y="952499"/>
                  </a:lnTo>
                  <a:lnTo>
                    <a:pt x="264277" y="952499"/>
                  </a:lnTo>
                  <a:lnTo>
                    <a:pt x="250464" y="965199"/>
                  </a:lnTo>
                  <a:lnTo>
                    <a:pt x="421516" y="965199"/>
                  </a:lnTo>
                  <a:lnTo>
                    <a:pt x="431585" y="952499"/>
                  </a:lnTo>
                  <a:lnTo>
                    <a:pt x="440508" y="939799"/>
                  </a:lnTo>
                  <a:lnTo>
                    <a:pt x="448224" y="914399"/>
                  </a:lnTo>
                  <a:lnTo>
                    <a:pt x="454672" y="901699"/>
                  </a:lnTo>
                  <a:lnTo>
                    <a:pt x="459793" y="888999"/>
                  </a:lnTo>
                  <a:lnTo>
                    <a:pt x="463526" y="863599"/>
                  </a:lnTo>
                  <a:lnTo>
                    <a:pt x="465810" y="850899"/>
                  </a:lnTo>
                  <a:lnTo>
                    <a:pt x="466585" y="825499"/>
                  </a:lnTo>
                  <a:lnTo>
                    <a:pt x="466177" y="812799"/>
                  </a:lnTo>
                  <a:lnTo>
                    <a:pt x="464967" y="800099"/>
                  </a:lnTo>
                  <a:lnTo>
                    <a:pt x="456764" y="761999"/>
                  </a:lnTo>
                  <a:lnTo>
                    <a:pt x="442184" y="723899"/>
                  </a:lnTo>
                  <a:lnTo>
                    <a:pt x="436015" y="711199"/>
                  </a:lnTo>
                  <a:lnTo>
                    <a:pt x="429230" y="698499"/>
                  </a:lnTo>
                  <a:close/>
                </a:path>
                <a:path w="1508594" h="1676400">
                  <a:moveTo>
                    <a:pt x="1468560" y="698499"/>
                  </a:moveTo>
                  <a:lnTo>
                    <a:pt x="1311777" y="698499"/>
                  </a:lnTo>
                  <a:lnTo>
                    <a:pt x="1325487" y="711199"/>
                  </a:lnTo>
                  <a:lnTo>
                    <a:pt x="1338377" y="711199"/>
                  </a:lnTo>
                  <a:lnTo>
                    <a:pt x="1350387" y="723899"/>
                  </a:lnTo>
                  <a:lnTo>
                    <a:pt x="1361455" y="723899"/>
                  </a:lnTo>
                  <a:lnTo>
                    <a:pt x="1371521" y="736599"/>
                  </a:lnTo>
                  <a:lnTo>
                    <a:pt x="1395090" y="774699"/>
                  </a:lnTo>
                  <a:lnTo>
                    <a:pt x="1407433" y="812799"/>
                  </a:lnTo>
                  <a:lnTo>
                    <a:pt x="1408767" y="825499"/>
                  </a:lnTo>
                  <a:lnTo>
                    <a:pt x="1408025" y="838199"/>
                  </a:lnTo>
                  <a:lnTo>
                    <a:pt x="1397234" y="876299"/>
                  </a:lnTo>
                  <a:lnTo>
                    <a:pt x="1375261" y="914399"/>
                  </a:lnTo>
                  <a:lnTo>
                    <a:pt x="1355454" y="939799"/>
                  </a:lnTo>
                  <a:lnTo>
                    <a:pt x="1344240" y="939799"/>
                  </a:lnTo>
                  <a:lnTo>
                    <a:pt x="1332258" y="952499"/>
                  </a:lnTo>
                  <a:lnTo>
                    <a:pt x="1306306" y="952499"/>
                  </a:lnTo>
                  <a:lnTo>
                    <a:pt x="1292494" y="965199"/>
                  </a:lnTo>
                  <a:lnTo>
                    <a:pt x="1462898" y="965199"/>
                  </a:lnTo>
                  <a:lnTo>
                    <a:pt x="1473174" y="952499"/>
                  </a:lnTo>
                  <a:lnTo>
                    <a:pt x="1482252" y="939799"/>
                  </a:lnTo>
                  <a:lnTo>
                    <a:pt x="1490080" y="914399"/>
                  </a:lnTo>
                  <a:lnTo>
                    <a:pt x="1496603" y="901699"/>
                  </a:lnTo>
                  <a:lnTo>
                    <a:pt x="1501770" y="888999"/>
                  </a:lnTo>
                  <a:lnTo>
                    <a:pt x="1505526" y="863599"/>
                  </a:lnTo>
                  <a:lnTo>
                    <a:pt x="1507818" y="850899"/>
                  </a:lnTo>
                  <a:lnTo>
                    <a:pt x="1508594" y="825499"/>
                  </a:lnTo>
                  <a:lnTo>
                    <a:pt x="1507820" y="812799"/>
                  </a:lnTo>
                  <a:lnTo>
                    <a:pt x="1505536" y="787399"/>
                  </a:lnTo>
                  <a:lnTo>
                    <a:pt x="1501803" y="774699"/>
                  </a:lnTo>
                  <a:lnTo>
                    <a:pt x="1496682" y="749299"/>
                  </a:lnTo>
                  <a:lnTo>
                    <a:pt x="1490233" y="736599"/>
                  </a:lnTo>
                  <a:lnTo>
                    <a:pt x="1482517" y="723899"/>
                  </a:lnTo>
                  <a:lnTo>
                    <a:pt x="1473594" y="711199"/>
                  </a:lnTo>
                  <a:lnTo>
                    <a:pt x="1468560" y="698499"/>
                  </a:lnTo>
                  <a:close/>
                </a:path>
                <a:path w="1508594" h="1676400">
                  <a:moveTo>
                    <a:pt x="841909" y="457199"/>
                  </a:moveTo>
                  <a:lnTo>
                    <a:pt x="708024" y="457199"/>
                  </a:lnTo>
                  <a:lnTo>
                    <a:pt x="720781" y="469899"/>
                  </a:lnTo>
                  <a:lnTo>
                    <a:pt x="829025" y="469899"/>
                  </a:lnTo>
                  <a:lnTo>
                    <a:pt x="841909" y="457199"/>
                  </a:lnTo>
                  <a:close/>
                </a:path>
                <a:path w="1508594" h="1676400">
                  <a:moveTo>
                    <a:pt x="878473" y="444499"/>
                  </a:moveTo>
                  <a:lnTo>
                    <a:pt x="671679" y="444499"/>
                  </a:lnTo>
                  <a:lnTo>
                    <a:pt x="683450" y="457199"/>
                  </a:lnTo>
                  <a:lnTo>
                    <a:pt x="866650" y="457199"/>
                  </a:lnTo>
                  <a:lnTo>
                    <a:pt x="878473" y="444499"/>
                  </a:lnTo>
                  <a:close/>
                </a:path>
                <a:path w="1508594" h="1676400">
                  <a:moveTo>
                    <a:pt x="900947" y="431799"/>
                  </a:moveTo>
                  <a:lnTo>
                    <a:pt x="649275" y="431799"/>
                  </a:lnTo>
                  <a:lnTo>
                    <a:pt x="660279" y="444499"/>
                  </a:lnTo>
                  <a:lnTo>
                    <a:pt x="889911" y="444499"/>
                  </a:lnTo>
                  <a:lnTo>
                    <a:pt x="900947" y="431799"/>
                  </a:lnTo>
                  <a:close/>
                </a:path>
                <a:path w="1508594" h="1676400">
                  <a:moveTo>
                    <a:pt x="1075536" y="380999"/>
                  </a:moveTo>
                  <a:lnTo>
                    <a:pt x="592772" y="380999"/>
                  </a:lnTo>
                  <a:lnTo>
                    <a:pt x="600945" y="393699"/>
                  </a:lnTo>
                  <a:lnTo>
                    <a:pt x="609645" y="406399"/>
                  </a:lnTo>
                  <a:lnTo>
                    <a:pt x="618850" y="406399"/>
                  </a:lnTo>
                  <a:lnTo>
                    <a:pt x="628538" y="419099"/>
                  </a:lnTo>
                  <a:lnTo>
                    <a:pt x="638687" y="431799"/>
                  </a:lnTo>
                  <a:lnTo>
                    <a:pt x="911564" y="431799"/>
                  </a:lnTo>
                  <a:lnTo>
                    <a:pt x="921747" y="419099"/>
                  </a:lnTo>
                  <a:lnTo>
                    <a:pt x="931480" y="419099"/>
                  </a:lnTo>
                  <a:lnTo>
                    <a:pt x="940746" y="406399"/>
                  </a:lnTo>
                  <a:lnTo>
                    <a:pt x="949529" y="393699"/>
                  </a:lnTo>
                  <a:lnTo>
                    <a:pt x="1085791" y="393699"/>
                  </a:lnTo>
                  <a:lnTo>
                    <a:pt x="1075536" y="380999"/>
                  </a:lnTo>
                  <a:close/>
                </a:path>
                <a:path w="1508594" h="1676400">
                  <a:moveTo>
                    <a:pt x="965555" y="101599"/>
                  </a:moveTo>
                  <a:lnTo>
                    <a:pt x="784191" y="101599"/>
                  </a:lnTo>
                  <a:lnTo>
                    <a:pt x="799354" y="114299"/>
                  </a:lnTo>
                  <a:lnTo>
                    <a:pt x="827530" y="114299"/>
                  </a:lnTo>
                  <a:lnTo>
                    <a:pt x="840420" y="126999"/>
                  </a:lnTo>
                  <a:lnTo>
                    <a:pt x="852430" y="126999"/>
                  </a:lnTo>
                  <a:lnTo>
                    <a:pt x="863498" y="139699"/>
                  </a:lnTo>
                  <a:lnTo>
                    <a:pt x="873563" y="152399"/>
                  </a:lnTo>
                  <a:lnTo>
                    <a:pt x="882565" y="152399"/>
                  </a:lnTo>
                  <a:lnTo>
                    <a:pt x="902576" y="190499"/>
                  </a:lnTo>
                  <a:lnTo>
                    <a:pt x="910813" y="228599"/>
                  </a:lnTo>
                  <a:lnTo>
                    <a:pt x="910070" y="253999"/>
                  </a:lnTo>
                  <a:lnTo>
                    <a:pt x="899280" y="292099"/>
                  </a:lnTo>
                  <a:lnTo>
                    <a:pt x="877306" y="330199"/>
                  </a:lnTo>
                  <a:lnTo>
                    <a:pt x="867866" y="342899"/>
                  </a:lnTo>
                  <a:lnTo>
                    <a:pt x="857499" y="342899"/>
                  </a:lnTo>
                  <a:lnTo>
                    <a:pt x="846285" y="355599"/>
                  </a:lnTo>
                  <a:lnTo>
                    <a:pt x="834303" y="355599"/>
                  </a:lnTo>
                  <a:lnTo>
                    <a:pt x="821632" y="368299"/>
                  </a:lnTo>
                  <a:lnTo>
                    <a:pt x="1065282" y="368299"/>
                  </a:lnTo>
                  <a:lnTo>
                    <a:pt x="1003757" y="292099"/>
                  </a:lnTo>
                  <a:lnTo>
                    <a:pt x="1006434" y="279399"/>
                  </a:lnTo>
                  <a:lnTo>
                    <a:pt x="1008501" y="266699"/>
                  </a:lnTo>
                  <a:lnTo>
                    <a:pt x="1009902" y="253999"/>
                  </a:lnTo>
                  <a:lnTo>
                    <a:pt x="1010582" y="241299"/>
                  </a:lnTo>
                  <a:lnTo>
                    <a:pt x="1009816" y="228599"/>
                  </a:lnTo>
                  <a:lnTo>
                    <a:pt x="1007539" y="203199"/>
                  </a:lnTo>
                  <a:lnTo>
                    <a:pt x="1003812" y="190499"/>
                  </a:lnTo>
                  <a:lnTo>
                    <a:pt x="998697" y="165099"/>
                  </a:lnTo>
                  <a:lnTo>
                    <a:pt x="992253" y="152399"/>
                  </a:lnTo>
                  <a:lnTo>
                    <a:pt x="984541" y="139699"/>
                  </a:lnTo>
                  <a:lnTo>
                    <a:pt x="975621" y="114299"/>
                  </a:lnTo>
                  <a:lnTo>
                    <a:pt x="965555" y="101599"/>
                  </a:lnTo>
                  <a:close/>
                </a:path>
                <a:path w="1508594" h="1676400">
                  <a:moveTo>
                    <a:pt x="851007" y="12699"/>
                  </a:moveTo>
                  <a:lnTo>
                    <a:pt x="703695" y="12699"/>
                  </a:lnTo>
                  <a:lnTo>
                    <a:pt x="686634" y="25399"/>
                  </a:lnTo>
                  <a:lnTo>
                    <a:pt x="670234" y="38099"/>
                  </a:lnTo>
                  <a:lnTo>
                    <a:pt x="884466" y="38099"/>
                  </a:lnTo>
                  <a:lnTo>
                    <a:pt x="868068" y="25399"/>
                  </a:lnTo>
                  <a:lnTo>
                    <a:pt x="851007" y="12699"/>
                  </a:lnTo>
                  <a:close/>
                </a:path>
                <a:path w="1508594" h="1676400">
                  <a:moveTo>
                    <a:pt x="777354" y="0"/>
                  </a:moveTo>
                  <a:lnTo>
                    <a:pt x="758248" y="12699"/>
                  </a:lnTo>
                  <a:lnTo>
                    <a:pt x="796458" y="12699"/>
                  </a:lnTo>
                  <a:lnTo>
                    <a:pt x="7773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700"/>
            </a:p>
          </p:txBody>
        </p:sp>
      </p:grpSp>
    </p:spTree>
    <p:extLst>
      <p:ext uri="{BB962C8B-B14F-4D97-AF65-F5344CB8AC3E}">
        <p14:creationId xmlns:p14="http://schemas.microsoft.com/office/powerpoint/2010/main" val="3997370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my-MM" sz="1800" b="0" i="0" u="none" strike="noStrike" kern="1200" cap="none" spc="0" normalizeH="0" baseline="0" noProof="0">
                <a:ln>
                  <a:noFill/>
                </a:ln>
                <a:solidFill>
                  <a:srgbClr val="FFFFFF"/>
                </a:solidFill>
                <a:effectLst/>
                <a:uLnTx/>
                <a:uFillTx/>
                <a:latin typeface="Gill Sans Infant Std"/>
                <a:ea typeface="+mn-ea"/>
                <a:cs typeface="Gill Sans Infant Std"/>
              </a:rPr>
              <a:t>ဖြစ်ရပ်စီမံခန့်ခွဲမှုသည် </a:t>
            </a:r>
            <a:r>
              <a:rPr kumimoji="0" lang="en-US" sz="1800" b="0" i="0" u="none" strike="noStrike" kern="1200" cap="none" spc="0" normalizeH="0" baseline="0" noProof="0">
                <a:ln>
                  <a:noFill/>
                </a:ln>
                <a:solidFill>
                  <a:srgbClr val="FFFFFF"/>
                </a:solidFill>
                <a:effectLst/>
                <a:uLnTx/>
                <a:uFillTx/>
                <a:latin typeface="Gill Sans Infant Std"/>
                <a:ea typeface="+mn-ea"/>
                <a:cs typeface="Gill Sans Infant Std"/>
              </a:rPr>
              <a:t>Save the Children </a:t>
            </a:r>
            <a:r>
              <a:rPr kumimoji="0" lang="my-MM" sz="1800" b="0" i="0" u="none" strike="noStrike" kern="1200" cap="none" spc="0" normalizeH="0" baseline="0" noProof="0">
                <a:ln>
                  <a:noFill/>
                </a:ln>
                <a:solidFill>
                  <a:srgbClr val="FFFFFF"/>
                </a:solidFill>
                <a:effectLst/>
                <a:uLnTx/>
                <a:uFillTx/>
                <a:latin typeface="Gill Sans Infant Std"/>
                <a:ea typeface="+mn-ea"/>
                <a:cs typeface="Gill Sans Infant Std"/>
              </a:rPr>
              <a:t>နှင့်မိတ်ဖက်များအားတစ် ဦး ချင်းစီ၏ကလေးများနှင့်သူတို့၏မိသားစုများ၏လိုအပ်ချက်များကိုတိုက်ရိုက်ပံ့ပိုးမှုနှင့်/သို့မဟုတ်ရည်ညွန်းချက်များဖြင့်ဖြေရှင်းရန်ကူညီသည်။</a:t>
            </a:r>
            <a:endParaRPr kumimoji="0" lang="en-GB" sz="1800" b="0" i="0" u="none" strike="noStrike" kern="1200" cap="none" spc="0" normalizeH="0" baseline="0" noProof="0">
              <a:ln>
                <a:noFill/>
              </a:ln>
              <a:solidFill>
                <a:srgbClr val="FFFFFF"/>
              </a:solidFill>
              <a:effectLst/>
              <a:uLnTx/>
              <a:uFillTx/>
              <a:latin typeface="Gill Sans Infant Std"/>
              <a:ea typeface="+mn-ea"/>
              <a:cs typeface="Gill Sans Infant Std"/>
            </a:endParaRPr>
          </a:p>
        </p:txBody>
      </p:sp>
      <p:sp>
        <p:nvSpPr>
          <p:cNvPr id="2" name="Title 1"/>
          <p:cNvSpPr>
            <a:spLocks noGrp="1"/>
          </p:cNvSpPr>
          <p:nvPr>
            <p:ph type="title"/>
          </p:nvPr>
        </p:nvSpPr>
        <p:spPr>
          <a:xfrm>
            <a:off x="222930" y="221208"/>
            <a:ext cx="4593027" cy="469544"/>
          </a:xfrm>
        </p:spPr>
        <p:txBody>
          <a:bodyPr>
            <a:noAutofit/>
          </a:bodyPr>
          <a:lstStyle/>
          <a:p>
            <a:r>
              <a:rPr lang="en-GB" sz="1800" dirty="0"/>
              <a:t>What do we mean by case management?  </a:t>
            </a:r>
          </a:p>
        </p:txBody>
      </p:sp>
      <p:sp>
        <p:nvSpPr>
          <p:cNvPr id="10" name="Rectangle 9"/>
          <p:cNvSpPr/>
          <p:nvPr/>
        </p:nvSpPr>
        <p:spPr>
          <a:xfrm>
            <a:off x="4916555" y="0"/>
            <a:ext cx="4227445" cy="686761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Gill Sans Infant Std"/>
              <a:ea typeface="+mn-ea"/>
              <a:cs typeface="Gill Sans Infant Std"/>
            </a:endParaRPr>
          </a:p>
        </p:txBody>
      </p:sp>
      <p:sp>
        <p:nvSpPr>
          <p:cNvPr id="8" name="TextBox 7"/>
          <p:cNvSpPr txBox="1"/>
          <p:nvPr/>
        </p:nvSpPr>
        <p:spPr>
          <a:xfrm>
            <a:off x="369266" y="3046440"/>
            <a:ext cx="3674097" cy="2154436"/>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0" normalizeH="0" baseline="0" noProof="0" dirty="0">
                <a:ln>
                  <a:noFill/>
                </a:ln>
                <a:effectLst/>
                <a:uLnTx/>
                <a:uFillTx/>
                <a:latin typeface="Trade Gothic LT Com Cn" panose="020B0806040303020004" pitchFamily="34" charset="0"/>
                <a:ea typeface="+mn-ea"/>
                <a:cs typeface="+mn-cs"/>
              </a:rPr>
              <a:t>case management helps Save the Children and partners to address the needs of individual children and their families in an appropriate, systematic and timely manner through direct support and/or referrals</a:t>
            </a:r>
            <a:endParaRPr kumimoji="0" lang="en-US" sz="2000" b="1" i="0" u="none" strike="noStrike" kern="1200" cap="all" spc="0" normalizeH="0" baseline="0" noProof="0" dirty="0">
              <a:ln>
                <a:noFill/>
              </a:ln>
              <a:effectLst/>
              <a:uLnTx/>
              <a:uFillTx/>
              <a:latin typeface="Trade Gothic LT Com Cn" panose="020B0806040303020004" pitchFamily="34" charset="0"/>
              <a:ea typeface="+mn-ea"/>
              <a:cs typeface="+mn-cs"/>
            </a:endParaRPr>
          </a:p>
        </p:txBody>
      </p:sp>
      <p:pic>
        <p:nvPicPr>
          <p:cNvPr id="11" name="Picture 10"/>
          <p:cNvPicPr>
            <a:picLocks noChangeAspect="1"/>
          </p:cNvPicPr>
          <p:nvPr/>
        </p:nvPicPr>
        <p:blipFill rotWithShape="1">
          <a:blip r:embed="rId3" cstate="email">
            <a:extLst>
              <a:ext uri="{28A0092B-C50C-407E-A947-70E740481C1C}">
                <a14:useLocalDpi xmlns:a14="http://schemas.microsoft.com/office/drawing/2010/main" val="0"/>
              </a:ext>
            </a:extLst>
          </a:blip>
          <a:srcRect l="8333" r="13878"/>
          <a:stretch/>
        </p:blipFill>
        <p:spPr>
          <a:xfrm>
            <a:off x="1049140" y="876614"/>
            <a:ext cx="2098280" cy="1798271"/>
          </a:xfrm>
          <a:prstGeom prst="rect">
            <a:avLst/>
          </a:prstGeom>
        </p:spPr>
      </p:pic>
      <p:grpSp>
        <p:nvGrpSpPr>
          <p:cNvPr id="13" name="Group 12"/>
          <p:cNvGrpSpPr/>
          <p:nvPr/>
        </p:nvGrpSpPr>
        <p:grpSpPr>
          <a:xfrm>
            <a:off x="5338648" y="1775750"/>
            <a:ext cx="3602473" cy="3931593"/>
            <a:chOff x="7016927" y="1839325"/>
            <a:chExt cx="4859160" cy="3179350"/>
          </a:xfrm>
        </p:grpSpPr>
        <p:grpSp>
          <p:nvGrpSpPr>
            <p:cNvPr id="14" name="Group 13"/>
            <p:cNvGrpSpPr/>
            <p:nvPr userDrawn="1"/>
          </p:nvGrpSpPr>
          <p:grpSpPr>
            <a:xfrm>
              <a:off x="7016927" y="1839325"/>
              <a:ext cx="528879" cy="3179349"/>
              <a:chOff x="2217319" y="1263675"/>
              <a:chExt cx="707195" cy="4251298"/>
            </a:xfrm>
          </p:grpSpPr>
          <p:sp>
            <p:nvSpPr>
              <p:cNvPr id="19" name="Rectangle 18">
                <a:extLst>
                  <a:ext uri="{FF2B5EF4-FFF2-40B4-BE49-F238E27FC236}">
                    <a16:creationId xmlns:a16="http://schemas.microsoft.com/office/drawing/2014/main" id="{7605A495-9849-4842-B5BF-917E6CEB6211}"/>
                  </a:ext>
                </a:extLst>
              </p:cNvPr>
              <p:cNvSpPr/>
              <p:nvPr userDrawn="1"/>
            </p:nvSpPr>
            <p:spPr>
              <a:xfrm rot="16200000">
                <a:off x="2505785" y="975209"/>
                <a:ext cx="130262" cy="707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0" name="Rectangle 19">
                <a:extLst>
                  <a:ext uri="{FF2B5EF4-FFF2-40B4-BE49-F238E27FC236}">
                    <a16:creationId xmlns:a16="http://schemas.microsoft.com/office/drawing/2014/main" id="{7E5AB82A-1BDE-4FCF-AD0D-C193EDE71977}"/>
                  </a:ext>
                </a:extLst>
              </p:cNvPr>
              <p:cNvSpPr/>
              <p:nvPr userDrawn="1"/>
            </p:nvSpPr>
            <p:spPr>
              <a:xfrm rot="16200000">
                <a:off x="2505786" y="5096245"/>
                <a:ext cx="130262" cy="7071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21" name="Rectangle 20">
                <a:extLst>
                  <a:ext uri="{FF2B5EF4-FFF2-40B4-BE49-F238E27FC236}">
                    <a16:creationId xmlns:a16="http://schemas.microsoft.com/office/drawing/2014/main" id="{3005F154-899C-4E2B-ACEF-04BC7C56915D}"/>
                  </a:ext>
                </a:extLst>
              </p:cNvPr>
              <p:cNvSpPr/>
              <p:nvPr userDrawn="1"/>
            </p:nvSpPr>
            <p:spPr>
              <a:xfrm>
                <a:off x="2217322" y="1263676"/>
                <a:ext cx="130262" cy="42512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mn-ea"/>
                  <a:cs typeface="+mn-cs"/>
                </a:endParaRPr>
              </a:p>
            </p:txBody>
          </p:sp>
        </p:grpSp>
        <p:grpSp>
          <p:nvGrpSpPr>
            <p:cNvPr id="15" name="Group 14"/>
            <p:cNvGrpSpPr/>
            <p:nvPr userDrawn="1"/>
          </p:nvGrpSpPr>
          <p:grpSpPr>
            <a:xfrm>
              <a:off x="11347208" y="1839325"/>
              <a:ext cx="528879" cy="3179350"/>
              <a:chOff x="8126469" y="1263675"/>
              <a:chExt cx="707196" cy="4251299"/>
            </a:xfrm>
          </p:grpSpPr>
          <p:sp>
            <p:nvSpPr>
              <p:cNvPr id="16" name="Rectangle 15">
                <a:extLst>
                  <a:ext uri="{FF2B5EF4-FFF2-40B4-BE49-F238E27FC236}">
                    <a16:creationId xmlns:a16="http://schemas.microsoft.com/office/drawing/2014/main" id="{DFF270F1-8E7C-4BD4-89B4-118D9FFDE75E}"/>
                  </a:ext>
                </a:extLst>
              </p:cNvPr>
              <p:cNvSpPr/>
              <p:nvPr userDrawn="1"/>
            </p:nvSpPr>
            <p:spPr>
              <a:xfrm rot="16200000" flipH="1" flipV="1">
                <a:off x="8414936" y="5096245"/>
                <a:ext cx="130262" cy="707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17" name="Rectangle 16">
                <a:extLst>
                  <a:ext uri="{FF2B5EF4-FFF2-40B4-BE49-F238E27FC236}">
                    <a16:creationId xmlns:a16="http://schemas.microsoft.com/office/drawing/2014/main" id="{04496A14-E5E2-47D3-9BFE-728E1D749CC2}"/>
                  </a:ext>
                </a:extLst>
              </p:cNvPr>
              <p:cNvSpPr/>
              <p:nvPr userDrawn="1"/>
            </p:nvSpPr>
            <p:spPr>
              <a:xfrm rot="16200000" flipH="1" flipV="1">
                <a:off x="8414936" y="975208"/>
                <a:ext cx="130262" cy="707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mn-ea"/>
                  <a:cs typeface="+mn-cs"/>
                </a:endParaRPr>
              </a:p>
            </p:txBody>
          </p:sp>
          <p:sp>
            <p:nvSpPr>
              <p:cNvPr id="18" name="Rectangle 17">
                <a:extLst>
                  <a:ext uri="{FF2B5EF4-FFF2-40B4-BE49-F238E27FC236}">
                    <a16:creationId xmlns:a16="http://schemas.microsoft.com/office/drawing/2014/main" id="{42BF52F8-BF25-4817-BB67-4E9B25BD8050}"/>
                  </a:ext>
                </a:extLst>
              </p:cNvPr>
              <p:cNvSpPr/>
              <p:nvPr userDrawn="1"/>
            </p:nvSpPr>
            <p:spPr>
              <a:xfrm flipH="1" flipV="1">
                <a:off x="8703402" y="1263679"/>
                <a:ext cx="130262" cy="42512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Gill Sans MT"/>
                  <a:ea typeface="+mn-ea"/>
                  <a:cs typeface="+mn-cs"/>
                </a:endParaRPr>
              </a:p>
            </p:txBody>
          </p:sp>
        </p:grpSp>
      </p:grpSp>
      <p:sp>
        <p:nvSpPr>
          <p:cNvPr id="23" name="Title 1">
            <a:extLst>
              <a:ext uri="{FF2B5EF4-FFF2-40B4-BE49-F238E27FC236}">
                <a16:creationId xmlns:a16="http://schemas.microsoft.com/office/drawing/2014/main" id="{5462F132-2F0A-45C9-A9BB-E0CBF53595CB}"/>
              </a:ext>
            </a:extLst>
          </p:cNvPr>
          <p:cNvSpPr txBox="1">
            <a:spLocks/>
          </p:cNvSpPr>
          <p:nvPr/>
        </p:nvSpPr>
        <p:spPr bwMode="auto">
          <a:xfrm>
            <a:off x="5583694" y="1964538"/>
            <a:ext cx="3337263" cy="374280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7500"/>
          </a:bodyPr>
          <a:lst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a:lstStyle>
          <a:p>
            <a:pPr algn="ctr">
              <a:lnSpc>
                <a:spcPct val="150000"/>
              </a:lnSpc>
              <a:defRPr/>
            </a:pP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ဖစ္ရပ္စီမံခန</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႔</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ခြဲမႈသည</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Save the Children ႏွင့္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မိတ္ဖက္မ်ား</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ကေလးတစ္ဦးခ်င္းစီ</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င့္ ၄င္းတုိ႔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မိသားစုမ်ား</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လုိအပ္ခ်က္မ်ားကုိ</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အခ်ိန္မွီ</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တုိက္ရုိက္ပံ့ပုိးမ</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င့္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သုိ</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႔)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ညႊန္းပုိ</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႔ျ</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ခင္းမ်ားျဖင</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စနစ္တက</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00" b="0" dirty="0" err="1">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ကူညီေျဖရွင္းျခင္းျဖစ္သည</a:t>
            </a:r>
            <a:r>
              <a:rPr lang="en-US" altLang="en-US" sz="1600" b="0" dirty="0">
                <a:ln w="0"/>
                <a:solidFill>
                  <a:schemeClr val="bg1"/>
                </a:solidFill>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endParaRPr lang="en-US" altLang="en-US" sz="1800" b="0" dirty="0">
              <a:solidFill>
                <a:schemeClr val="bg1"/>
              </a:solidFill>
            </a:endParaRPr>
          </a:p>
        </p:txBody>
      </p:sp>
    </p:spTree>
    <p:extLst>
      <p:ext uri="{BB962C8B-B14F-4D97-AF65-F5344CB8AC3E}">
        <p14:creationId xmlns:p14="http://schemas.microsoft.com/office/powerpoint/2010/main" val="23233107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Gill Sans Infant Std" panose="020B0502020104020203" pitchFamily="34" charset="0"/>
              <a:ea typeface="+mn-ea"/>
              <a:cs typeface="Gill Sans Infant Std"/>
            </a:endParaRPr>
          </a:p>
        </p:txBody>
      </p:sp>
      <p:sp>
        <p:nvSpPr>
          <p:cNvPr id="10" name="Rectangle 9"/>
          <p:cNvSpPr/>
          <p:nvPr/>
        </p:nvSpPr>
        <p:spPr>
          <a:xfrm>
            <a:off x="4916554" y="-9616"/>
            <a:ext cx="4227445" cy="686761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Gill Sans Infant Std" panose="020B0502020104020203" pitchFamily="34" charset="0"/>
              <a:ea typeface="+mn-ea"/>
              <a:cs typeface="Gill Sans Infant Std"/>
            </a:endParaRPr>
          </a:p>
        </p:txBody>
      </p:sp>
      <p:sp>
        <p:nvSpPr>
          <p:cNvPr id="23" name="Title 1"/>
          <p:cNvSpPr>
            <a:spLocks noGrp="1"/>
          </p:cNvSpPr>
          <p:nvPr>
            <p:ph type="title"/>
          </p:nvPr>
        </p:nvSpPr>
        <p:spPr>
          <a:xfrm>
            <a:off x="80349" y="200843"/>
            <a:ext cx="4968240" cy="487289"/>
          </a:xfrm>
        </p:spPr>
        <p:txBody>
          <a:bodyPr>
            <a:noAutofit/>
          </a:bodyPr>
          <a:lstStyle/>
          <a:p>
            <a:r>
              <a:rPr lang="en-GB" sz="2800" dirty="0">
                <a:latin typeface="Gill Sans Infant Std" panose="020B0502020104020203" pitchFamily="34" charset="0"/>
              </a:rPr>
              <a:t>What is Case Management?</a:t>
            </a:r>
          </a:p>
        </p:txBody>
      </p:sp>
      <p:sp>
        <p:nvSpPr>
          <p:cNvPr id="24" name="TextBox 23"/>
          <p:cNvSpPr txBox="1"/>
          <p:nvPr/>
        </p:nvSpPr>
        <p:spPr>
          <a:xfrm>
            <a:off x="5235871" y="203175"/>
            <a:ext cx="3765248" cy="6370975"/>
          </a:xfrm>
          <a:prstGeom prst="rect">
            <a:avLst/>
          </a:prstGeom>
          <a:noFill/>
        </p:spPr>
        <p:txBody>
          <a:bodyPr wrap="square" lIns="0" tIns="0" rIns="0" bIns="0" rtlCol="0" anchor="t">
            <a:spAutoFit/>
          </a:bodyPr>
          <a:lstStyle/>
          <a:p>
            <a:pPr marL="3429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rPr>
              <a:t>Focus on </a:t>
            </a:r>
            <a:r>
              <a:rPr kumimoji="0" lang="en-GB"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rPr>
              <a:t>individual</a:t>
            </a: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rPr>
              <a:t> children &amp; his/ her family</a:t>
            </a: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rPr>
              <a:t>Provided by </a:t>
            </a:r>
            <a:r>
              <a:rPr kumimoji="0" lang="en-GB"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rPr>
              <a:t>one responsible case worker</a:t>
            </a: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rPr>
              <a:t>Provided in accordance with established </a:t>
            </a:r>
            <a:r>
              <a:rPr kumimoji="0" lang="en-GB"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Gill Sans Infant Std"/>
              </a:rPr>
              <a:t>step-by-step </a:t>
            </a:r>
            <a:r>
              <a:rPr kumimoji="0" lang="en-GB" b="1" i="0" u="none" strike="noStrike" kern="1200" cap="none" spc="0" normalizeH="0" baseline="0" noProof="0" dirty="0">
                <a:ln>
                  <a:noFill/>
                </a:ln>
                <a:solidFill>
                  <a:srgbClr val="FFFFFF"/>
                </a:solidFill>
                <a:effectLst/>
                <a:uLnTx/>
                <a:uFillTx/>
                <a:latin typeface="Gill Sans MT"/>
                <a:ea typeface="+mn-ea"/>
                <a:cs typeface="Gill Sans Infant Std"/>
              </a:rPr>
              <a:t>process</a:t>
            </a: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Coordination</a:t>
            </a: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 of supports and services within a multi-sectoral referral system</a:t>
            </a:r>
            <a:endParaRPr kumimoji="0" lang="en-GB" b="1" i="0" u="none" strike="noStrike" kern="1200" cap="none" spc="0" normalizeH="0" baseline="0" noProof="0" dirty="0">
              <a:ln>
                <a:noFill/>
              </a:ln>
              <a:solidFill>
                <a:srgbClr val="FFFFFF"/>
              </a:solidFill>
              <a:effectLst/>
              <a:uLnTx/>
              <a:uFillTx/>
              <a:latin typeface="Gill Sans MT"/>
              <a:ea typeface="+mn-ea"/>
              <a:cs typeface="Gill Sans Infant Std"/>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Appropriate</a:t>
            </a:r>
            <a:r>
              <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 = </a:t>
            </a: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in line with a child’s needs</a:t>
            </a: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Systematic</a:t>
            </a:r>
            <a:r>
              <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 = </a:t>
            </a: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in accordance with the defined step-by-step process</a:t>
            </a: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Timely</a:t>
            </a: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 = responding with the appropriate degree of urgency, given the situation of the child.</a:t>
            </a:r>
          </a:p>
          <a:p>
            <a:pPr marL="457200" marR="0" lvl="0" indent="-4572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p:txBody>
      </p:sp>
      <p:pic>
        <p:nvPicPr>
          <p:cNvPr id="2" name="Picture 1"/>
          <p:cNvPicPr>
            <a:picLocks noChangeAspect="1"/>
          </p:cNvPicPr>
          <p:nvPr/>
        </p:nvPicPr>
        <p:blipFill rotWithShape="1">
          <a:blip r:embed="rId3" cstate="email">
            <a:extLst>
              <a:ext uri="{28A0092B-C50C-407E-A947-70E740481C1C}">
                <a14:useLocalDpi xmlns:a14="http://schemas.microsoft.com/office/drawing/2010/main" val="0"/>
              </a:ext>
            </a:extLst>
          </a:blip>
          <a:srcRect l="20477" t="10592" r="10702" b="8882"/>
          <a:stretch/>
        </p:blipFill>
        <p:spPr>
          <a:xfrm>
            <a:off x="1221468" y="4812549"/>
            <a:ext cx="2364695" cy="1844608"/>
          </a:xfrm>
          <a:prstGeom prst="rect">
            <a:avLst/>
          </a:prstGeom>
        </p:spPr>
      </p:pic>
      <p:sp>
        <p:nvSpPr>
          <p:cNvPr id="7" name="TextBox 6">
            <a:extLst>
              <a:ext uri="{FF2B5EF4-FFF2-40B4-BE49-F238E27FC236}">
                <a16:creationId xmlns:a16="http://schemas.microsoft.com/office/drawing/2014/main" id="{D28966DB-EBF7-4876-A285-160240E24B67}"/>
              </a:ext>
            </a:extLst>
          </p:cNvPr>
          <p:cNvSpPr txBox="1"/>
          <p:nvPr/>
        </p:nvSpPr>
        <p:spPr>
          <a:xfrm>
            <a:off x="431571" y="860400"/>
            <a:ext cx="4389900" cy="3779881"/>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တဦးခ်င္းစ</a:t>
            </a:r>
            <a:r>
              <a:rPr lang="en-US" sz="1500" dirty="0">
                <a:latin typeface="Zawgyi-One" panose="020B0604030504040204" pitchFamily="34" charset="0"/>
                <a:cs typeface="Zawgyi-One" panose="020B0604030504040204" pitchFamily="34" charset="0"/>
              </a:rPr>
              <a:t>ီႏွင့္ </a:t>
            </a:r>
            <a:r>
              <a:rPr lang="en-US" sz="1500" dirty="0" err="1">
                <a:latin typeface="Zawgyi-One" panose="020B0604030504040204" pitchFamily="34" charset="0"/>
                <a:cs typeface="Zawgyi-One" panose="020B0604030504040204" pitchFamily="34" charset="0"/>
              </a:rPr>
              <a:t>မိသားစုကိုသာ</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အာရံုစိုက</a:t>
            </a:r>
            <a:r>
              <a:rPr lang="en-US" sz="1500" dirty="0">
                <a:latin typeface="Zawgyi-One" panose="020B0604030504040204" pitchFamily="34" charset="0"/>
                <a:cs typeface="Zawgyi-One" panose="020B0604030504040204" pitchFamily="34" charset="0"/>
              </a:rPr>
              <a:t>္ၿ</a:t>
            </a:r>
            <a:r>
              <a:rPr lang="en-US" sz="1500" dirty="0" err="1">
                <a:latin typeface="Zawgyi-One" panose="020B0604030504040204" pitchFamily="34" charset="0"/>
                <a:cs typeface="Zawgyi-One" panose="020B0604030504040204" pitchFamily="34" charset="0"/>
              </a:rPr>
              <a:t>ခင္း</a:t>
            </a:r>
            <a:r>
              <a:rPr lang="en-US" sz="1500" dirty="0">
                <a:latin typeface="Zawgyi-One" panose="020B0604030504040204" pitchFamily="34" charset="0"/>
                <a:cs typeface="Zawgyi-One" panose="020B0604030504040204" pitchFamily="34" charset="0"/>
              </a:rPr>
              <a:t>။</a:t>
            </a:r>
            <a:endPar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en-US" sz="1500" dirty="0">
                <a:latin typeface="Zawgyi-One" panose="020B0604030504040204" pitchFamily="34" charset="0"/>
                <a:cs typeface="Zawgyi-One" panose="020B0604030504040204" pitchFamily="34" charset="0"/>
              </a:rPr>
              <a:t>တာ၀န္ယူထားေသာ ၿ</a:t>
            </a:r>
            <a:r>
              <a:rPr lang="en-US" sz="1500" dirty="0" err="1">
                <a:latin typeface="Zawgyi-One" panose="020B0604030504040204" pitchFamily="34" charset="0"/>
                <a:cs typeface="Zawgyi-One" panose="020B0604030504040204" pitchFamily="34" charset="0"/>
              </a:rPr>
              <a:t>ဖစ္ရပ္စီမံခန</a:t>
            </a:r>
            <a:r>
              <a:rPr lang="en-US" sz="1500" dirty="0">
                <a:latin typeface="Zawgyi-One" panose="020B0604030504040204" pitchFamily="34" charset="0"/>
                <a:cs typeface="Zawgyi-One" panose="020B0604030504040204" pitchFamily="34" charset="0"/>
              </a:rPr>
              <a:t>္႔</a:t>
            </a:r>
            <a:r>
              <a:rPr lang="en-US" sz="1500" dirty="0" err="1">
                <a:latin typeface="Zawgyi-One" panose="020B0604030504040204" pitchFamily="34" charset="0"/>
                <a:cs typeface="Zawgyi-One" panose="020B0604030504040204" pitchFamily="34" charset="0"/>
              </a:rPr>
              <a:t>ခြဲသူမ</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ထာက္ပံ့ေပးၿခင္း</a:t>
            </a:r>
            <a:r>
              <a:rPr lang="en-US" sz="1500" dirty="0">
                <a:latin typeface="Zawgyi-One" panose="020B0604030504040204" pitchFamily="34" charset="0"/>
                <a:cs typeface="Zawgyi-One" panose="020B0604030504040204" pitchFamily="34" charset="0"/>
              </a:rPr>
              <a:t>။</a:t>
            </a:r>
            <a:endPar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en-GB" sz="1500" noProof="0" dirty="0" err="1">
                <a:latin typeface="Zawgyi-One" panose="020B0604030504040204" pitchFamily="34" charset="0"/>
                <a:cs typeface="Zawgyi-One" panose="020B0604030504040204" pitchFamily="34" charset="0"/>
              </a:rPr>
              <a:t>က႑ေပါင္းစံုညႊန္းပို႕မႈစနစ္အတြင္းရွိေသာ</a:t>
            </a:r>
            <a:r>
              <a:rPr lang="en-GB" sz="1500" noProof="0" dirty="0">
                <a:latin typeface="Zawgyi-One" panose="020B0604030504040204" pitchFamily="34" charset="0"/>
                <a:cs typeface="Zawgyi-One" panose="020B0604030504040204" pitchFamily="34" charset="0"/>
              </a:rPr>
              <a:t> ၀န္ေဆာင္မႈႏွင့္ </a:t>
            </a:r>
            <a:r>
              <a:rPr lang="en-GB" sz="1500" noProof="0" dirty="0" err="1">
                <a:latin typeface="Zawgyi-One" panose="020B0604030504040204" pitchFamily="34" charset="0"/>
                <a:cs typeface="Zawgyi-One" panose="020B0604030504040204" pitchFamily="34" charset="0"/>
              </a:rPr>
              <a:t>ေထာက္ပံ့မႈမ်ားကို</a:t>
            </a:r>
            <a:r>
              <a:rPr lang="en-GB" sz="1500" noProof="0" dirty="0">
                <a:latin typeface="Zawgyi-One" panose="020B0604030504040204" pitchFamily="34" charset="0"/>
                <a:cs typeface="Zawgyi-One" panose="020B0604030504040204" pitchFamily="34" charset="0"/>
              </a:rPr>
              <a:t> ေ</a:t>
            </a:r>
            <a:r>
              <a:rPr lang="en-GB" sz="1500" dirty="0" err="1">
                <a:latin typeface="Zawgyi-One" panose="020B0604030504040204" pitchFamily="34" charset="0"/>
                <a:cs typeface="Zawgyi-One" panose="020B0604030504040204" pitchFamily="34" charset="0"/>
              </a:rPr>
              <a:t>ပါင္းစပ္ညွိႏိႈင္းၿခင္း</a:t>
            </a:r>
            <a:r>
              <a:rPr lang="en-GB" sz="1500" dirty="0">
                <a:latin typeface="Zawgyi-One" panose="020B0604030504040204" pitchFamily="34" charset="0"/>
                <a:cs typeface="Zawgyi-One" panose="020B0604030504040204" pitchFamily="34" charset="0"/>
              </a:rPr>
              <a:t>။</a:t>
            </a:r>
            <a:endPar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en-US" sz="1500" dirty="0" err="1">
                <a:latin typeface="Zawgyi-One" panose="020B0604030504040204" pitchFamily="34" charset="0"/>
                <a:cs typeface="Zawgyi-One" panose="020B0604030504040204" pitchFamily="34" charset="0"/>
              </a:rPr>
              <a:t>သင</a:t>
            </a:r>
            <a:r>
              <a:rPr lang="en-US" sz="1500" dirty="0">
                <a:latin typeface="Zawgyi-One" panose="020B0604030504040204" pitchFamily="34" charset="0"/>
                <a:cs typeface="Zawgyi-One" panose="020B0604030504040204" pitchFamily="34" charset="0"/>
              </a:rPr>
              <a:t>့္</a:t>
            </a:r>
            <a:r>
              <a:rPr lang="en-US" sz="1500" dirty="0" err="1">
                <a:latin typeface="Zawgyi-One" panose="020B0604030504040204" pitchFamily="34" charset="0"/>
                <a:cs typeface="Zawgyi-One" panose="020B0604030504040204" pitchFamily="34" charset="0"/>
              </a:rPr>
              <a:t>ေလ</a:t>
            </a:r>
            <a:r>
              <a:rPr lang="en-US" sz="1500" dirty="0">
                <a:latin typeface="Zawgyi-One" panose="020B0604030504040204" pitchFamily="34" charset="0"/>
                <a:cs typeface="Zawgyi-One" panose="020B0604030504040204" pitchFamily="34" charset="0"/>
              </a:rPr>
              <a:t>ၽွ်</a:t>
            </a:r>
            <a:r>
              <a:rPr lang="en-US" sz="1500" dirty="0" err="1">
                <a:latin typeface="Zawgyi-One" panose="020B0604030504040204" pitchFamily="34" charset="0"/>
                <a:cs typeface="Zawgyi-One" panose="020B0604030504040204" pitchFamily="34" charset="0"/>
              </a:rPr>
              <a:t>ာ္ေသာ</a:t>
            </a:r>
            <a:r>
              <a:rPr lang="en-US" sz="1500" dirty="0">
                <a:latin typeface="Zawgyi-One" panose="020B0604030504040204" pitchFamily="34" charset="0"/>
                <a:cs typeface="Zawgyi-One" panose="020B0604030504040204" pitchFamily="34" charset="0"/>
              </a:rPr>
              <a:t> - </a:t>
            </a:r>
            <a:r>
              <a:rPr lang="en-US" sz="1500" dirty="0" err="1">
                <a:latin typeface="Zawgyi-One" panose="020B0604030504040204" pitchFamily="34" charset="0"/>
                <a:cs typeface="Zawgyi-One" panose="020B0604030504040204" pitchFamily="34" charset="0"/>
              </a:rPr>
              <a:t>ကေလး၏လိုအပ္ခ်က</a:t>
            </a:r>
            <a:r>
              <a:rPr lang="en-US" sz="1500" dirty="0">
                <a:latin typeface="Zawgyi-One" panose="020B0604030504040204" pitchFamily="34" charset="0"/>
                <a:cs typeface="Zawgyi-One" panose="020B0604030504040204" pitchFamily="34" charset="0"/>
              </a:rPr>
              <a:t>္ႏွင့္ </a:t>
            </a:r>
            <a:r>
              <a:rPr lang="en-US" sz="1500" dirty="0" err="1">
                <a:latin typeface="Zawgyi-One" panose="020B0604030504040204" pitchFamily="34" charset="0"/>
                <a:cs typeface="Zawgyi-One" panose="020B0604030504040204" pitchFamily="34" charset="0"/>
              </a:rPr>
              <a:t>အညီ</a:t>
            </a:r>
            <a:endPar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စနစ္တက</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 </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တ္မွတ္ထားေသာ</a:t>
            </a:r>
            <a:r>
              <a:rPr kumimoji="0" lang="en-US" sz="1500" i="0" u="none" strike="noStrike" kern="1200" cap="none" spc="0" normalizeH="0" noProof="0" dirty="0">
                <a:ln>
                  <a:noFill/>
                </a:ln>
                <a:effectLst/>
                <a:uLnTx/>
                <a:uFillTx/>
                <a:latin typeface="Zawgyi-One" panose="020B0604030504040204" pitchFamily="34" charset="0"/>
                <a:cs typeface="Zawgyi-One" panose="020B0604030504040204" pitchFamily="34" charset="0"/>
              </a:rPr>
              <a:t> </a:t>
            </a:r>
            <a:r>
              <a:rPr kumimoji="0" lang="en-US"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လုပ္ငန္းစဥ</a:t>
            </a:r>
            <a:r>
              <a:rPr kumimoji="0" lang="en-US" sz="1500" i="0" u="none" strike="noStrike" kern="1200" cap="none" spc="0" normalizeH="0" noProof="0" dirty="0">
                <a:ln>
                  <a:noFill/>
                </a:ln>
                <a:effectLst/>
                <a:uLnTx/>
                <a:uFillTx/>
                <a:latin typeface="Zawgyi-One" panose="020B0604030504040204" pitchFamily="34" charset="0"/>
                <a:cs typeface="Zawgyi-One" panose="020B0604030504040204" pitchFamily="34" charset="0"/>
              </a:rPr>
              <a:t>္ </a:t>
            </a:r>
            <a:r>
              <a:rPr kumimoji="0" lang="en-US"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တဆင</a:t>
            </a:r>
            <a:r>
              <a:rPr kumimoji="0" lang="en-US" sz="1500" i="0" u="none" strike="noStrike" kern="1200" cap="none" spc="0" normalizeH="0" noProof="0" dirty="0">
                <a:ln>
                  <a:noFill/>
                </a:ln>
                <a:effectLst/>
                <a:uLnTx/>
                <a:uFillTx/>
                <a:latin typeface="Zawgyi-One" panose="020B0604030504040204" pitchFamily="34" charset="0"/>
                <a:cs typeface="Zawgyi-One" panose="020B0604030504040204" pitchFamily="34" charset="0"/>
              </a:rPr>
              <a:t>့္</a:t>
            </a:r>
            <a:r>
              <a:rPr kumimoji="0" lang="en-US"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ခ်င္းစီအလိုက</a:t>
            </a:r>
            <a:r>
              <a:rPr kumimoji="0" lang="en-US" sz="1500" i="0" u="none" strike="noStrike" kern="1200" cap="none" spc="0" normalizeH="0" noProof="0" dirty="0">
                <a:ln>
                  <a:noFill/>
                </a:ln>
                <a:effectLst/>
                <a:uLnTx/>
                <a:uFillTx/>
                <a:latin typeface="Zawgyi-One" panose="020B0604030504040204" pitchFamily="34" charset="0"/>
                <a:cs typeface="Zawgyi-One" panose="020B0604030504040204" pitchFamily="34" charset="0"/>
              </a:rPr>
              <a:t>္ႏွင့္ </a:t>
            </a:r>
            <a:r>
              <a:rPr kumimoji="0" lang="en-US"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အည</a:t>
            </a:r>
            <a:r>
              <a:rPr lang="en-US" sz="1500" dirty="0" err="1">
                <a:latin typeface="Zawgyi-One" panose="020B0604030504040204" pitchFamily="34" charset="0"/>
                <a:cs typeface="Zawgyi-One" panose="020B0604030504040204" pitchFamily="34" charset="0"/>
              </a:rPr>
              <a:t>ီေဆာင္ရြက</a:t>
            </a:r>
            <a:r>
              <a:rPr lang="en-US" sz="1500" dirty="0">
                <a:latin typeface="Zawgyi-One" panose="020B0604030504040204" pitchFamily="34" charset="0"/>
                <a:cs typeface="Zawgyi-One" panose="020B0604030504040204" pitchFamily="34" charset="0"/>
              </a:rPr>
              <a:t>္ၿ</a:t>
            </a:r>
            <a:r>
              <a:rPr lang="en-US" sz="1500" dirty="0" err="1">
                <a:latin typeface="Zawgyi-One" panose="020B0604030504040204" pitchFamily="34" charset="0"/>
                <a:cs typeface="Zawgyi-One" panose="020B0604030504040204" pitchFamily="34" charset="0"/>
              </a:rPr>
              <a:t>ခင္း</a:t>
            </a:r>
            <a:r>
              <a:rPr lang="en-US" sz="1500" dirty="0">
                <a:latin typeface="Zawgyi-One" panose="020B0604030504040204" pitchFamily="34" charset="0"/>
                <a:cs typeface="Zawgyi-One" panose="020B0604030504040204" pitchFamily="34" charset="0"/>
              </a:rPr>
              <a:t>။</a:t>
            </a:r>
            <a:endPar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GB"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ခ်ိန</a:t>
            </a:r>
            <a:r>
              <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a:t>
            </a:r>
            <a:r>
              <a:rPr kumimoji="0" lang="en-GB"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တေၿပးညီ</a:t>
            </a:r>
            <a:r>
              <a:rPr kumimoji="0" lang="en-GB" sz="1500" i="0" u="none" strike="noStrike" kern="1200" cap="none" spc="0" normalizeH="0" noProof="0" dirty="0">
                <a:ln>
                  <a:noFill/>
                </a:ln>
                <a:effectLst/>
                <a:uLnTx/>
                <a:uFillTx/>
                <a:latin typeface="Zawgyi-One" panose="020B0604030504040204" pitchFamily="34" charset="0"/>
                <a:cs typeface="Zawgyi-One" panose="020B0604030504040204" pitchFamily="34" charset="0"/>
              </a:rPr>
              <a:t> - </a:t>
            </a:r>
            <a:r>
              <a:rPr kumimoji="0" lang="en-GB"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ကေလး</a:t>
            </a:r>
            <a:r>
              <a:rPr lang="en-GB" sz="1500" dirty="0">
                <a:latin typeface="Zawgyi-One" panose="020B0604030504040204" pitchFamily="34" charset="0"/>
                <a:cs typeface="Zawgyi-One" panose="020B0604030504040204" pitchFamily="34" charset="0"/>
              </a:rPr>
              <a:t>၏</a:t>
            </a:r>
            <a:r>
              <a:rPr lang="en-GB" sz="1500" dirty="0" err="1">
                <a:latin typeface="Zawgyi-One" panose="020B0604030504040204" pitchFamily="34" charset="0"/>
                <a:cs typeface="Zawgyi-One" panose="020B0604030504040204" pitchFamily="34" charset="0"/>
              </a:rPr>
              <a:t>အေၿခအေနအရ</a:t>
            </a:r>
            <a:r>
              <a:rPr lang="en-GB" sz="1500" dirty="0">
                <a:latin typeface="Zawgyi-One" panose="020B0604030504040204" pitchFamily="34" charset="0"/>
                <a:cs typeface="Zawgyi-One" panose="020B0604030504040204" pitchFamily="34" charset="0"/>
              </a:rPr>
              <a:t> </a:t>
            </a:r>
            <a:r>
              <a:rPr kumimoji="0" lang="en-GB"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င္ေလ်ာ္ေသာ</a:t>
            </a:r>
            <a:r>
              <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ရး</a:t>
            </a:r>
            <a:r>
              <a:rPr lang="en-GB" sz="1500" dirty="0">
                <a:latin typeface="Zawgyi-One" panose="020B0604030504040204" pitchFamily="34" charset="0"/>
                <a:cs typeface="Zawgyi-One" panose="020B0604030504040204" pitchFamily="34" charset="0"/>
              </a:rPr>
              <a:t>ၾ</a:t>
            </a:r>
            <a:r>
              <a:rPr lang="en-GB" sz="1500" dirty="0" err="1">
                <a:latin typeface="Zawgyi-One" panose="020B0604030504040204" pitchFamily="34" charset="0"/>
                <a:cs typeface="Zawgyi-One" panose="020B0604030504040204" pitchFamily="34" charset="0"/>
              </a:rPr>
              <a:t>ကီးမ</a:t>
            </a:r>
            <a:r>
              <a:rPr lang="en-GB" sz="1500" dirty="0">
                <a:latin typeface="Zawgyi-One" panose="020B0604030504040204" pitchFamily="34" charset="0"/>
                <a:cs typeface="Zawgyi-One" panose="020B0604030504040204" pitchFamily="34" charset="0"/>
              </a:rPr>
              <a:t>ႈ</a:t>
            </a:r>
            <a:r>
              <a:rPr kumimoji="0" lang="en-GB"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ဆင</a:t>
            </a:r>
            <a:r>
              <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a:t>
            </a:r>
            <a:r>
              <a:rPr kumimoji="0" lang="en-GB"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တူ</a:t>
            </a:r>
            <a:r>
              <a:rPr kumimoji="0" lang="en-GB" sz="1500" i="0" u="none" strike="noStrike" kern="1200" cap="none" spc="0" normalizeH="0" noProof="0" dirty="0">
                <a:ln>
                  <a:noFill/>
                </a:ln>
                <a:effectLst/>
                <a:uLnTx/>
                <a:uFillTx/>
                <a:latin typeface="Zawgyi-One" panose="020B0604030504040204" pitchFamily="34" charset="0"/>
                <a:cs typeface="Zawgyi-One" panose="020B0604030504040204" pitchFamily="34" charset="0"/>
              </a:rPr>
              <a:t> </a:t>
            </a:r>
            <a:r>
              <a:rPr kumimoji="0" lang="en-GB"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တုံ</a:t>
            </a:r>
            <a:r>
              <a:rPr kumimoji="0" lang="en-GB" sz="1500" i="0" u="none" strike="noStrike" kern="1200" cap="none" spc="0" normalizeH="0" noProof="0" dirty="0">
                <a:ln>
                  <a:noFill/>
                </a:ln>
                <a:effectLst/>
                <a:uLnTx/>
                <a:uFillTx/>
                <a:latin typeface="Zawgyi-One" panose="020B0604030504040204" pitchFamily="34" charset="0"/>
                <a:cs typeface="Zawgyi-One" panose="020B0604030504040204" pitchFamily="34" charset="0"/>
              </a:rPr>
              <a:t>႔ၿ</a:t>
            </a:r>
            <a:r>
              <a:rPr kumimoji="0" lang="en-GB"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ပန္ေဆာင္ရြက</a:t>
            </a:r>
            <a:r>
              <a:rPr kumimoji="0" lang="en-GB" sz="1500" i="0" u="none" strike="noStrike" kern="1200" cap="none" spc="0" normalizeH="0" noProof="0" dirty="0">
                <a:ln>
                  <a:noFill/>
                </a:ln>
                <a:effectLst/>
                <a:uLnTx/>
                <a:uFillTx/>
                <a:latin typeface="Zawgyi-One" panose="020B0604030504040204" pitchFamily="34" charset="0"/>
                <a:cs typeface="Zawgyi-One" panose="020B0604030504040204" pitchFamily="34" charset="0"/>
              </a:rPr>
              <a:t>္ၿ</a:t>
            </a:r>
            <a:r>
              <a:rPr kumimoji="0" lang="en-GB" sz="1500" i="0" u="none" strike="noStrike" kern="1200" cap="none" spc="0" normalizeH="0" noProof="0" dirty="0" err="1">
                <a:ln>
                  <a:noFill/>
                </a:ln>
                <a:effectLst/>
                <a:uLnTx/>
                <a:uFillTx/>
                <a:latin typeface="Zawgyi-One" panose="020B0604030504040204" pitchFamily="34" charset="0"/>
                <a:cs typeface="Zawgyi-One" panose="020B0604030504040204" pitchFamily="34" charset="0"/>
              </a:rPr>
              <a:t>ခင္း</a:t>
            </a:r>
            <a:r>
              <a:rPr kumimoji="0" lang="en-GB" sz="1500" i="0" u="none" strike="noStrike" kern="1200" cap="none" spc="0" normalizeH="0" noProof="0" dirty="0">
                <a:ln>
                  <a:noFill/>
                </a:ln>
                <a:effectLst/>
                <a:uLnTx/>
                <a:uFillTx/>
                <a:latin typeface="Zawgyi-One" panose="020B0604030504040204" pitchFamily="34" charset="0"/>
                <a:cs typeface="Zawgyi-One" panose="020B0604030504040204" pitchFamily="34" charset="0"/>
              </a:rPr>
              <a:t>။</a:t>
            </a:r>
            <a:endPar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25051048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24634" y="914400"/>
            <a:ext cx="8414566" cy="46376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Gill Sans Infant Std"/>
              <a:ea typeface="+mn-ea"/>
              <a:cs typeface="Gill Sans Infant Std"/>
            </a:endParaRPr>
          </a:p>
        </p:txBody>
      </p:sp>
      <p:sp>
        <p:nvSpPr>
          <p:cNvPr id="2" name="Title 1"/>
          <p:cNvSpPr>
            <a:spLocks noGrp="1"/>
          </p:cNvSpPr>
          <p:nvPr>
            <p:ph type="title"/>
          </p:nvPr>
        </p:nvSpPr>
        <p:spPr>
          <a:xfrm>
            <a:off x="424634" y="202995"/>
            <a:ext cx="8282640" cy="983406"/>
          </a:xfrm>
        </p:spPr>
        <p:txBody>
          <a:bodyPr>
            <a:normAutofit/>
          </a:bodyPr>
          <a:lstStyle/>
          <a:p>
            <a:r>
              <a:rPr lang="en-GB" dirty="0"/>
              <a:t>The Six Steps in the </a:t>
            </a:r>
            <a:br>
              <a:rPr lang="en-GB" dirty="0"/>
            </a:br>
            <a:r>
              <a:rPr lang="en-GB" dirty="0"/>
              <a:t>case management process</a:t>
            </a:r>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val="0"/>
              </a:ext>
            </a:extLst>
          </a:blip>
          <a:srcRect r="11076" b="15057"/>
          <a:stretch/>
        </p:blipFill>
        <p:spPr>
          <a:xfrm>
            <a:off x="1143000" y="2156739"/>
            <a:ext cx="7397496" cy="3886200"/>
          </a:xfrm>
          <a:prstGeom prst="rect">
            <a:avLst/>
          </a:prstGeom>
        </p:spPr>
      </p:pic>
      <p:sp>
        <p:nvSpPr>
          <p:cNvPr id="7" name="TextBox 6"/>
          <p:cNvSpPr txBox="1"/>
          <p:nvPr/>
        </p:nvSpPr>
        <p:spPr>
          <a:xfrm>
            <a:off x="424634" y="4382003"/>
            <a:ext cx="1676400" cy="24622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22221"/>
                </a:solidFill>
                <a:effectLst/>
                <a:uLnTx/>
                <a:uFillTx/>
                <a:latin typeface="Gill Sans Infant Std"/>
                <a:ea typeface="+mn-ea"/>
                <a:cs typeface="Gill Sans Infant Std"/>
              </a:rPr>
              <a:t>Identification</a:t>
            </a:r>
          </a:p>
        </p:txBody>
      </p:sp>
      <p:sp>
        <p:nvSpPr>
          <p:cNvPr id="8" name="TextBox 7"/>
          <p:cNvSpPr txBox="1"/>
          <p:nvPr/>
        </p:nvSpPr>
        <p:spPr>
          <a:xfrm>
            <a:off x="1905000" y="3751405"/>
            <a:ext cx="1676400" cy="24622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22221"/>
                </a:solidFill>
                <a:effectLst/>
                <a:uLnTx/>
                <a:uFillTx/>
                <a:latin typeface="Gill Sans Infant Std"/>
                <a:ea typeface="+mn-ea"/>
                <a:cs typeface="Gill Sans Infant Std"/>
              </a:rPr>
              <a:t>Assessment</a:t>
            </a:r>
          </a:p>
        </p:txBody>
      </p:sp>
      <p:sp>
        <p:nvSpPr>
          <p:cNvPr id="9" name="TextBox 8"/>
          <p:cNvSpPr txBox="1"/>
          <p:nvPr/>
        </p:nvSpPr>
        <p:spPr>
          <a:xfrm>
            <a:off x="3092245" y="2962574"/>
            <a:ext cx="1066800" cy="49244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22221"/>
                </a:solidFill>
                <a:effectLst/>
                <a:uLnTx/>
                <a:uFillTx/>
                <a:latin typeface="Gill Sans Infant Std"/>
                <a:ea typeface="+mn-ea"/>
                <a:cs typeface="Gill Sans Infant Std"/>
              </a:rPr>
              <a:t>Cas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22221"/>
                </a:solidFill>
                <a:effectLst/>
                <a:uLnTx/>
                <a:uFillTx/>
                <a:latin typeface="Gill Sans Infant Std"/>
                <a:ea typeface="+mn-ea"/>
                <a:cs typeface="Gill Sans Infant Std"/>
              </a:rPr>
              <a:t> Planning</a:t>
            </a:r>
          </a:p>
        </p:txBody>
      </p:sp>
      <p:sp>
        <p:nvSpPr>
          <p:cNvPr id="10" name="TextBox 9"/>
          <p:cNvSpPr txBox="1"/>
          <p:nvPr/>
        </p:nvSpPr>
        <p:spPr>
          <a:xfrm>
            <a:off x="5486400" y="1875292"/>
            <a:ext cx="1676400" cy="24622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22221"/>
                </a:solidFill>
                <a:effectLst/>
                <a:uLnTx/>
                <a:uFillTx/>
                <a:latin typeface="Gill Sans Infant Std"/>
                <a:ea typeface="+mn-ea"/>
                <a:cs typeface="Gill Sans Infant Std"/>
              </a:rPr>
              <a:t>Review</a:t>
            </a:r>
          </a:p>
        </p:txBody>
      </p:sp>
      <p:sp>
        <p:nvSpPr>
          <p:cNvPr id="11" name="TextBox 10"/>
          <p:cNvSpPr txBox="1"/>
          <p:nvPr/>
        </p:nvSpPr>
        <p:spPr>
          <a:xfrm>
            <a:off x="3625645" y="2429170"/>
            <a:ext cx="1676400" cy="24622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22221"/>
                </a:solidFill>
                <a:effectLst/>
                <a:uLnTx/>
                <a:uFillTx/>
                <a:latin typeface="Gill Sans Infant Std"/>
                <a:ea typeface="+mn-ea"/>
                <a:cs typeface="Gill Sans Infant Std"/>
              </a:rPr>
              <a:t>Implementation</a:t>
            </a:r>
          </a:p>
        </p:txBody>
      </p:sp>
      <p:sp>
        <p:nvSpPr>
          <p:cNvPr id="13" name="Right Arrow 12"/>
          <p:cNvSpPr/>
          <p:nvPr/>
        </p:nvSpPr>
        <p:spPr>
          <a:xfrm rot="19577543">
            <a:off x="3034626" y="4424178"/>
            <a:ext cx="5587292" cy="408090"/>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Gill Sans Infant Std"/>
              <a:ea typeface="+mn-ea"/>
              <a:cs typeface="Gill Sans Infant Std"/>
            </a:endParaRPr>
          </a:p>
        </p:txBody>
      </p:sp>
      <p:sp>
        <p:nvSpPr>
          <p:cNvPr id="14" name="Right Arrow 13"/>
          <p:cNvSpPr/>
          <p:nvPr/>
        </p:nvSpPr>
        <p:spPr>
          <a:xfrm rot="19577543">
            <a:off x="802611" y="1794357"/>
            <a:ext cx="5587292" cy="408090"/>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Gill Sans Infant Std"/>
              <a:ea typeface="+mn-ea"/>
              <a:cs typeface="Gill Sans Infant Std"/>
            </a:endParaRPr>
          </a:p>
        </p:txBody>
      </p:sp>
      <p:pic>
        <p:nvPicPr>
          <p:cNvPr id="4" name="Picture 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171177" y="278313"/>
            <a:ext cx="1185823" cy="1872352"/>
          </a:xfrm>
          <a:prstGeom prst="rect">
            <a:avLst/>
          </a:prstGeom>
        </p:spPr>
      </p:pic>
      <p:sp>
        <p:nvSpPr>
          <p:cNvPr id="12" name="TextBox 11"/>
          <p:cNvSpPr txBox="1"/>
          <p:nvPr/>
        </p:nvSpPr>
        <p:spPr>
          <a:xfrm>
            <a:off x="6520703" y="1284625"/>
            <a:ext cx="1170252" cy="49244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22221"/>
                </a:solidFill>
                <a:effectLst/>
                <a:uLnTx/>
                <a:uFillTx/>
                <a:latin typeface="Gill Sans Infant Std"/>
                <a:ea typeface="+mn-ea"/>
                <a:cs typeface="Gill Sans Infant Std"/>
              </a:rPr>
              <a:t>Case Closure</a:t>
            </a:r>
          </a:p>
        </p:txBody>
      </p:sp>
    </p:spTree>
    <p:extLst>
      <p:ext uri="{BB962C8B-B14F-4D97-AF65-F5344CB8AC3E}">
        <p14:creationId xmlns:p14="http://schemas.microsoft.com/office/powerpoint/2010/main" val="3843773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11" grpId="0"/>
      <p:bldP spid="1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algn="ctr"/>
            <a:endParaRPr lang="en-US" dirty="0"/>
          </a:p>
        </p:txBody>
      </p:sp>
      <p:sp>
        <p:nvSpPr>
          <p:cNvPr id="4" name="Slide Number Placeholder 3"/>
          <p:cNvSpPr>
            <a:spLocks noGrp="1"/>
          </p:cNvSpPr>
          <p:nvPr>
            <p:ph type="sldNum" sz="quarter" idx="12"/>
          </p:nvPr>
        </p:nvSpPr>
        <p:spPr/>
        <p:txBody>
          <a:bodyPr/>
          <a:lstStyle/>
          <a:p>
            <a:fld id="{C3FDE51E-0052-334C-A4B2-C567FE9F326F}" type="slidenum">
              <a:rPr lang="en-US" smtClean="0"/>
              <a:t>38</a:t>
            </a:fld>
            <a:endParaRPr lang="en-US"/>
          </a:p>
        </p:txBody>
      </p:sp>
      <p:sp>
        <p:nvSpPr>
          <p:cNvPr id="6" name="Title 1"/>
          <p:cNvSpPr txBox="1">
            <a:spLocks/>
          </p:cNvSpPr>
          <p:nvPr/>
        </p:nvSpPr>
        <p:spPr bwMode="auto">
          <a:xfrm>
            <a:off x="394317" y="2286000"/>
            <a:ext cx="844488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algn="ctr">
              <a:spcBef>
                <a:spcPct val="0"/>
              </a:spcBef>
              <a:buClrTx/>
              <a:buFontTx/>
              <a:buNone/>
            </a:pPr>
            <a:r>
              <a:rPr lang="en-US" altLang="en-US" sz="4400" b="1" dirty="0">
                <a:latin typeface="+mj-lt"/>
              </a:rPr>
              <a:t>What can you do?</a:t>
            </a:r>
          </a:p>
        </p:txBody>
      </p:sp>
    </p:spTree>
    <p:extLst>
      <p:ext uri="{BB962C8B-B14F-4D97-AF65-F5344CB8AC3E}">
        <p14:creationId xmlns:p14="http://schemas.microsoft.com/office/powerpoint/2010/main" val="39780656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0680" y="407500"/>
            <a:ext cx="8282640" cy="506900"/>
          </a:xfrm>
        </p:spPr>
        <p:txBody>
          <a:bodyPr>
            <a:normAutofit/>
          </a:bodyPr>
          <a:lstStyle/>
          <a:p>
            <a:r>
              <a:rPr lang="en-GB" dirty="0"/>
              <a:t>The role of case workers </a:t>
            </a:r>
          </a:p>
        </p:txBody>
      </p:sp>
      <p:sp>
        <p:nvSpPr>
          <p:cNvPr id="3" name="Content Placeholder 2"/>
          <p:cNvSpPr>
            <a:spLocks noGrp="1"/>
          </p:cNvSpPr>
          <p:nvPr>
            <p:ph idx="1"/>
          </p:nvPr>
        </p:nvSpPr>
        <p:spPr>
          <a:xfrm>
            <a:off x="424634" y="4356631"/>
            <a:ext cx="8276127" cy="1586969"/>
          </a:xfrm>
        </p:spPr>
        <p:txBody>
          <a:bodyPr/>
          <a:lstStyle/>
          <a:p>
            <a:pPr marL="285750" indent="-285750">
              <a:buFont typeface="Arial" panose="020B0604020202020204" pitchFamily="34" charset="0"/>
              <a:buChar char="•"/>
            </a:pPr>
            <a:r>
              <a:rPr lang="en-GB" sz="1600" b="0" dirty="0">
                <a:solidFill>
                  <a:schemeClr val="tx1"/>
                </a:solidFill>
              </a:rPr>
              <a:t>Caseworkers work in collaboration with service providers (health workers, doctors etc.) </a:t>
            </a:r>
          </a:p>
          <a:p>
            <a:pPr marL="285750" indent="-285750">
              <a:buFont typeface="Arial" panose="020B0604020202020204" pitchFamily="34" charset="0"/>
              <a:buChar char="•"/>
            </a:pPr>
            <a:r>
              <a:rPr lang="en-GB" sz="1600" b="0" dirty="0">
                <a:solidFill>
                  <a:schemeClr val="tx1"/>
                </a:solidFill>
              </a:rPr>
              <a:t>Will take referrals, for children considered to be at risk</a:t>
            </a:r>
          </a:p>
          <a:p>
            <a:pPr marL="285750" indent="-285750">
              <a:buFont typeface="Arial" panose="020B0604020202020204" pitchFamily="34" charset="0"/>
              <a:buChar char="•"/>
            </a:pPr>
            <a:r>
              <a:rPr lang="en-GB" sz="1600" b="0" dirty="0">
                <a:solidFill>
                  <a:schemeClr val="tx1"/>
                </a:solidFill>
              </a:rPr>
              <a:t>Invite volunteers to contribute to the assessment and planning for a child in case management </a:t>
            </a:r>
          </a:p>
          <a:p>
            <a:pPr marL="285750" indent="-285750">
              <a:buFont typeface="Arial" panose="020B0604020202020204" pitchFamily="34" charset="0"/>
              <a:buChar char="•"/>
            </a:pPr>
            <a:r>
              <a:rPr lang="en-GB" sz="1600" b="0" dirty="0">
                <a:solidFill>
                  <a:schemeClr val="tx1"/>
                </a:solidFill>
              </a:rPr>
              <a:t>Caseworkers will refer children and family members for support from service providers </a:t>
            </a:r>
          </a:p>
          <a:p>
            <a:pPr marL="285750" indent="-285750">
              <a:buFont typeface="Arial" panose="020B0604020202020204" pitchFamily="34" charset="0"/>
              <a:buChar char="•"/>
            </a:pPr>
            <a:endParaRPr lang="en-GB" sz="1600" b="0" dirty="0">
              <a:solidFill>
                <a:schemeClr val="tx1"/>
              </a:solidFill>
            </a:endParaRPr>
          </a:p>
          <a:p>
            <a:pPr marL="285750" indent="-285750">
              <a:buFont typeface="Arial" panose="020B0604020202020204" pitchFamily="34" charset="0"/>
              <a:buChar char="•"/>
            </a:pPr>
            <a:endParaRPr lang="en-GB" sz="1600" b="0" dirty="0">
              <a:solidFill>
                <a:schemeClr val="tx1"/>
              </a:solidFill>
            </a:endParaRPr>
          </a:p>
          <a:p>
            <a:r>
              <a:rPr lang="en-US" sz="1100" dirty="0"/>
              <a:t> </a:t>
            </a:r>
            <a:endParaRPr lang="en-GB" sz="1100" dirty="0"/>
          </a:p>
        </p:txBody>
      </p:sp>
      <p:sp>
        <p:nvSpPr>
          <p:cNvPr id="4" name="Date Placeholder 3"/>
          <p:cNvSpPr>
            <a:spLocks noGrp="1"/>
          </p:cNvSpPr>
          <p:nvPr>
            <p:ph type="dt" sz="half" idx="4294967295"/>
          </p:nvPr>
        </p:nvSpPr>
        <p:spPr>
          <a:xfrm>
            <a:off x="6448991" y="6441019"/>
            <a:ext cx="1581319"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221"/>
                </a:solidFill>
                <a:effectLst/>
                <a:uLnTx/>
                <a:uFillTx/>
                <a:latin typeface="Gill Sans Infant Std"/>
                <a:ea typeface="+mn-ea"/>
              </a:rPr>
              <a:t>February 2019</a:t>
            </a: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5" name="Footer Placeholder 4"/>
          <p:cNvSpPr>
            <a:spLocks noGrp="1"/>
          </p:cNvSpPr>
          <p:nvPr>
            <p:ph type="ftr" sz="quarter" idx="4294967295"/>
          </p:nvPr>
        </p:nvSpPr>
        <p:spPr>
          <a:xfrm>
            <a:off x="2525022" y="6441019"/>
            <a:ext cx="3824978" cy="365125"/>
          </a:xfrm>
          <a:prstGeom prst="rect">
            <a:avLst/>
          </a:prstGeo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222221"/>
                </a:solidFill>
                <a:effectLst/>
                <a:uLnTx/>
                <a:uFillTx/>
                <a:latin typeface="Gill Sans Infant Std"/>
                <a:ea typeface="+mn-ea"/>
              </a:rPr>
              <a:t>GOLD Steps to Protect Workshop</a:t>
            </a: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6" name="Slide Number Placeholder 5"/>
          <p:cNvSpPr>
            <a:spLocks noGrp="1"/>
          </p:cNvSpPr>
          <p:nvPr>
            <p:ph type="sldNum" sz="quarter" idx="4294967295"/>
          </p:nvPr>
        </p:nvSpPr>
        <p:spPr>
          <a:xfrm>
            <a:off x="8030310" y="6441019"/>
            <a:ext cx="773723" cy="365125"/>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7" name="TextBox 6">
            <a:extLst>
              <a:ext uri="{FF2B5EF4-FFF2-40B4-BE49-F238E27FC236}">
                <a16:creationId xmlns:a16="http://schemas.microsoft.com/office/drawing/2014/main" id="{22C42C1C-2D8C-437F-9D05-6A5786D4FB11}"/>
              </a:ext>
            </a:extLst>
          </p:cNvPr>
          <p:cNvSpPr txBox="1"/>
          <p:nvPr/>
        </p:nvSpPr>
        <p:spPr>
          <a:xfrm>
            <a:off x="424634" y="1464326"/>
            <a:ext cx="8841017" cy="2394886"/>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en-US" sz="1500" dirty="0">
                <a:latin typeface="Zawgyi-One" panose="020B0604030504040204" pitchFamily="34" charset="0"/>
                <a:cs typeface="Zawgyi-One" panose="020B0604030504040204" pitchFamily="34" charset="0"/>
              </a:rPr>
              <a:t>ျ</a:t>
            </a:r>
            <a:r>
              <a:rPr lang="en-US" sz="1500" dirty="0" err="1">
                <a:latin typeface="Zawgyi-One" panose="020B0604030504040204" pitchFamily="34" charset="0"/>
                <a:cs typeface="Zawgyi-One" panose="020B0604030504040204" pitchFamily="34" charset="0"/>
              </a:rPr>
              <a:t>ဖစ္ရပ္စီမံခန</a:t>
            </a:r>
            <a:r>
              <a:rPr lang="en-US" sz="1500" dirty="0">
                <a:latin typeface="Zawgyi-One" panose="020B0604030504040204" pitchFamily="34" charset="0"/>
                <a:cs typeface="Zawgyi-One" panose="020B0604030504040204" pitchFamily="34" charset="0"/>
              </a:rPr>
              <a:t>္႔</a:t>
            </a:r>
            <a:r>
              <a:rPr lang="en-US" sz="1500" dirty="0" err="1">
                <a:latin typeface="Zawgyi-One" panose="020B0604030504040204" pitchFamily="34" charset="0"/>
                <a:cs typeface="Zawgyi-One" panose="020B0604030504040204" pitchFamily="34" charset="0"/>
              </a:rPr>
              <a:t>ခြဲမႈလုပ္သားသည</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ဝန္ေဆာင္မႈေပးသူမ်ား</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က်န္းမာေရးဝန္ထမ္းမ်ား</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ဆရာဝန္မ်ား</a:t>
            </a:r>
            <a:r>
              <a:rPr lang="en-US" sz="1500" dirty="0">
                <a:latin typeface="Zawgyi-One" panose="020B0604030504040204" pitchFamily="34" charset="0"/>
                <a:cs typeface="Zawgyi-One" panose="020B0604030504040204" pitchFamily="34" charset="0"/>
              </a:rPr>
              <a:t>) ႏွင့္ </a:t>
            </a:r>
            <a:r>
              <a:rPr lang="en-US" sz="1500" dirty="0" err="1">
                <a:latin typeface="Zawgyi-One" panose="020B0604030504040204" pitchFamily="34" charset="0"/>
                <a:cs typeface="Zawgyi-One" panose="020B0604030504040204" pitchFamily="34" charset="0"/>
              </a:rPr>
              <a:t>ေပါင္းစပ္ညွိႏိုင္းေဆာင္ရြက္သည</a:t>
            </a:r>
            <a:r>
              <a:rPr lang="en-US" sz="15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အႏၱ</a:t>
            </a:r>
            <a:r>
              <a:rPr lang="en-US" sz="1500" dirty="0" err="1">
                <a:latin typeface="Zawgyi-One" panose="020B0604030504040204" pitchFamily="34" charset="0"/>
                <a:cs typeface="Zawgyi-One" panose="020B0604030504040204" pitchFamily="34" charset="0"/>
              </a:rPr>
              <a:t>ရယ္ရွိသည္ဟု</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ယူဆရေသာ</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ကေလးမ်ားကုိ</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ညႊန္းပုိ႔မည</a:t>
            </a:r>
            <a:r>
              <a:rPr lang="en-US" sz="15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သူငယ</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ဖစ္ရပ္စီမံခန</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မႈအတြက</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ကဲျဖတ္ဆန္းစစ</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 </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စီအစဥ္ေရးဆြဲျခင္းမ်ားအတြက</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ပါဝင</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င္ရန္အတြက</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စတနာ့ဝန္ထမ္းမ်ားကုိ</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5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ဖိတ္ေခၚမည</a:t>
            </a:r>
            <a:r>
              <a:rPr kumimoji="0" lang="en-US"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Wingdings" panose="05000000000000000000" pitchFamily="2" charset="2"/>
              <a:buChar char="Ø"/>
              <a:tabLst/>
              <a:defRPr/>
            </a:pPr>
            <a:r>
              <a:rPr lang="en-US" sz="1500" dirty="0">
                <a:latin typeface="Zawgyi-One" panose="020B0604030504040204" pitchFamily="34" charset="0"/>
                <a:cs typeface="Zawgyi-One" panose="020B0604030504040204" pitchFamily="34" charset="0"/>
              </a:rPr>
              <a:t>ျ</a:t>
            </a:r>
            <a:r>
              <a:rPr lang="en-US" sz="1500" dirty="0" err="1">
                <a:latin typeface="Zawgyi-One" panose="020B0604030504040204" pitchFamily="34" charset="0"/>
                <a:cs typeface="Zawgyi-One" panose="020B0604030504040204" pitchFamily="34" charset="0"/>
              </a:rPr>
              <a:t>ဖစ္ရပ္စီမံခန</a:t>
            </a:r>
            <a:r>
              <a:rPr lang="en-US" sz="1500" dirty="0">
                <a:latin typeface="Zawgyi-One" panose="020B0604030504040204" pitchFamily="34" charset="0"/>
                <a:cs typeface="Zawgyi-One" panose="020B0604030504040204" pitchFamily="34" charset="0"/>
              </a:rPr>
              <a:t>္႔</a:t>
            </a:r>
            <a:r>
              <a:rPr lang="en-US" sz="1500" dirty="0" err="1">
                <a:latin typeface="Zawgyi-One" panose="020B0604030504040204" pitchFamily="34" charset="0"/>
                <a:cs typeface="Zawgyi-One" panose="020B0604030504040204" pitchFamily="34" charset="0"/>
              </a:rPr>
              <a:t>ခြဲသူသည</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ဝန္ေဆာင္မႈေပးသူမ်ားထံမ</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လိုအပ္ေသာအေထာက္အပံ့အတြက</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ကေလး</a:t>
            </a:r>
            <a:r>
              <a:rPr lang="en-US" sz="1500" dirty="0">
                <a:latin typeface="Zawgyi-One" panose="020B0604030504040204" pitchFamily="34" charset="0"/>
                <a:cs typeface="Zawgyi-One" panose="020B0604030504040204" pitchFamily="34" charset="0"/>
              </a:rPr>
              <a:t>ႏွင့္ </a:t>
            </a:r>
            <a:r>
              <a:rPr lang="en-US" sz="1500" dirty="0" err="1">
                <a:latin typeface="Zawgyi-One" panose="020B0604030504040204" pitchFamily="34" charset="0"/>
                <a:cs typeface="Zawgyi-One" panose="020B0604030504040204" pitchFamily="34" charset="0"/>
              </a:rPr>
              <a:t>မိသားစုဝင္မ်ားကုိ</a:t>
            </a:r>
            <a:r>
              <a:rPr lang="en-US" sz="1500" dirty="0">
                <a:latin typeface="Zawgyi-One" panose="020B0604030504040204" pitchFamily="34" charset="0"/>
                <a:cs typeface="Zawgyi-One" panose="020B0604030504040204" pitchFamily="34" charset="0"/>
              </a:rPr>
              <a:t> </a:t>
            </a:r>
            <a:r>
              <a:rPr lang="en-US" sz="1500" dirty="0" err="1">
                <a:latin typeface="Zawgyi-One" panose="020B0604030504040204" pitchFamily="34" charset="0"/>
                <a:cs typeface="Zawgyi-One" panose="020B0604030504040204" pitchFamily="34" charset="0"/>
              </a:rPr>
              <a:t>ညႊန္းပုိ႔ေပးမည</a:t>
            </a:r>
            <a:r>
              <a:rPr lang="en-US" sz="1500" dirty="0">
                <a:latin typeface="Zawgyi-One" panose="020B0604030504040204" pitchFamily="34" charset="0"/>
                <a:cs typeface="Zawgyi-One" panose="020B0604030504040204" pitchFamily="34" charset="0"/>
              </a:rPr>
              <a:t>္။ </a:t>
            </a:r>
            <a:endParaRPr kumimoji="0" lang="en-GB" sz="15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1774001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C1001-D11D-4D4C-BFFA-3910A13D3176}"/>
              </a:ext>
            </a:extLst>
          </p:cNvPr>
          <p:cNvSpPr>
            <a:spLocks noGrp="1"/>
          </p:cNvSpPr>
          <p:nvPr>
            <p:ph type="title"/>
          </p:nvPr>
        </p:nvSpPr>
        <p:spPr>
          <a:xfrm>
            <a:off x="533400" y="228600"/>
            <a:ext cx="6559235" cy="536028"/>
          </a:xfrm>
        </p:spPr>
        <p:txBody>
          <a:bodyPr>
            <a:normAutofit fontScale="90000"/>
          </a:bodyPr>
          <a:lstStyle/>
          <a:p>
            <a:r>
              <a:rPr lang="en-US" dirty="0" err="1">
                <a:solidFill>
                  <a:schemeClr val="bg1"/>
                </a:solidFill>
                <a:latin typeface="Zawgyi-One" panose="020B0604030504040204" pitchFamily="34" charset="0"/>
                <a:cs typeface="Zawgyi-One" panose="020B0604030504040204" pitchFamily="34" charset="0"/>
              </a:rPr>
              <a:t>လူမ</a:t>
            </a:r>
            <a:r>
              <a:rPr lang="en-US" dirty="0">
                <a:solidFill>
                  <a:schemeClr val="bg1"/>
                </a:solidFill>
                <a:latin typeface="Zawgyi-One" panose="020B0604030504040204" pitchFamily="34" charset="0"/>
                <a:cs typeface="Zawgyi-One" panose="020B0604030504040204" pitchFamily="34" charset="0"/>
              </a:rPr>
              <a:t>ႈ </a:t>
            </a:r>
            <a:r>
              <a:rPr lang="en-US" dirty="0" err="1">
                <a:solidFill>
                  <a:schemeClr val="bg1"/>
                </a:solidFill>
                <a:latin typeface="Zawgyi-One" panose="020B0604030504040204" pitchFamily="34" charset="0"/>
                <a:cs typeface="Zawgyi-One" panose="020B0604030504040204" pitchFamily="34" charset="0"/>
              </a:rPr>
              <a:t>ေဂဟစနစ</a:t>
            </a:r>
            <a:r>
              <a:rPr lang="en-US" dirty="0">
                <a:solidFill>
                  <a:schemeClr val="bg1"/>
                </a:solidFill>
                <a:latin typeface="Zawgyi-One" panose="020B0604030504040204" pitchFamily="34" charset="0"/>
                <a:cs typeface="Zawgyi-One" panose="020B0604030504040204" pitchFamily="34" charset="0"/>
              </a:rPr>
              <a:t>္</a:t>
            </a:r>
          </a:p>
        </p:txBody>
      </p:sp>
      <p:grpSp>
        <p:nvGrpSpPr>
          <p:cNvPr id="19" name="Group 18">
            <a:extLst>
              <a:ext uri="{FF2B5EF4-FFF2-40B4-BE49-F238E27FC236}">
                <a16:creationId xmlns:a16="http://schemas.microsoft.com/office/drawing/2014/main" id="{5AF41020-D0F2-EE45-88C6-761BF58E26B1}"/>
              </a:ext>
            </a:extLst>
          </p:cNvPr>
          <p:cNvGrpSpPr/>
          <p:nvPr/>
        </p:nvGrpSpPr>
        <p:grpSpPr>
          <a:xfrm>
            <a:off x="3096610" y="1523621"/>
            <a:ext cx="5558659" cy="4446927"/>
            <a:chOff x="4128813" y="1523620"/>
            <a:chExt cx="7411545" cy="4446927"/>
          </a:xfrm>
        </p:grpSpPr>
        <p:sp>
          <p:nvSpPr>
            <p:cNvPr id="4" name="Pie 3">
              <a:extLst>
                <a:ext uri="{FF2B5EF4-FFF2-40B4-BE49-F238E27FC236}">
                  <a16:creationId xmlns:a16="http://schemas.microsoft.com/office/drawing/2014/main" id="{C653C9C5-355E-7546-8A70-0AFE63FA9060}"/>
                </a:ext>
              </a:extLst>
            </p:cNvPr>
            <p:cNvSpPr/>
            <p:nvPr/>
          </p:nvSpPr>
          <p:spPr>
            <a:xfrm>
              <a:off x="4128813" y="1523620"/>
              <a:ext cx="4446927" cy="4446927"/>
            </a:xfrm>
            <a:prstGeom prst="pie">
              <a:avLst>
                <a:gd name="adj1" fmla="val 5400000"/>
                <a:gd name="adj2" fmla="val 16200000"/>
              </a:avLst>
            </a:prstGeom>
          </p:spPr>
          <p:style>
            <a:lnRef idx="3">
              <a:schemeClr val="lt1">
                <a:hueOff val="0"/>
                <a:satOff val="0"/>
                <a:lumOff val="0"/>
                <a:alphaOff val="0"/>
              </a:schemeClr>
            </a:lnRef>
            <a:fillRef idx="1">
              <a:schemeClr val="accent4">
                <a:hueOff val="0"/>
                <a:satOff val="0"/>
                <a:lumOff val="0"/>
                <a:alphaOff val="0"/>
              </a:schemeClr>
            </a:fillRef>
            <a:effectRef idx="1">
              <a:schemeClr val="accent4">
                <a:hueOff val="0"/>
                <a:satOff val="0"/>
                <a:lumOff val="0"/>
                <a:alphaOff val="0"/>
              </a:schemeClr>
            </a:effectRef>
            <a:fontRef idx="minor">
              <a:schemeClr val="lt1"/>
            </a:fontRef>
          </p:style>
        </p:sp>
        <p:sp>
          <p:nvSpPr>
            <p:cNvPr id="5" name="Freeform 4">
              <a:extLst>
                <a:ext uri="{FF2B5EF4-FFF2-40B4-BE49-F238E27FC236}">
                  <a16:creationId xmlns:a16="http://schemas.microsoft.com/office/drawing/2014/main" id="{2BFCA618-6AAF-0B4B-AFD9-CF423CE8E680}"/>
                </a:ext>
              </a:extLst>
            </p:cNvPr>
            <p:cNvSpPr/>
            <p:nvPr/>
          </p:nvSpPr>
          <p:spPr>
            <a:xfrm>
              <a:off x="6352276" y="1523620"/>
              <a:ext cx="5188082" cy="4446927"/>
            </a:xfrm>
            <a:custGeom>
              <a:avLst/>
              <a:gdLst>
                <a:gd name="connsiteX0" fmla="*/ 0 w 5188082"/>
                <a:gd name="connsiteY0" fmla="*/ 0 h 4446927"/>
                <a:gd name="connsiteX1" fmla="*/ 5188082 w 5188082"/>
                <a:gd name="connsiteY1" fmla="*/ 0 h 4446927"/>
                <a:gd name="connsiteX2" fmla="*/ 5188082 w 5188082"/>
                <a:gd name="connsiteY2" fmla="*/ 4446927 h 4446927"/>
                <a:gd name="connsiteX3" fmla="*/ 0 w 5188082"/>
                <a:gd name="connsiteY3" fmla="*/ 4446927 h 4446927"/>
                <a:gd name="connsiteX4" fmla="*/ 0 w 5188082"/>
                <a:gd name="connsiteY4" fmla="*/ 0 h 44469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8082" h="4446927">
                  <a:moveTo>
                    <a:pt x="0" y="0"/>
                  </a:moveTo>
                  <a:lnTo>
                    <a:pt x="5188082" y="0"/>
                  </a:lnTo>
                  <a:lnTo>
                    <a:pt x="5188082" y="4446927"/>
                  </a:lnTo>
                  <a:lnTo>
                    <a:pt x="0" y="4446927"/>
                  </a:lnTo>
                  <a:lnTo>
                    <a:pt x="0" y="0"/>
                  </a:lnTo>
                  <a:close/>
                </a:path>
              </a:pathLst>
            </a:custGeom>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250" tIns="95250" rIns="2689291" bIns="3597205" numCol="1" spcCol="1270" anchor="ctr" anchorCtr="0">
              <a:no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လူမ</a:t>
              </a:r>
              <a:r>
                <a:rPr kumimoji="0" lang="en-US" sz="25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 </a:t>
              </a:r>
              <a:r>
                <a:rPr kumimoji="0" lang="en-US" sz="25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အသုိင္းအဝိုင္း</a:t>
              </a:r>
              <a:endParaRPr kumimoji="0" lang="en-US" sz="25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p:txBody>
        </p:sp>
      </p:grpSp>
      <p:grpSp>
        <p:nvGrpSpPr>
          <p:cNvPr id="18" name="Group 17">
            <a:extLst>
              <a:ext uri="{FF2B5EF4-FFF2-40B4-BE49-F238E27FC236}">
                <a16:creationId xmlns:a16="http://schemas.microsoft.com/office/drawing/2014/main" id="{4FBF0D7E-791F-8245-B8A4-452F3615D1FB}"/>
              </a:ext>
            </a:extLst>
          </p:cNvPr>
          <p:cNvGrpSpPr/>
          <p:nvPr/>
        </p:nvGrpSpPr>
        <p:grpSpPr>
          <a:xfrm>
            <a:off x="3534354" y="2468592"/>
            <a:ext cx="5120915" cy="3279609"/>
            <a:chOff x="4712472" y="2468592"/>
            <a:chExt cx="6827886" cy="3279609"/>
          </a:xfrm>
        </p:grpSpPr>
        <p:sp>
          <p:nvSpPr>
            <p:cNvPr id="6" name="Pie 5">
              <a:extLst>
                <a:ext uri="{FF2B5EF4-FFF2-40B4-BE49-F238E27FC236}">
                  <a16:creationId xmlns:a16="http://schemas.microsoft.com/office/drawing/2014/main" id="{503A8817-CF6C-3E4F-9622-5789F6A212C8}"/>
                </a:ext>
              </a:extLst>
            </p:cNvPr>
            <p:cNvSpPr/>
            <p:nvPr/>
          </p:nvSpPr>
          <p:spPr>
            <a:xfrm>
              <a:off x="4712472" y="2468592"/>
              <a:ext cx="3279609" cy="3279609"/>
            </a:xfrm>
            <a:prstGeom prst="pie">
              <a:avLst>
                <a:gd name="adj1" fmla="val 5400000"/>
                <a:gd name="adj2" fmla="val 16200000"/>
              </a:avLst>
            </a:prstGeom>
          </p:spPr>
          <p:style>
            <a:lnRef idx="3">
              <a:schemeClr val="lt1">
                <a:hueOff val="0"/>
                <a:satOff val="0"/>
                <a:lumOff val="0"/>
                <a:alphaOff val="0"/>
              </a:schemeClr>
            </a:lnRef>
            <a:fillRef idx="1">
              <a:schemeClr val="accent4">
                <a:hueOff val="407026"/>
                <a:satOff val="-15508"/>
                <a:lumOff val="7712"/>
                <a:alphaOff val="0"/>
              </a:schemeClr>
            </a:fillRef>
            <a:effectRef idx="1">
              <a:schemeClr val="accent4">
                <a:hueOff val="407026"/>
                <a:satOff val="-15508"/>
                <a:lumOff val="7712"/>
                <a:alphaOff val="0"/>
              </a:schemeClr>
            </a:effectRef>
            <a:fontRef idx="minor">
              <a:schemeClr val="lt1"/>
            </a:fontRef>
          </p:style>
        </p:sp>
        <p:sp>
          <p:nvSpPr>
            <p:cNvPr id="7" name="Freeform 6">
              <a:extLst>
                <a:ext uri="{FF2B5EF4-FFF2-40B4-BE49-F238E27FC236}">
                  <a16:creationId xmlns:a16="http://schemas.microsoft.com/office/drawing/2014/main" id="{8A4B4107-82FA-014A-A2B3-224A5D6CC72E}"/>
                </a:ext>
              </a:extLst>
            </p:cNvPr>
            <p:cNvSpPr/>
            <p:nvPr/>
          </p:nvSpPr>
          <p:spPr>
            <a:xfrm>
              <a:off x="6352276" y="2468592"/>
              <a:ext cx="5188082" cy="3279609"/>
            </a:xfrm>
            <a:custGeom>
              <a:avLst/>
              <a:gdLst>
                <a:gd name="connsiteX0" fmla="*/ 0 w 5188082"/>
                <a:gd name="connsiteY0" fmla="*/ 0 h 3279609"/>
                <a:gd name="connsiteX1" fmla="*/ 5188082 w 5188082"/>
                <a:gd name="connsiteY1" fmla="*/ 0 h 3279609"/>
                <a:gd name="connsiteX2" fmla="*/ 5188082 w 5188082"/>
                <a:gd name="connsiteY2" fmla="*/ 3279609 h 3279609"/>
                <a:gd name="connsiteX3" fmla="*/ 0 w 5188082"/>
                <a:gd name="connsiteY3" fmla="*/ 3279609 h 3279609"/>
                <a:gd name="connsiteX4" fmla="*/ 0 w 5188082"/>
                <a:gd name="connsiteY4" fmla="*/ 0 h 32796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8082" h="3279609">
                  <a:moveTo>
                    <a:pt x="0" y="0"/>
                  </a:moveTo>
                  <a:lnTo>
                    <a:pt x="5188082" y="0"/>
                  </a:lnTo>
                  <a:lnTo>
                    <a:pt x="5188082" y="3279609"/>
                  </a:lnTo>
                  <a:lnTo>
                    <a:pt x="0" y="3279609"/>
                  </a:lnTo>
                  <a:lnTo>
                    <a:pt x="0" y="0"/>
                  </a:lnTo>
                  <a:close/>
                </a:path>
              </a:pathLst>
            </a:custGeom>
          </p:spPr>
          <p:style>
            <a:lnRef idx="2">
              <a:schemeClr val="accent4">
                <a:hueOff val="407026"/>
                <a:satOff val="-15508"/>
                <a:lumOff val="771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250" tIns="95250" rIns="2689291" bIns="2429887" numCol="1" spcCol="1270" anchor="ctr" anchorCtr="0">
              <a:no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ရပ္ရြာ</a:t>
              </a:r>
              <a:endParaRPr kumimoji="0" lang="en-US" sz="25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p:txBody>
        </p:sp>
      </p:grpSp>
      <p:sp>
        <p:nvSpPr>
          <p:cNvPr id="13" name="Freeform 12">
            <a:extLst>
              <a:ext uri="{FF2B5EF4-FFF2-40B4-BE49-F238E27FC236}">
                <a16:creationId xmlns:a16="http://schemas.microsoft.com/office/drawing/2014/main" id="{1F16A7E9-716F-D740-A270-373D8F1DF856}"/>
              </a:ext>
            </a:extLst>
          </p:cNvPr>
          <p:cNvSpPr/>
          <p:nvPr/>
        </p:nvSpPr>
        <p:spPr>
          <a:xfrm>
            <a:off x="6709738" y="1523620"/>
            <a:ext cx="1945531" cy="944972"/>
          </a:xfrm>
          <a:custGeom>
            <a:avLst/>
            <a:gdLst>
              <a:gd name="connsiteX0" fmla="*/ 0 w 2594041"/>
              <a:gd name="connsiteY0" fmla="*/ 0 h 944972"/>
              <a:gd name="connsiteX1" fmla="*/ 2594041 w 2594041"/>
              <a:gd name="connsiteY1" fmla="*/ 0 h 944972"/>
              <a:gd name="connsiteX2" fmla="*/ 2594041 w 2594041"/>
              <a:gd name="connsiteY2" fmla="*/ 944972 h 944972"/>
              <a:gd name="connsiteX3" fmla="*/ 0 w 2594041"/>
              <a:gd name="connsiteY3" fmla="*/ 944972 h 944972"/>
              <a:gd name="connsiteX4" fmla="*/ 0 w 2594041"/>
              <a:gd name="connsiteY4" fmla="*/ 0 h 944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041" h="944972">
                <a:moveTo>
                  <a:pt x="0" y="0"/>
                </a:moveTo>
                <a:lnTo>
                  <a:pt x="2594041" y="0"/>
                </a:lnTo>
                <a:lnTo>
                  <a:pt x="2594041" y="944972"/>
                </a:lnTo>
                <a:lnTo>
                  <a:pt x="0" y="944972"/>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49530" numCol="1" spcCol="1270" anchor="ctr" anchorCtr="0">
            <a:noAutofit/>
          </a:bodyPr>
          <a:lstStyle/>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a:t>
            </a: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င္ငံအဆင</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a:t>
            </a:r>
          </a:p>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ဥပေဒ</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 </a:t>
            </a: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ပၚလစီ</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 ႏ</a:t>
            </a: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င္ငံေရးရာ</a:t>
            </a:r>
            <a:endPar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p:txBody>
      </p:sp>
      <p:grpSp>
        <p:nvGrpSpPr>
          <p:cNvPr id="21" name="Group 20">
            <a:extLst>
              <a:ext uri="{FF2B5EF4-FFF2-40B4-BE49-F238E27FC236}">
                <a16:creationId xmlns:a16="http://schemas.microsoft.com/office/drawing/2014/main" id="{F166D115-1AB8-6343-9050-5AC07543486F}"/>
              </a:ext>
            </a:extLst>
          </p:cNvPr>
          <p:cNvGrpSpPr/>
          <p:nvPr/>
        </p:nvGrpSpPr>
        <p:grpSpPr>
          <a:xfrm>
            <a:off x="3979641" y="3413564"/>
            <a:ext cx="4683170" cy="2112290"/>
            <a:chOff x="5296131" y="3413564"/>
            <a:chExt cx="6244227" cy="2112290"/>
          </a:xfrm>
        </p:grpSpPr>
        <p:grpSp>
          <p:nvGrpSpPr>
            <p:cNvPr id="17" name="Group 16">
              <a:extLst>
                <a:ext uri="{FF2B5EF4-FFF2-40B4-BE49-F238E27FC236}">
                  <a16:creationId xmlns:a16="http://schemas.microsoft.com/office/drawing/2014/main" id="{0BD450F2-2A25-3444-B48F-1421E5EC448A}"/>
                </a:ext>
              </a:extLst>
            </p:cNvPr>
            <p:cNvGrpSpPr/>
            <p:nvPr/>
          </p:nvGrpSpPr>
          <p:grpSpPr>
            <a:xfrm>
              <a:off x="5296131" y="3413564"/>
              <a:ext cx="6244227" cy="2112290"/>
              <a:chOff x="5296131" y="3413564"/>
              <a:chExt cx="6244227" cy="2112290"/>
            </a:xfrm>
          </p:grpSpPr>
          <p:sp>
            <p:nvSpPr>
              <p:cNvPr id="9" name="Pie 8">
                <a:extLst>
                  <a:ext uri="{FF2B5EF4-FFF2-40B4-BE49-F238E27FC236}">
                    <a16:creationId xmlns:a16="http://schemas.microsoft.com/office/drawing/2014/main" id="{B01653AF-1E08-4B49-9E84-24EECD0C9017}"/>
                  </a:ext>
                </a:extLst>
              </p:cNvPr>
              <p:cNvSpPr/>
              <p:nvPr/>
            </p:nvSpPr>
            <p:spPr>
              <a:xfrm>
                <a:off x="5296131" y="3413564"/>
                <a:ext cx="2112290" cy="2112290"/>
              </a:xfrm>
              <a:prstGeom prst="pie">
                <a:avLst>
                  <a:gd name="adj1" fmla="val 5400000"/>
                  <a:gd name="adj2" fmla="val 16200000"/>
                </a:avLst>
              </a:prstGeom>
            </p:spPr>
            <p:style>
              <a:lnRef idx="3">
                <a:schemeClr val="lt1">
                  <a:hueOff val="0"/>
                  <a:satOff val="0"/>
                  <a:lumOff val="0"/>
                  <a:alphaOff val="0"/>
                </a:schemeClr>
              </a:lnRef>
              <a:fillRef idx="1">
                <a:schemeClr val="accent4">
                  <a:hueOff val="814052"/>
                  <a:satOff val="-31015"/>
                  <a:lumOff val="15423"/>
                  <a:alphaOff val="0"/>
                </a:schemeClr>
              </a:fillRef>
              <a:effectRef idx="1">
                <a:schemeClr val="accent4">
                  <a:hueOff val="814052"/>
                  <a:satOff val="-31015"/>
                  <a:lumOff val="15423"/>
                  <a:alphaOff val="0"/>
                </a:schemeClr>
              </a:effectRef>
              <a:fontRef idx="minor">
                <a:schemeClr val="lt1"/>
              </a:fontRef>
            </p:style>
          </p:sp>
          <p:sp>
            <p:nvSpPr>
              <p:cNvPr id="10" name="Freeform 9">
                <a:extLst>
                  <a:ext uri="{FF2B5EF4-FFF2-40B4-BE49-F238E27FC236}">
                    <a16:creationId xmlns:a16="http://schemas.microsoft.com/office/drawing/2014/main" id="{8731A930-DB90-BD48-A3CD-533161000189}"/>
                  </a:ext>
                </a:extLst>
              </p:cNvPr>
              <p:cNvSpPr/>
              <p:nvPr/>
            </p:nvSpPr>
            <p:spPr>
              <a:xfrm>
                <a:off x="6352276" y="3413564"/>
                <a:ext cx="5188082" cy="2112290"/>
              </a:xfrm>
              <a:custGeom>
                <a:avLst/>
                <a:gdLst>
                  <a:gd name="connsiteX0" fmla="*/ 0 w 5188082"/>
                  <a:gd name="connsiteY0" fmla="*/ 0 h 2112290"/>
                  <a:gd name="connsiteX1" fmla="*/ 5188082 w 5188082"/>
                  <a:gd name="connsiteY1" fmla="*/ 0 h 2112290"/>
                  <a:gd name="connsiteX2" fmla="*/ 5188082 w 5188082"/>
                  <a:gd name="connsiteY2" fmla="*/ 2112290 h 2112290"/>
                  <a:gd name="connsiteX3" fmla="*/ 0 w 5188082"/>
                  <a:gd name="connsiteY3" fmla="*/ 2112290 h 2112290"/>
                  <a:gd name="connsiteX4" fmla="*/ 0 w 5188082"/>
                  <a:gd name="connsiteY4" fmla="*/ 0 h 21122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8082" h="2112290">
                    <a:moveTo>
                      <a:pt x="0" y="0"/>
                    </a:moveTo>
                    <a:lnTo>
                      <a:pt x="5188082" y="0"/>
                    </a:lnTo>
                    <a:lnTo>
                      <a:pt x="5188082" y="2112290"/>
                    </a:lnTo>
                    <a:lnTo>
                      <a:pt x="0" y="2112290"/>
                    </a:lnTo>
                    <a:lnTo>
                      <a:pt x="0" y="0"/>
                    </a:lnTo>
                    <a:close/>
                  </a:path>
                </a:pathLst>
              </a:custGeom>
            </p:spPr>
            <p:style>
              <a:lnRef idx="2">
                <a:schemeClr val="accent4">
                  <a:hueOff val="814052"/>
                  <a:satOff val="-31015"/>
                  <a:lumOff val="1542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250" tIns="95250" rIns="2689291" bIns="1262568" numCol="1" spcCol="1270" anchor="ctr" anchorCtr="0">
                <a:no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5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ဆက္ဆံေရး</a:t>
                </a:r>
                <a:endParaRPr kumimoji="0" lang="en-US" sz="25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p:txBody>
          </p:sp>
        </p:grpSp>
        <p:sp>
          <p:nvSpPr>
            <p:cNvPr id="15" name="Freeform 14">
              <a:extLst>
                <a:ext uri="{FF2B5EF4-FFF2-40B4-BE49-F238E27FC236}">
                  <a16:creationId xmlns:a16="http://schemas.microsoft.com/office/drawing/2014/main" id="{D6AE5097-6D42-B643-AB71-8789BB5A8B60}"/>
                </a:ext>
              </a:extLst>
            </p:cNvPr>
            <p:cNvSpPr/>
            <p:nvPr/>
          </p:nvSpPr>
          <p:spPr>
            <a:xfrm>
              <a:off x="8946317" y="3413564"/>
              <a:ext cx="2594041" cy="944972"/>
            </a:xfrm>
            <a:custGeom>
              <a:avLst/>
              <a:gdLst>
                <a:gd name="connsiteX0" fmla="*/ 0 w 2594041"/>
                <a:gd name="connsiteY0" fmla="*/ 0 h 944972"/>
                <a:gd name="connsiteX1" fmla="*/ 2594041 w 2594041"/>
                <a:gd name="connsiteY1" fmla="*/ 0 h 944972"/>
                <a:gd name="connsiteX2" fmla="*/ 2594041 w 2594041"/>
                <a:gd name="connsiteY2" fmla="*/ 944972 h 944972"/>
                <a:gd name="connsiteX3" fmla="*/ 0 w 2594041"/>
                <a:gd name="connsiteY3" fmla="*/ 944972 h 944972"/>
                <a:gd name="connsiteX4" fmla="*/ 0 w 2594041"/>
                <a:gd name="connsiteY4" fmla="*/ 0 h 944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041" h="944972">
                  <a:moveTo>
                    <a:pt x="0" y="0"/>
                  </a:moveTo>
                  <a:lnTo>
                    <a:pt x="2594041" y="0"/>
                  </a:lnTo>
                  <a:lnTo>
                    <a:pt x="2594041" y="944972"/>
                  </a:lnTo>
                  <a:lnTo>
                    <a:pt x="0" y="944972"/>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49530" numCol="1" spcCol="1270" anchor="ctr" anchorCtr="0">
              <a:noAutofit/>
            </a:bodyPr>
            <a:lstStyle/>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မိသားစု</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a:t>
              </a: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ခ်စ္သူ</a:t>
              </a:r>
              <a:endPar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သူငယ္ခ်င္း</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a:t>
              </a: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မိတ္ေဆ</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a:t>
              </a:r>
            </a:p>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လုပ္ေဖာ္ကိုင</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a:t>
              </a:r>
            </a:p>
          </p:txBody>
        </p:sp>
      </p:grpSp>
      <p:sp>
        <p:nvSpPr>
          <p:cNvPr id="14" name="Freeform 13">
            <a:extLst>
              <a:ext uri="{FF2B5EF4-FFF2-40B4-BE49-F238E27FC236}">
                <a16:creationId xmlns:a16="http://schemas.microsoft.com/office/drawing/2014/main" id="{F34C5284-9149-7647-A7DD-0E7F553E222E}"/>
              </a:ext>
            </a:extLst>
          </p:cNvPr>
          <p:cNvSpPr/>
          <p:nvPr/>
        </p:nvSpPr>
        <p:spPr>
          <a:xfrm>
            <a:off x="6709738" y="2468592"/>
            <a:ext cx="1945531" cy="944972"/>
          </a:xfrm>
          <a:custGeom>
            <a:avLst/>
            <a:gdLst>
              <a:gd name="connsiteX0" fmla="*/ 0 w 2594041"/>
              <a:gd name="connsiteY0" fmla="*/ 0 h 944972"/>
              <a:gd name="connsiteX1" fmla="*/ 2594041 w 2594041"/>
              <a:gd name="connsiteY1" fmla="*/ 0 h 944972"/>
              <a:gd name="connsiteX2" fmla="*/ 2594041 w 2594041"/>
              <a:gd name="connsiteY2" fmla="*/ 944972 h 944972"/>
              <a:gd name="connsiteX3" fmla="*/ 0 w 2594041"/>
              <a:gd name="connsiteY3" fmla="*/ 944972 h 944972"/>
              <a:gd name="connsiteX4" fmla="*/ 0 w 2594041"/>
              <a:gd name="connsiteY4" fmla="*/ 0 h 944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041" h="944972">
                <a:moveTo>
                  <a:pt x="0" y="0"/>
                </a:moveTo>
                <a:lnTo>
                  <a:pt x="2594041" y="0"/>
                </a:lnTo>
                <a:lnTo>
                  <a:pt x="2594041" y="944972"/>
                </a:lnTo>
                <a:lnTo>
                  <a:pt x="0" y="944972"/>
                </a:lnTo>
                <a:lnTo>
                  <a:pt x="0" y="0"/>
                </a:lnTo>
                <a:close/>
              </a:path>
            </a:pathLst>
          </a:custGeom>
          <a:noFill/>
          <a:ln>
            <a:noFill/>
          </a:ln>
          <a:sp3d/>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9530" tIns="49530" rIns="49530" bIns="49530" numCol="1" spcCol="1270" anchor="ctr" anchorCtr="0">
            <a:noAutofit/>
          </a:bodyPr>
          <a:lstStyle/>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လူမႈအဖြဲ႕စည္းမ်ား</a:t>
            </a:r>
            <a:endPar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လူမ</a:t>
            </a:r>
            <a:r>
              <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 </a:t>
            </a:r>
            <a:r>
              <a:rPr kumimoji="0" lang="en-US" sz="13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စံသတ္မွတ္ခ်က္မ်ား</a:t>
            </a:r>
            <a:endParaRPr kumimoji="0" lang="en-US" sz="13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p:txBody>
      </p:sp>
      <p:grpSp>
        <p:nvGrpSpPr>
          <p:cNvPr id="16" name="Group 15">
            <a:extLst>
              <a:ext uri="{FF2B5EF4-FFF2-40B4-BE49-F238E27FC236}">
                <a16:creationId xmlns:a16="http://schemas.microsoft.com/office/drawing/2014/main" id="{0F48BF55-FEEF-4646-8015-E34620FC5E33}"/>
              </a:ext>
            </a:extLst>
          </p:cNvPr>
          <p:cNvGrpSpPr/>
          <p:nvPr/>
        </p:nvGrpSpPr>
        <p:grpSpPr>
          <a:xfrm>
            <a:off x="4409843" y="4358536"/>
            <a:ext cx="4245426" cy="944972"/>
            <a:chOff x="5879790" y="4358536"/>
            <a:chExt cx="5660568" cy="944972"/>
          </a:xfrm>
        </p:grpSpPr>
        <p:sp>
          <p:nvSpPr>
            <p:cNvPr id="11" name="Pie 10">
              <a:extLst>
                <a:ext uri="{FF2B5EF4-FFF2-40B4-BE49-F238E27FC236}">
                  <a16:creationId xmlns:a16="http://schemas.microsoft.com/office/drawing/2014/main" id="{1F062F43-6574-CD4B-A1B4-A34AF74ADADE}"/>
                </a:ext>
              </a:extLst>
            </p:cNvPr>
            <p:cNvSpPr/>
            <p:nvPr/>
          </p:nvSpPr>
          <p:spPr>
            <a:xfrm>
              <a:off x="5879790" y="4358536"/>
              <a:ext cx="944972" cy="944972"/>
            </a:xfrm>
            <a:prstGeom prst="pie">
              <a:avLst>
                <a:gd name="adj1" fmla="val 5400000"/>
                <a:gd name="adj2" fmla="val 16200000"/>
              </a:avLst>
            </a:prstGeom>
          </p:spPr>
          <p:style>
            <a:lnRef idx="3">
              <a:schemeClr val="lt1">
                <a:hueOff val="0"/>
                <a:satOff val="0"/>
                <a:lumOff val="0"/>
                <a:alphaOff val="0"/>
              </a:schemeClr>
            </a:lnRef>
            <a:fillRef idx="1">
              <a:schemeClr val="accent4">
                <a:hueOff val="1221077"/>
                <a:satOff val="-46523"/>
                <a:lumOff val="23135"/>
                <a:alphaOff val="0"/>
              </a:schemeClr>
            </a:fillRef>
            <a:effectRef idx="1">
              <a:schemeClr val="accent4">
                <a:hueOff val="1221077"/>
                <a:satOff val="-46523"/>
                <a:lumOff val="23135"/>
                <a:alphaOff val="0"/>
              </a:schemeClr>
            </a:effectRef>
            <a:fontRef idx="minor">
              <a:schemeClr val="lt1"/>
            </a:fontRef>
          </p:style>
        </p:sp>
        <p:sp>
          <p:nvSpPr>
            <p:cNvPr id="12" name="Freeform 11">
              <a:extLst>
                <a:ext uri="{FF2B5EF4-FFF2-40B4-BE49-F238E27FC236}">
                  <a16:creationId xmlns:a16="http://schemas.microsoft.com/office/drawing/2014/main" id="{0F619859-A822-E348-AA3B-39FD30E493BC}"/>
                </a:ext>
              </a:extLst>
            </p:cNvPr>
            <p:cNvSpPr/>
            <p:nvPr/>
          </p:nvSpPr>
          <p:spPr>
            <a:xfrm>
              <a:off x="6352276" y="4358536"/>
              <a:ext cx="5188082" cy="944972"/>
            </a:xfrm>
            <a:custGeom>
              <a:avLst/>
              <a:gdLst>
                <a:gd name="connsiteX0" fmla="*/ 0 w 5188082"/>
                <a:gd name="connsiteY0" fmla="*/ 0 h 944972"/>
                <a:gd name="connsiteX1" fmla="*/ 5188082 w 5188082"/>
                <a:gd name="connsiteY1" fmla="*/ 0 h 944972"/>
                <a:gd name="connsiteX2" fmla="*/ 5188082 w 5188082"/>
                <a:gd name="connsiteY2" fmla="*/ 944972 h 944972"/>
                <a:gd name="connsiteX3" fmla="*/ 0 w 5188082"/>
                <a:gd name="connsiteY3" fmla="*/ 944972 h 944972"/>
                <a:gd name="connsiteX4" fmla="*/ 0 w 5188082"/>
                <a:gd name="connsiteY4" fmla="*/ 0 h 9449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8082" h="944972">
                  <a:moveTo>
                    <a:pt x="0" y="0"/>
                  </a:moveTo>
                  <a:lnTo>
                    <a:pt x="5188082" y="0"/>
                  </a:lnTo>
                  <a:lnTo>
                    <a:pt x="5188082" y="944972"/>
                  </a:lnTo>
                  <a:lnTo>
                    <a:pt x="0" y="944972"/>
                  </a:lnTo>
                  <a:lnTo>
                    <a:pt x="0" y="0"/>
                  </a:lnTo>
                  <a:close/>
                </a:path>
              </a:pathLst>
            </a:custGeom>
          </p:spPr>
          <p:style>
            <a:lnRef idx="2">
              <a:schemeClr val="accent4">
                <a:hueOff val="1221077"/>
                <a:satOff val="-46523"/>
                <a:lumOff val="23135"/>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95250" tIns="95250" rIns="2689291" bIns="95250" numCol="1" spcCol="1270" anchor="ctr" anchorCtr="0">
              <a:noAutofit/>
            </a:bodyPr>
            <a:lstStyle/>
            <a:p>
              <a:pPr marL="0" marR="0" lvl="0" indent="0" algn="ctr" defTabSz="1111250" rtl="0" eaLnBrk="1" fontAlgn="auto" latinLnBrk="0" hangingPunct="1">
                <a:lnSpc>
                  <a:spcPct val="90000"/>
                </a:lnSpc>
                <a:spcBef>
                  <a:spcPct val="0"/>
                </a:spcBef>
                <a:spcAft>
                  <a:spcPct val="35000"/>
                </a:spcAft>
                <a:buClrTx/>
                <a:buSzTx/>
                <a:buFontTx/>
                <a:buNone/>
                <a:tabLst/>
                <a:defRPr/>
              </a:pPr>
              <a:r>
                <a:rPr kumimoji="0" lang="en-US" sz="2000" b="0" i="0" u="none" strike="noStrike" kern="1200" cap="none" spc="0" normalizeH="0" baseline="0" noProof="0" dirty="0" err="1">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rPr>
                <a:t>လူတစ္ဦး</a:t>
              </a:r>
              <a:endParaRPr kumimoji="0" lang="en-US" sz="2000" b="0" i="0" u="none" strike="noStrike" kern="1200" cap="none" spc="0" normalizeH="0" baseline="0" noProof="0" dirty="0">
                <a:ln>
                  <a:noFill/>
                </a:ln>
                <a:solidFill>
                  <a:srgbClr val="000000">
                    <a:hueOff val="0"/>
                    <a:satOff val="0"/>
                    <a:lumOff val="0"/>
                    <a:alphaOff val="0"/>
                  </a:srgbClr>
                </a:solidFill>
                <a:effectLst/>
                <a:uLnTx/>
                <a:uFillTx/>
                <a:latin typeface="Zawgyi-One" panose="020B0604030504040204" pitchFamily="34" charset="0"/>
                <a:ea typeface="+mn-ea"/>
                <a:cs typeface="Zawgyi-One" panose="020B0604030504040204" pitchFamily="34" charset="0"/>
              </a:endParaRPr>
            </a:p>
          </p:txBody>
        </p:sp>
      </p:grpSp>
      <p:sp>
        <p:nvSpPr>
          <p:cNvPr id="20" name="object 6">
            <a:extLst>
              <a:ext uri="{FF2B5EF4-FFF2-40B4-BE49-F238E27FC236}">
                <a16:creationId xmlns:a16="http://schemas.microsoft.com/office/drawing/2014/main" id="{17FB37D3-9B3D-4729-99E7-E26B87FEFA91}"/>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2" name="object 7">
            <a:extLst>
              <a:ext uri="{FF2B5EF4-FFF2-40B4-BE49-F238E27FC236}">
                <a16:creationId xmlns:a16="http://schemas.microsoft.com/office/drawing/2014/main" id="{B8526F1F-8610-4BA9-9A09-209DB5D0E155}"/>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3</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11065043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6" name="Title 1"/>
          <p:cNvSpPr txBox="1">
            <a:spLocks/>
          </p:cNvSpPr>
          <p:nvPr/>
        </p:nvSpPr>
        <p:spPr bwMode="auto">
          <a:xfrm>
            <a:off x="2438400" y="1333500"/>
            <a:ext cx="57912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44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What are the key steps for making referrals? </a:t>
            </a:r>
          </a:p>
        </p:txBody>
      </p:sp>
      <p:sp>
        <p:nvSpPr>
          <p:cNvPr id="5" name="TextBox 4">
            <a:extLst>
              <a:ext uri="{FF2B5EF4-FFF2-40B4-BE49-F238E27FC236}">
                <a16:creationId xmlns:a16="http://schemas.microsoft.com/office/drawing/2014/main" id="{380E116F-0A68-40CA-AADC-7C37F14BF773}"/>
              </a:ext>
            </a:extLst>
          </p:cNvPr>
          <p:cNvSpPr txBox="1"/>
          <p:nvPr/>
        </p:nvSpPr>
        <p:spPr>
          <a:xfrm>
            <a:off x="1233504" y="3968123"/>
            <a:ext cx="7183667" cy="423193"/>
          </a:xfrm>
          <a:prstGeom prst="rect">
            <a:avLst/>
          </a:prstGeom>
          <a:noFill/>
        </p:spPr>
        <p:txBody>
          <a:bodyPr wrap="square" lIns="0" tIns="0" rIns="0" bIns="0" rtlCol="0" anchor="t">
            <a:spAutoFit/>
          </a:bodyPr>
          <a:lstStyle/>
          <a:p>
            <a:pPr marR="0" lvl="0" defTabSz="457200" rtl="0" eaLnBrk="1" fontAlgn="auto" latinLnBrk="0" hangingPunct="1">
              <a:lnSpc>
                <a:spcPct val="150000"/>
              </a:lnSpc>
              <a:spcBef>
                <a:spcPts val="0"/>
              </a:spcBef>
              <a:spcAft>
                <a:spcPts val="0"/>
              </a:spcAft>
              <a:buClrTx/>
              <a:buSzTx/>
              <a:tabLst/>
              <a:defRPr/>
            </a:pPr>
            <a:r>
              <a:rPr kumimoji="0" lang="en-US" sz="20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ညြန္းပုိ</a:t>
            </a:r>
            <a:r>
              <a:rPr kumimoji="0" lang="en-US" sz="20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a:t>
            </a:r>
            <a:r>
              <a:rPr kumimoji="0" lang="en-US" sz="20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လုပ္ေဆာင္ရြက္အတြက</a:t>
            </a:r>
            <a:r>
              <a:rPr kumimoji="0" lang="en-US" sz="20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20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ဓိက</a:t>
            </a:r>
            <a:r>
              <a:rPr lang="en-US" sz="2000" dirty="0" err="1">
                <a:latin typeface="Zawgyi-One" panose="020B0604030504040204" pitchFamily="34" charset="0"/>
                <a:cs typeface="Zawgyi-One" panose="020B0604030504040204" pitchFamily="34" charset="0"/>
              </a:rPr>
              <a:t>အဆင</a:t>
            </a:r>
            <a:r>
              <a:rPr lang="en-US" sz="2000" dirty="0">
                <a:latin typeface="Zawgyi-One" panose="020B0604030504040204" pitchFamily="34" charset="0"/>
                <a:cs typeface="Zawgyi-One" panose="020B0604030504040204" pitchFamily="34" charset="0"/>
              </a:rPr>
              <a:t>့္</a:t>
            </a:r>
            <a:r>
              <a:rPr lang="en-US" sz="2000" dirty="0" err="1">
                <a:latin typeface="Zawgyi-One" panose="020B0604030504040204" pitchFamily="34" charset="0"/>
                <a:cs typeface="Zawgyi-One" panose="020B0604030504040204" pitchFamily="34" charset="0"/>
              </a:rPr>
              <a:t>ေတြက</a:t>
            </a:r>
            <a:r>
              <a:rPr lang="en-US" sz="2000" dirty="0">
                <a:latin typeface="Zawgyi-One" panose="020B0604030504040204" pitchFamily="34" charset="0"/>
                <a:cs typeface="Zawgyi-One" panose="020B0604030504040204" pitchFamily="34" charset="0"/>
              </a:rPr>
              <a:t> </a:t>
            </a:r>
            <a:r>
              <a:rPr lang="en-US" sz="2000" dirty="0" err="1">
                <a:latin typeface="Zawgyi-One" panose="020B0604030504040204" pitchFamily="34" charset="0"/>
                <a:cs typeface="Zawgyi-One" panose="020B0604030504040204" pitchFamily="34" charset="0"/>
              </a:rPr>
              <a:t>ဘာေတြလဲ</a:t>
            </a:r>
            <a:r>
              <a:rPr lang="en-US" sz="2000" dirty="0">
                <a:latin typeface="Zawgyi-One" panose="020B0604030504040204" pitchFamily="34" charset="0"/>
                <a:cs typeface="Zawgyi-One" panose="020B0604030504040204" pitchFamily="34" charset="0"/>
              </a:rPr>
              <a:t>။ </a:t>
            </a:r>
            <a:endParaRPr kumimoji="0" lang="en-GB" sz="20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grpSp>
        <p:nvGrpSpPr>
          <p:cNvPr id="7" name="Group 6">
            <a:extLst>
              <a:ext uri="{FF2B5EF4-FFF2-40B4-BE49-F238E27FC236}">
                <a16:creationId xmlns:a16="http://schemas.microsoft.com/office/drawing/2014/main" id="{1E5CFD90-B98D-470D-84E4-E4F259EFD3ED}"/>
              </a:ext>
            </a:extLst>
          </p:cNvPr>
          <p:cNvGrpSpPr/>
          <p:nvPr/>
        </p:nvGrpSpPr>
        <p:grpSpPr>
          <a:xfrm>
            <a:off x="743542" y="1661334"/>
            <a:ext cx="1689635" cy="1808250"/>
            <a:chOff x="1064151" y="1680577"/>
            <a:chExt cx="2328786" cy="2492901"/>
          </a:xfrm>
        </p:grpSpPr>
        <p:sp>
          <p:nvSpPr>
            <p:cNvPr id="8" name="object 24">
              <a:extLst>
                <a:ext uri="{FF2B5EF4-FFF2-40B4-BE49-F238E27FC236}">
                  <a16:creationId xmlns:a16="http://schemas.microsoft.com/office/drawing/2014/main" id="{4AAE71E3-6ABF-4407-8DBE-C824DF73492A}"/>
                </a:ext>
              </a:extLst>
            </p:cNvPr>
            <p:cNvSpPr>
              <a:spLocks/>
            </p:cNvSpPr>
            <p:nvPr/>
          </p:nvSpPr>
          <p:spPr bwMode="auto">
            <a:xfrm>
              <a:off x="1064151" y="1680577"/>
              <a:ext cx="2328786" cy="2492901"/>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900"/>
            </a:p>
          </p:txBody>
        </p:sp>
        <p:sp>
          <p:nvSpPr>
            <p:cNvPr id="9" name="object 25">
              <a:extLst>
                <a:ext uri="{FF2B5EF4-FFF2-40B4-BE49-F238E27FC236}">
                  <a16:creationId xmlns:a16="http://schemas.microsoft.com/office/drawing/2014/main" id="{80D0B7C2-4284-4FE6-8AF1-3F640B7ACEE7}"/>
                </a:ext>
              </a:extLst>
            </p:cNvPr>
            <p:cNvSpPr txBox="1">
              <a:spLocks noChangeArrowheads="1"/>
            </p:cNvSpPr>
            <p:nvPr/>
          </p:nvSpPr>
          <p:spPr bwMode="auto">
            <a:xfrm>
              <a:off x="1634429" y="2970577"/>
              <a:ext cx="1188231" cy="64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3600" b="1">
                  <a:solidFill>
                    <a:srgbClr val="FFFFFF"/>
                  </a:solidFill>
                  <a:latin typeface="Gill Sans" pitchFamily="34" charset="0"/>
                  <a:cs typeface="Gill Sans" pitchFamily="34" charset="0"/>
                </a:rPr>
                <a:t>Link</a:t>
              </a:r>
              <a:endParaRPr lang="en-US" altLang="en-US" sz="3600">
                <a:latin typeface="Gill Sans" pitchFamily="34" charset="0"/>
                <a:cs typeface="Gill Sans" pitchFamily="34" charset="0"/>
              </a:endParaRPr>
            </a:p>
          </p:txBody>
        </p:sp>
        <p:sp>
          <p:nvSpPr>
            <p:cNvPr id="10" name="object 37">
              <a:extLst>
                <a:ext uri="{FF2B5EF4-FFF2-40B4-BE49-F238E27FC236}">
                  <a16:creationId xmlns:a16="http://schemas.microsoft.com/office/drawing/2014/main" id="{F640496A-5366-4B04-B6D6-088E62E3997D}"/>
                </a:ext>
              </a:extLst>
            </p:cNvPr>
            <p:cNvSpPr>
              <a:spLocks/>
            </p:cNvSpPr>
            <p:nvPr/>
          </p:nvSpPr>
          <p:spPr bwMode="auto">
            <a:xfrm>
              <a:off x="1792126" y="1933626"/>
              <a:ext cx="871920" cy="968188"/>
            </a:xfrm>
            <a:custGeom>
              <a:avLst/>
              <a:gdLst>
                <a:gd name="T0" fmla="*/ 884468 w 1508594"/>
                <a:gd name="T1" fmla="*/ 1650999 h 1676400"/>
                <a:gd name="T2" fmla="*/ 570326 w 1508594"/>
                <a:gd name="T3" fmla="*/ 1346199 h 1676400"/>
                <a:gd name="T4" fmla="*/ 544842 w 1508594"/>
                <a:gd name="T5" fmla="*/ 1473199 h 1676400"/>
                <a:gd name="T6" fmla="*/ 639665 w 1508594"/>
                <a:gd name="T7" fmla="*/ 1638299 h 1676400"/>
                <a:gd name="T8" fmla="*/ 721808 w 1508594"/>
                <a:gd name="T9" fmla="*/ 1574799 h 1676400"/>
                <a:gd name="T10" fmla="*/ 647025 w 1508594"/>
                <a:gd name="T11" fmla="*/ 1435099 h 1676400"/>
                <a:gd name="T12" fmla="*/ 694559 w 1508594"/>
                <a:gd name="T13" fmla="*/ 1346199 h 1676400"/>
                <a:gd name="T14" fmla="*/ 882383 w 1508594"/>
                <a:gd name="T15" fmla="*/ 1244599 h 1676400"/>
                <a:gd name="T16" fmla="*/ 863513 w 1508594"/>
                <a:gd name="T17" fmla="*/ 1346199 h 1676400"/>
                <a:gd name="T18" fmla="*/ 909482 w 1508594"/>
                <a:gd name="T19" fmla="*/ 1435099 h 1676400"/>
                <a:gd name="T20" fmla="*/ 808325 w 1508594"/>
                <a:gd name="T21" fmla="*/ 1574799 h 1676400"/>
                <a:gd name="T22" fmla="*/ 1003848 w 1508594"/>
                <a:gd name="T23" fmla="*/ 1511299 h 1676400"/>
                <a:gd name="T24" fmla="*/ 987438 w 1508594"/>
                <a:gd name="T25" fmla="*/ 1346199 h 1676400"/>
                <a:gd name="T26" fmla="*/ 1123162 w 1508594"/>
                <a:gd name="T27" fmla="*/ 647699 h 1676400"/>
                <a:gd name="T28" fmla="*/ 1042030 w 1508594"/>
                <a:gd name="T29" fmla="*/ 825499 h 1676400"/>
                <a:gd name="T30" fmla="*/ 1156182 w 1508594"/>
                <a:gd name="T31" fmla="*/ 1028699 h 1676400"/>
                <a:gd name="T32" fmla="*/ 1207442 w 1508594"/>
                <a:gd name="T33" fmla="*/ 939799 h 1676400"/>
                <a:gd name="T34" fmla="*/ 1148342 w 1508594"/>
                <a:gd name="T35" fmla="*/ 800099 h 1676400"/>
                <a:gd name="T36" fmla="*/ 1203179 w 1508594"/>
                <a:gd name="T37" fmla="*/ 711199 h 1676400"/>
                <a:gd name="T38" fmla="*/ 1427046 w 1508594"/>
                <a:gd name="T39" fmla="*/ 647699 h 1676400"/>
                <a:gd name="T40" fmla="*/ 1249858 w 1508594"/>
                <a:gd name="T41" fmla="*/ 596899 h 1676400"/>
                <a:gd name="T42" fmla="*/ 271090 w 1508594"/>
                <a:gd name="T43" fmla="*/ 1054099 h 1676400"/>
                <a:gd name="T44" fmla="*/ 1265498 w 1508594"/>
                <a:gd name="T45" fmla="*/ 1066799 h 1676400"/>
                <a:gd name="T46" fmla="*/ 1379063 w 1508594"/>
                <a:gd name="T47" fmla="*/ 1028699 h 1676400"/>
                <a:gd name="T48" fmla="*/ 1379063 w 1508594"/>
                <a:gd name="T49" fmla="*/ 1028699 h 1676400"/>
                <a:gd name="T50" fmla="*/ 555980 w 1508594"/>
                <a:gd name="T51" fmla="*/ 165099 h 1676400"/>
                <a:gd name="T52" fmla="*/ 547352 w 1508594"/>
                <a:gd name="T53" fmla="*/ 279399 h 1676400"/>
                <a:gd name="T54" fmla="*/ 97573 w 1508594"/>
                <a:gd name="T55" fmla="*/ 634999 h 1676400"/>
                <a:gd name="T56" fmla="*/ 3068 w 1508594"/>
                <a:gd name="T57" fmla="*/ 787399 h 1676400"/>
                <a:gd name="T58" fmla="*/ 18363 w 1508594"/>
                <a:gd name="T59" fmla="*/ 914399 h 1676400"/>
                <a:gd name="T60" fmla="*/ 410361 w 1508594"/>
                <a:gd name="T61" fmla="*/ 977899 h 1676400"/>
                <a:gd name="T62" fmla="*/ 124909 w 1508594"/>
                <a:gd name="T63" fmla="*/ 901699 h 1676400"/>
                <a:gd name="T64" fmla="*/ 116768 w 1508594"/>
                <a:gd name="T65" fmla="*/ 761999 h 1676400"/>
                <a:gd name="T66" fmla="*/ 184696 w 1508594"/>
                <a:gd name="T67" fmla="*/ 698499 h 1676400"/>
                <a:gd name="T68" fmla="*/ 376887 w 1508594"/>
                <a:gd name="T69" fmla="*/ 647699 h 1676400"/>
                <a:gd name="T70" fmla="*/ 709485 w 1508594"/>
                <a:gd name="T71" fmla="*/ 355599 h 1676400"/>
                <a:gd name="T72" fmla="*/ 650387 w 1508594"/>
                <a:gd name="T73" fmla="*/ 203199 h 1676400"/>
                <a:gd name="T74" fmla="*/ 754696 w 1508594"/>
                <a:gd name="T75" fmla="*/ 101599 h 1676400"/>
                <a:gd name="T76" fmla="*/ 429230 w 1508594"/>
                <a:gd name="T77" fmla="*/ 698499 h 1676400"/>
                <a:gd name="T78" fmla="*/ 353081 w 1508594"/>
                <a:gd name="T79" fmla="*/ 774699 h 1676400"/>
                <a:gd name="T80" fmla="*/ 302214 w 1508594"/>
                <a:gd name="T81" fmla="*/ 939799 h 1676400"/>
                <a:gd name="T82" fmla="*/ 448224 w 1508594"/>
                <a:gd name="T83" fmla="*/ 914399 h 1676400"/>
                <a:gd name="T84" fmla="*/ 464967 w 1508594"/>
                <a:gd name="T85" fmla="*/ 800099 h 1676400"/>
                <a:gd name="T86" fmla="*/ 1325487 w 1508594"/>
                <a:gd name="T87" fmla="*/ 711199 h 1676400"/>
                <a:gd name="T88" fmla="*/ 1408767 w 1508594"/>
                <a:gd name="T89" fmla="*/ 825499 h 1676400"/>
                <a:gd name="T90" fmla="*/ 1306306 w 1508594"/>
                <a:gd name="T91" fmla="*/ 952499 h 1676400"/>
                <a:gd name="T92" fmla="*/ 1501770 w 1508594"/>
                <a:gd name="T93" fmla="*/ 888999 h 1676400"/>
                <a:gd name="T94" fmla="*/ 1496682 w 1508594"/>
                <a:gd name="T95" fmla="*/ 749299 h 1676400"/>
                <a:gd name="T96" fmla="*/ 720781 w 1508594"/>
                <a:gd name="T97" fmla="*/ 469899 h 1676400"/>
                <a:gd name="T98" fmla="*/ 878473 w 1508594"/>
                <a:gd name="T99" fmla="*/ 444499 h 1676400"/>
                <a:gd name="T100" fmla="*/ 592772 w 1508594"/>
                <a:gd name="T101" fmla="*/ 380999 h 1676400"/>
                <a:gd name="T102" fmla="*/ 921747 w 1508594"/>
                <a:gd name="T103" fmla="*/ 419099 h 1676400"/>
                <a:gd name="T104" fmla="*/ 784191 w 1508594"/>
                <a:gd name="T105" fmla="*/ 101599 h 1676400"/>
                <a:gd name="T106" fmla="*/ 882565 w 1508594"/>
                <a:gd name="T107" fmla="*/ 152399 h 1676400"/>
                <a:gd name="T108" fmla="*/ 857499 w 1508594"/>
                <a:gd name="T109" fmla="*/ 342899 h 1676400"/>
                <a:gd name="T110" fmla="*/ 1008501 w 1508594"/>
                <a:gd name="T111" fmla="*/ 266699 h 1676400"/>
                <a:gd name="T112" fmla="*/ 992253 w 1508594"/>
                <a:gd name="T113" fmla="*/ 152399 h 1676400"/>
                <a:gd name="T114" fmla="*/ 670234 w 1508594"/>
                <a:gd name="T115" fmla="*/ 38099 h 1676400"/>
                <a:gd name="T116" fmla="*/ 777354 w 1508594"/>
                <a:gd name="T117" fmla="*/ 0 h 167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8594" h="1676400">
                  <a:moveTo>
                    <a:pt x="884468" y="1650999"/>
                  </a:moveTo>
                  <a:lnTo>
                    <a:pt x="670234" y="1650999"/>
                  </a:lnTo>
                  <a:lnTo>
                    <a:pt x="686634" y="1663699"/>
                  </a:lnTo>
                  <a:lnTo>
                    <a:pt x="703695" y="1676399"/>
                  </a:lnTo>
                  <a:lnTo>
                    <a:pt x="851008" y="1676399"/>
                  </a:lnTo>
                  <a:lnTo>
                    <a:pt x="868069" y="1663699"/>
                  </a:lnTo>
                  <a:lnTo>
                    <a:pt x="884468" y="1650999"/>
                  </a:lnTo>
                  <a:close/>
                </a:path>
                <a:path w="1508594" h="1676400">
                  <a:moveTo>
                    <a:pt x="871071" y="1231899"/>
                  </a:moveTo>
                  <a:lnTo>
                    <a:pt x="689469" y="1231899"/>
                  </a:lnTo>
                  <a:lnTo>
                    <a:pt x="672540" y="1244599"/>
                  </a:lnTo>
                  <a:lnTo>
                    <a:pt x="656404" y="1257299"/>
                  </a:lnTo>
                  <a:lnTo>
                    <a:pt x="641117" y="1257299"/>
                  </a:lnTo>
                  <a:lnTo>
                    <a:pt x="600904" y="1295399"/>
                  </a:lnTo>
                  <a:lnTo>
                    <a:pt x="570326" y="1346199"/>
                  </a:lnTo>
                  <a:lnTo>
                    <a:pt x="562534" y="1358899"/>
                  </a:lnTo>
                  <a:lnTo>
                    <a:pt x="556034" y="1371599"/>
                  </a:lnTo>
                  <a:lnTo>
                    <a:pt x="550882" y="1396999"/>
                  </a:lnTo>
                  <a:lnTo>
                    <a:pt x="547133" y="1409699"/>
                  </a:lnTo>
                  <a:lnTo>
                    <a:pt x="544843" y="1435099"/>
                  </a:lnTo>
                  <a:lnTo>
                    <a:pt x="544068" y="1447799"/>
                  </a:lnTo>
                  <a:lnTo>
                    <a:pt x="544842" y="1473199"/>
                  </a:lnTo>
                  <a:lnTo>
                    <a:pt x="547126" y="1485899"/>
                  </a:lnTo>
                  <a:lnTo>
                    <a:pt x="550859" y="1511299"/>
                  </a:lnTo>
                  <a:lnTo>
                    <a:pt x="555980" y="1523999"/>
                  </a:lnTo>
                  <a:lnTo>
                    <a:pt x="562429" y="1536699"/>
                  </a:lnTo>
                  <a:lnTo>
                    <a:pt x="570145" y="1562099"/>
                  </a:lnTo>
                  <a:lnTo>
                    <a:pt x="600291" y="1600199"/>
                  </a:lnTo>
                  <a:lnTo>
                    <a:pt x="639665" y="1638299"/>
                  </a:lnTo>
                  <a:lnTo>
                    <a:pt x="654558" y="1650999"/>
                  </a:lnTo>
                  <a:lnTo>
                    <a:pt x="900144" y="1650999"/>
                  </a:lnTo>
                  <a:lnTo>
                    <a:pt x="929086" y="1625599"/>
                  </a:lnTo>
                  <a:lnTo>
                    <a:pt x="965567" y="1587499"/>
                  </a:lnTo>
                  <a:lnTo>
                    <a:pt x="762698" y="1587499"/>
                  </a:lnTo>
                  <a:lnTo>
                    <a:pt x="748499" y="1574799"/>
                  </a:lnTo>
                  <a:lnTo>
                    <a:pt x="721808" y="1574799"/>
                  </a:lnTo>
                  <a:lnTo>
                    <a:pt x="709485" y="1562099"/>
                  </a:lnTo>
                  <a:lnTo>
                    <a:pt x="697955" y="1562099"/>
                  </a:lnTo>
                  <a:lnTo>
                    <a:pt x="668969" y="1523999"/>
                  </a:lnTo>
                  <a:lnTo>
                    <a:pt x="650156" y="1485899"/>
                  </a:lnTo>
                  <a:lnTo>
                    <a:pt x="644387" y="1460499"/>
                  </a:lnTo>
                  <a:lnTo>
                    <a:pt x="645000" y="1447799"/>
                  </a:lnTo>
                  <a:lnTo>
                    <a:pt x="647025" y="1435099"/>
                  </a:lnTo>
                  <a:lnTo>
                    <a:pt x="650388" y="1409699"/>
                  </a:lnTo>
                  <a:lnTo>
                    <a:pt x="655016" y="1396999"/>
                  </a:lnTo>
                  <a:lnTo>
                    <a:pt x="660835" y="1384299"/>
                  </a:lnTo>
                  <a:lnTo>
                    <a:pt x="667773" y="1371599"/>
                  </a:lnTo>
                  <a:lnTo>
                    <a:pt x="675755" y="1358899"/>
                  </a:lnTo>
                  <a:lnTo>
                    <a:pt x="684708" y="1358899"/>
                  </a:lnTo>
                  <a:lnTo>
                    <a:pt x="694559" y="1346199"/>
                  </a:lnTo>
                  <a:lnTo>
                    <a:pt x="705235" y="1333499"/>
                  </a:lnTo>
                  <a:lnTo>
                    <a:pt x="716662" y="1333499"/>
                  </a:lnTo>
                  <a:lnTo>
                    <a:pt x="728766" y="1320799"/>
                  </a:lnTo>
                  <a:lnTo>
                    <a:pt x="968105" y="1320799"/>
                  </a:lnTo>
                  <a:lnTo>
                    <a:pt x="960548" y="1308099"/>
                  </a:lnTo>
                  <a:lnTo>
                    <a:pt x="1005010" y="1244599"/>
                  </a:lnTo>
                  <a:lnTo>
                    <a:pt x="882383" y="1244599"/>
                  </a:lnTo>
                  <a:lnTo>
                    <a:pt x="871071" y="1231899"/>
                  </a:lnTo>
                  <a:close/>
                </a:path>
                <a:path w="1508594" h="1676400">
                  <a:moveTo>
                    <a:pt x="975121" y="1320799"/>
                  </a:moveTo>
                  <a:lnTo>
                    <a:pt x="813839" y="1320799"/>
                  </a:lnTo>
                  <a:lnTo>
                    <a:pt x="827547" y="1333499"/>
                  </a:lnTo>
                  <a:lnTo>
                    <a:pt x="840436" y="1333499"/>
                  </a:lnTo>
                  <a:lnTo>
                    <a:pt x="852446" y="1346199"/>
                  </a:lnTo>
                  <a:lnTo>
                    <a:pt x="863513" y="1346199"/>
                  </a:lnTo>
                  <a:lnTo>
                    <a:pt x="873578" y="1358899"/>
                  </a:lnTo>
                  <a:lnTo>
                    <a:pt x="882579" y="1371599"/>
                  </a:lnTo>
                  <a:lnTo>
                    <a:pt x="890455" y="1384299"/>
                  </a:lnTo>
                  <a:lnTo>
                    <a:pt x="897144" y="1396999"/>
                  </a:lnTo>
                  <a:lnTo>
                    <a:pt x="902586" y="1396999"/>
                  </a:lnTo>
                  <a:lnTo>
                    <a:pt x="906719" y="1422399"/>
                  </a:lnTo>
                  <a:lnTo>
                    <a:pt x="909482" y="1435099"/>
                  </a:lnTo>
                  <a:lnTo>
                    <a:pt x="910814" y="1447799"/>
                  </a:lnTo>
                  <a:lnTo>
                    <a:pt x="904223" y="1485899"/>
                  </a:lnTo>
                  <a:lnTo>
                    <a:pt x="885735" y="1523999"/>
                  </a:lnTo>
                  <a:lnTo>
                    <a:pt x="857485" y="1562099"/>
                  </a:lnTo>
                  <a:lnTo>
                    <a:pt x="846268" y="1562099"/>
                  </a:lnTo>
                  <a:lnTo>
                    <a:pt x="834283" y="1574799"/>
                  </a:lnTo>
                  <a:lnTo>
                    <a:pt x="808325" y="1574799"/>
                  </a:lnTo>
                  <a:lnTo>
                    <a:pt x="794510" y="1587499"/>
                  </a:lnTo>
                  <a:lnTo>
                    <a:pt x="965567" y="1587499"/>
                  </a:lnTo>
                  <a:lnTo>
                    <a:pt x="975637" y="1574799"/>
                  </a:lnTo>
                  <a:lnTo>
                    <a:pt x="984560" y="1562099"/>
                  </a:lnTo>
                  <a:lnTo>
                    <a:pt x="992277" y="1536699"/>
                  </a:lnTo>
                  <a:lnTo>
                    <a:pt x="998726" y="1523999"/>
                  </a:lnTo>
                  <a:lnTo>
                    <a:pt x="1003848" y="1511299"/>
                  </a:lnTo>
                  <a:lnTo>
                    <a:pt x="1007581" y="1485899"/>
                  </a:lnTo>
                  <a:lnTo>
                    <a:pt x="1009865" y="1473199"/>
                  </a:lnTo>
                  <a:lnTo>
                    <a:pt x="1010640" y="1447799"/>
                  </a:lnTo>
                  <a:lnTo>
                    <a:pt x="1010252" y="1435099"/>
                  </a:lnTo>
                  <a:lnTo>
                    <a:pt x="1009102" y="1422399"/>
                  </a:lnTo>
                  <a:lnTo>
                    <a:pt x="1001302" y="1384299"/>
                  </a:lnTo>
                  <a:lnTo>
                    <a:pt x="987438" y="1346199"/>
                  </a:lnTo>
                  <a:lnTo>
                    <a:pt x="981572" y="1333499"/>
                  </a:lnTo>
                  <a:lnTo>
                    <a:pt x="975121" y="1320799"/>
                  </a:lnTo>
                  <a:close/>
                </a:path>
                <a:path w="1508594" h="1676400">
                  <a:moveTo>
                    <a:pt x="1085791" y="393699"/>
                  </a:moveTo>
                  <a:lnTo>
                    <a:pt x="949529" y="393699"/>
                  </a:lnTo>
                  <a:lnTo>
                    <a:pt x="1143749" y="634999"/>
                  </a:lnTo>
                  <a:lnTo>
                    <a:pt x="1133230" y="647699"/>
                  </a:lnTo>
                  <a:lnTo>
                    <a:pt x="1123162" y="647699"/>
                  </a:lnTo>
                  <a:lnTo>
                    <a:pt x="1113569" y="660399"/>
                  </a:lnTo>
                  <a:lnTo>
                    <a:pt x="1104474" y="673099"/>
                  </a:lnTo>
                  <a:lnTo>
                    <a:pt x="1095899" y="673099"/>
                  </a:lnTo>
                  <a:lnTo>
                    <a:pt x="1073531" y="711199"/>
                  </a:lnTo>
                  <a:lnTo>
                    <a:pt x="1056681" y="749299"/>
                  </a:lnTo>
                  <a:lnTo>
                    <a:pt x="1045973" y="787399"/>
                  </a:lnTo>
                  <a:lnTo>
                    <a:pt x="1042030" y="825499"/>
                  </a:lnTo>
                  <a:lnTo>
                    <a:pt x="1042399" y="838199"/>
                  </a:lnTo>
                  <a:lnTo>
                    <a:pt x="1047799" y="876299"/>
                  </a:lnTo>
                  <a:lnTo>
                    <a:pt x="1059214" y="914399"/>
                  </a:lnTo>
                  <a:lnTo>
                    <a:pt x="1076095" y="952499"/>
                  </a:lnTo>
                  <a:lnTo>
                    <a:pt x="882383" y="1244599"/>
                  </a:lnTo>
                  <a:lnTo>
                    <a:pt x="1005010" y="1244599"/>
                  </a:lnTo>
                  <a:lnTo>
                    <a:pt x="1156182" y="1028699"/>
                  </a:lnTo>
                  <a:lnTo>
                    <a:pt x="1395410" y="1028699"/>
                  </a:lnTo>
                  <a:lnTo>
                    <a:pt x="1425414" y="1003299"/>
                  </a:lnTo>
                  <a:lnTo>
                    <a:pt x="1462898" y="965199"/>
                  </a:lnTo>
                  <a:lnTo>
                    <a:pt x="1260653" y="965199"/>
                  </a:lnTo>
                  <a:lnTo>
                    <a:pt x="1246455" y="952499"/>
                  </a:lnTo>
                  <a:lnTo>
                    <a:pt x="1219765" y="952499"/>
                  </a:lnTo>
                  <a:lnTo>
                    <a:pt x="1207442" y="939799"/>
                  </a:lnTo>
                  <a:lnTo>
                    <a:pt x="1195913" y="939799"/>
                  </a:lnTo>
                  <a:lnTo>
                    <a:pt x="1166927" y="901699"/>
                  </a:lnTo>
                  <a:lnTo>
                    <a:pt x="1148112" y="863599"/>
                  </a:lnTo>
                  <a:lnTo>
                    <a:pt x="1142343" y="838199"/>
                  </a:lnTo>
                  <a:lnTo>
                    <a:pt x="1142955" y="825499"/>
                  </a:lnTo>
                  <a:lnTo>
                    <a:pt x="1144979" y="812799"/>
                  </a:lnTo>
                  <a:lnTo>
                    <a:pt x="1148342" y="800099"/>
                  </a:lnTo>
                  <a:lnTo>
                    <a:pt x="1152968" y="774699"/>
                  </a:lnTo>
                  <a:lnTo>
                    <a:pt x="1158787" y="761999"/>
                  </a:lnTo>
                  <a:lnTo>
                    <a:pt x="1165723" y="749299"/>
                  </a:lnTo>
                  <a:lnTo>
                    <a:pt x="1173704" y="749299"/>
                  </a:lnTo>
                  <a:lnTo>
                    <a:pt x="1182655" y="736599"/>
                  </a:lnTo>
                  <a:lnTo>
                    <a:pt x="1192505" y="723899"/>
                  </a:lnTo>
                  <a:lnTo>
                    <a:pt x="1203179" y="711199"/>
                  </a:lnTo>
                  <a:lnTo>
                    <a:pt x="1214604" y="711199"/>
                  </a:lnTo>
                  <a:lnTo>
                    <a:pt x="1226707" y="698499"/>
                  </a:lnTo>
                  <a:lnTo>
                    <a:pt x="1468560" y="698499"/>
                  </a:lnTo>
                  <a:lnTo>
                    <a:pt x="1463525" y="685799"/>
                  </a:lnTo>
                  <a:lnTo>
                    <a:pt x="1452371" y="673099"/>
                  </a:lnTo>
                  <a:lnTo>
                    <a:pt x="1440191" y="660399"/>
                  </a:lnTo>
                  <a:lnTo>
                    <a:pt x="1427046" y="647699"/>
                  </a:lnTo>
                  <a:lnTo>
                    <a:pt x="1412997" y="634999"/>
                  </a:lnTo>
                  <a:lnTo>
                    <a:pt x="1398104" y="634999"/>
                  </a:lnTo>
                  <a:lnTo>
                    <a:pt x="1382427" y="622299"/>
                  </a:lnTo>
                  <a:lnTo>
                    <a:pt x="1366028" y="609599"/>
                  </a:lnTo>
                  <a:lnTo>
                    <a:pt x="1348967" y="609599"/>
                  </a:lnTo>
                  <a:lnTo>
                    <a:pt x="1331304" y="596899"/>
                  </a:lnTo>
                  <a:lnTo>
                    <a:pt x="1249858" y="596899"/>
                  </a:lnTo>
                  <a:lnTo>
                    <a:pt x="1085791" y="393699"/>
                  </a:lnTo>
                  <a:close/>
                </a:path>
                <a:path w="1508594" h="1676400">
                  <a:moveTo>
                    <a:pt x="835320" y="1219199"/>
                  </a:moveTo>
                  <a:lnTo>
                    <a:pt x="725486" y="1219199"/>
                  </a:lnTo>
                  <a:lnTo>
                    <a:pt x="707136" y="1231899"/>
                  </a:lnTo>
                  <a:lnTo>
                    <a:pt x="847522" y="1231899"/>
                  </a:lnTo>
                  <a:lnTo>
                    <a:pt x="835320" y="1219199"/>
                  </a:lnTo>
                  <a:close/>
                </a:path>
                <a:path w="1508594" h="1676400">
                  <a:moveTo>
                    <a:pt x="271090" y="1054099"/>
                  </a:moveTo>
                  <a:lnTo>
                    <a:pt x="195507" y="1054099"/>
                  </a:lnTo>
                  <a:lnTo>
                    <a:pt x="214193" y="1066799"/>
                  </a:lnTo>
                  <a:lnTo>
                    <a:pt x="252404" y="1066799"/>
                  </a:lnTo>
                  <a:lnTo>
                    <a:pt x="271090" y="1054099"/>
                  </a:lnTo>
                  <a:close/>
                </a:path>
                <a:path w="1508594" h="1676400">
                  <a:moveTo>
                    <a:pt x="1286003" y="1054099"/>
                  </a:moveTo>
                  <a:lnTo>
                    <a:pt x="1252319" y="1054099"/>
                  </a:lnTo>
                  <a:lnTo>
                    <a:pt x="1265498" y="1066799"/>
                  </a:lnTo>
                  <a:lnTo>
                    <a:pt x="1286003" y="1054099"/>
                  </a:lnTo>
                  <a:close/>
                </a:path>
                <a:path w="1508594" h="1676400">
                  <a:moveTo>
                    <a:pt x="324019" y="1041399"/>
                  </a:moveTo>
                  <a:lnTo>
                    <a:pt x="142576" y="1041399"/>
                  </a:lnTo>
                  <a:lnTo>
                    <a:pt x="159638" y="1054099"/>
                  </a:lnTo>
                  <a:lnTo>
                    <a:pt x="306957" y="1054099"/>
                  </a:lnTo>
                  <a:lnTo>
                    <a:pt x="324019" y="1041399"/>
                  </a:lnTo>
                  <a:close/>
                </a:path>
                <a:path w="1508594" h="1676400">
                  <a:moveTo>
                    <a:pt x="1379063" y="1028699"/>
                  </a:moveTo>
                  <a:lnTo>
                    <a:pt x="1167123" y="1028699"/>
                  </a:lnTo>
                  <a:lnTo>
                    <a:pt x="1178409" y="1041399"/>
                  </a:lnTo>
                  <a:lnTo>
                    <a:pt x="1190020" y="1041399"/>
                  </a:lnTo>
                  <a:lnTo>
                    <a:pt x="1201939" y="1054099"/>
                  </a:lnTo>
                  <a:lnTo>
                    <a:pt x="1343944" y="1054099"/>
                  </a:lnTo>
                  <a:lnTo>
                    <a:pt x="1361890" y="1041399"/>
                  </a:lnTo>
                  <a:lnTo>
                    <a:pt x="1379063" y="1028699"/>
                  </a:lnTo>
                  <a:close/>
                </a:path>
                <a:path w="1508594" h="1676400">
                  <a:moveTo>
                    <a:pt x="900141" y="38099"/>
                  </a:moveTo>
                  <a:lnTo>
                    <a:pt x="654558" y="38099"/>
                  </a:lnTo>
                  <a:lnTo>
                    <a:pt x="639665" y="50799"/>
                  </a:lnTo>
                  <a:lnTo>
                    <a:pt x="600291" y="88899"/>
                  </a:lnTo>
                  <a:lnTo>
                    <a:pt x="570145" y="126999"/>
                  </a:lnTo>
                  <a:lnTo>
                    <a:pt x="562429" y="152399"/>
                  </a:lnTo>
                  <a:lnTo>
                    <a:pt x="555980" y="165099"/>
                  </a:lnTo>
                  <a:lnTo>
                    <a:pt x="550859" y="177799"/>
                  </a:lnTo>
                  <a:lnTo>
                    <a:pt x="547126" y="203199"/>
                  </a:lnTo>
                  <a:lnTo>
                    <a:pt x="544842" y="215899"/>
                  </a:lnTo>
                  <a:lnTo>
                    <a:pt x="544068" y="241299"/>
                  </a:lnTo>
                  <a:lnTo>
                    <a:pt x="544458" y="253999"/>
                  </a:lnTo>
                  <a:lnTo>
                    <a:pt x="545579" y="266699"/>
                  </a:lnTo>
                  <a:lnTo>
                    <a:pt x="547352" y="279399"/>
                  </a:lnTo>
                  <a:lnTo>
                    <a:pt x="267589" y="596899"/>
                  </a:lnTo>
                  <a:lnTo>
                    <a:pt x="182896" y="596899"/>
                  </a:lnTo>
                  <a:lnTo>
                    <a:pt x="164302" y="609599"/>
                  </a:lnTo>
                  <a:lnTo>
                    <a:pt x="146419" y="609599"/>
                  </a:lnTo>
                  <a:lnTo>
                    <a:pt x="129301" y="622299"/>
                  </a:lnTo>
                  <a:lnTo>
                    <a:pt x="113001" y="634999"/>
                  </a:lnTo>
                  <a:lnTo>
                    <a:pt x="97573" y="634999"/>
                  </a:lnTo>
                  <a:lnTo>
                    <a:pt x="57059" y="673099"/>
                  </a:lnTo>
                  <a:lnTo>
                    <a:pt x="35394" y="711199"/>
                  </a:lnTo>
                  <a:lnTo>
                    <a:pt x="26325" y="723899"/>
                  </a:lnTo>
                  <a:lnTo>
                    <a:pt x="18505" y="736599"/>
                  </a:lnTo>
                  <a:lnTo>
                    <a:pt x="11986" y="749299"/>
                  </a:lnTo>
                  <a:lnTo>
                    <a:pt x="6823" y="774699"/>
                  </a:lnTo>
                  <a:lnTo>
                    <a:pt x="3068" y="787399"/>
                  </a:lnTo>
                  <a:lnTo>
                    <a:pt x="776" y="812799"/>
                  </a:lnTo>
                  <a:lnTo>
                    <a:pt x="0" y="825499"/>
                  </a:lnTo>
                  <a:lnTo>
                    <a:pt x="774" y="850899"/>
                  </a:lnTo>
                  <a:lnTo>
                    <a:pt x="3059" y="863599"/>
                  </a:lnTo>
                  <a:lnTo>
                    <a:pt x="6792" y="888999"/>
                  </a:lnTo>
                  <a:lnTo>
                    <a:pt x="11913" y="901699"/>
                  </a:lnTo>
                  <a:lnTo>
                    <a:pt x="18363" y="914399"/>
                  </a:lnTo>
                  <a:lnTo>
                    <a:pt x="26079" y="939799"/>
                  </a:lnTo>
                  <a:lnTo>
                    <a:pt x="56229" y="977899"/>
                  </a:lnTo>
                  <a:lnTo>
                    <a:pt x="95606" y="1015999"/>
                  </a:lnTo>
                  <a:lnTo>
                    <a:pt x="126176" y="1041399"/>
                  </a:lnTo>
                  <a:lnTo>
                    <a:pt x="340418" y="1041399"/>
                  </a:lnTo>
                  <a:lnTo>
                    <a:pt x="370987" y="1015999"/>
                  </a:lnTo>
                  <a:lnTo>
                    <a:pt x="410361" y="977899"/>
                  </a:lnTo>
                  <a:lnTo>
                    <a:pt x="421516" y="965199"/>
                  </a:lnTo>
                  <a:lnTo>
                    <a:pt x="204445" y="965199"/>
                  </a:lnTo>
                  <a:lnTo>
                    <a:pt x="190786" y="952499"/>
                  </a:lnTo>
                  <a:lnTo>
                    <a:pt x="177753" y="952499"/>
                  </a:lnTo>
                  <a:lnTo>
                    <a:pt x="165429" y="939799"/>
                  </a:lnTo>
                  <a:lnTo>
                    <a:pt x="153899" y="939799"/>
                  </a:lnTo>
                  <a:lnTo>
                    <a:pt x="124909" y="901699"/>
                  </a:lnTo>
                  <a:lnTo>
                    <a:pt x="106091" y="863599"/>
                  </a:lnTo>
                  <a:lnTo>
                    <a:pt x="100320" y="838199"/>
                  </a:lnTo>
                  <a:lnTo>
                    <a:pt x="100933" y="825499"/>
                  </a:lnTo>
                  <a:lnTo>
                    <a:pt x="102958" y="812799"/>
                  </a:lnTo>
                  <a:lnTo>
                    <a:pt x="106321" y="800099"/>
                  </a:lnTo>
                  <a:lnTo>
                    <a:pt x="110948" y="774699"/>
                  </a:lnTo>
                  <a:lnTo>
                    <a:pt x="116768" y="761999"/>
                  </a:lnTo>
                  <a:lnTo>
                    <a:pt x="123705" y="749299"/>
                  </a:lnTo>
                  <a:lnTo>
                    <a:pt x="131687" y="749299"/>
                  </a:lnTo>
                  <a:lnTo>
                    <a:pt x="140640" y="736599"/>
                  </a:lnTo>
                  <a:lnTo>
                    <a:pt x="150491" y="723899"/>
                  </a:lnTo>
                  <a:lnTo>
                    <a:pt x="161166" y="711199"/>
                  </a:lnTo>
                  <a:lnTo>
                    <a:pt x="172592" y="711199"/>
                  </a:lnTo>
                  <a:lnTo>
                    <a:pt x="184696" y="698499"/>
                  </a:lnTo>
                  <a:lnTo>
                    <a:pt x="429230" y="698499"/>
                  </a:lnTo>
                  <a:lnTo>
                    <a:pt x="421853" y="685799"/>
                  </a:lnTo>
                  <a:lnTo>
                    <a:pt x="413906" y="685799"/>
                  </a:lnTo>
                  <a:lnTo>
                    <a:pt x="405413" y="673099"/>
                  </a:lnTo>
                  <a:lnTo>
                    <a:pt x="396397" y="660399"/>
                  </a:lnTo>
                  <a:lnTo>
                    <a:pt x="386880" y="647699"/>
                  </a:lnTo>
                  <a:lnTo>
                    <a:pt x="376887" y="647699"/>
                  </a:lnTo>
                  <a:lnTo>
                    <a:pt x="366440" y="634999"/>
                  </a:lnTo>
                  <a:lnTo>
                    <a:pt x="592772" y="380999"/>
                  </a:lnTo>
                  <a:lnTo>
                    <a:pt x="1075536" y="380999"/>
                  </a:lnTo>
                  <a:lnTo>
                    <a:pt x="1065282" y="368299"/>
                  </a:lnTo>
                  <a:lnTo>
                    <a:pt x="734841" y="368299"/>
                  </a:lnTo>
                  <a:lnTo>
                    <a:pt x="721808" y="355599"/>
                  </a:lnTo>
                  <a:lnTo>
                    <a:pt x="709485" y="355599"/>
                  </a:lnTo>
                  <a:lnTo>
                    <a:pt x="697955" y="342899"/>
                  </a:lnTo>
                  <a:lnTo>
                    <a:pt x="687303" y="342899"/>
                  </a:lnTo>
                  <a:lnTo>
                    <a:pt x="677613" y="330199"/>
                  </a:lnTo>
                  <a:lnTo>
                    <a:pt x="655156" y="292099"/>
                  </a:lnTo>
                  <a:lnTo>
                    <a:pt x="644387" y="253999"/>
                  </a:lnTo>
                  <a:lnTo>
                    <a:pt x="645000" y="241299"/>
                  </a:lnTo>
                  <a:lnTo>
                    <a:pt x="650387" y="203199"/>
                  </a:lnTo>
                  <a:lnTo>
                    <a:pt x="667768" y="165099"/>
                  </a:lnTo>
                  <a:lnTo>
                    <a:pt x="684701" y="139699"/>
                  </a:lnTo>
                  <a:lnTo>
                    <a:pt x="694551" y="139699"/>
                  </a:lnTo>
                  <a:lnTo>
                    <a:pt x="705225" y="126999"/>
                  </a:lnTo>
                  <a:lnTo>
                    <a:pt x="716650" y="114299"/>
                  </a:lnTo>
                  <a:lnTo>
                    <a:pt x="741459" y="114299"/>
                  </a:lnTo>
                  <a:lnTo>
                    <a:pt x="754696" y="101599"/>
                  </a:lnTo>
                  <a:lnTo>
                    <a:pt x="965555" y="101599"/>
                  </a:lnTo>
                  <a:lnTo>
                    <a:pt x="954403" y="88899"/>
                  </a:lnTo>
                  <a:lnTo>
                    <a:pt x="942224" y="76199"/>
                  </a:lnTo>
                  <a:lnTo>
                    <a:pt x="929081" y="63499"/>
                  </a:lnTo>
                  <a:lnTo>
                    <a:pt x="915033" y="50799"/>
                  </a:lnTo>
                  <a:lnTo>
                    <a:pt x="900141" y="38099"/>
                  </a:lnTo>
                  <a:close/>
                </a:path>
                <a:path w="1508594" h="1676400">
                  <a:moveTo>
                    <a:pt x="429230" y="698499"/>
                  </a:moveTo>
                  <a:lnTo>
                    <a:pt x="269765" y="698499"/>
                  </a:lnTo>
                  <a:lnTo>
                    <a:pt x="283475" y="711199"/>
                  </a:lnTo>
                  <a:lnTo>
                    <a:pt x="296365" y="711199"/>
                  </a:lnTo>
                  <a:lnTo>
                    <a:pt x="308375" y="723899"/>
                  </a:lnTo>
                  <a:lnTo>
                    <a:pt x="319444" y="723899"/>
                  </a:lnTo>
                  <a:lnTo>
                    <a:pt x="329510" y="736599"/>
                  </a:lnTo>
                  <a:lnTo>
                    <a:pt x="353081" y="774699"/>
                  </a:lnTo>
                  <a:lnTo>
                    <a:pt x="365425" y="812799"/>
                  </a:lnTo>
                  <a:lnTo>
                    <a:pt x="366758" y="825499"/>
                  </a:lnTo>
                  <a:lnTo>
                    <a:pt x="366015" y="838199"/>
                  </a:lnTo>
                  <a:lnTo>
                    <a:pt x="355221" y="876299"/>
                  </a:lnTo>
                  <a:lnTo>
                    <a:pt x="333242" y="914399"/>
                  </a:lnTo>
                  <a:lnTo>
                    <a:pt x="313430" y="939799"/>
                  </a:lnTo>
                  <a:lnTo>
                    <a:pt x="302214" y="939799"/>
                  </a:lnTo>
                  <a:lnTo>
                    <a:pt x="290231" y="952499"/>
                  </a:lnTo>
                  <a:lnTo>
                    <a:pt x="264277" y="952499"/>
                  </a:lnTo>
                  <a:lnTo>
                    <a:pt x="250464" y="965199"/>
                  </a:lnTo>
                  <a:lnTo>
                    <a:pt x="421516" y="965199"/>
                  </a:lnTo>
                  <a:lnTo>
                    <a:pt x="431585" y="952499"/>
                  </a:lnTo>
                  <a:lnTo>
                    <a:pt x="440508" y="939799"/>
                  </a:lnTo>
                  <a:lnTo>
                    <a:pt x="448224" y="914399"/>
                  </a:lnTo>
                  <a:lnTo>
                    <a:pt x="454672" y="901699"/>
                  </a:lnTo>
                  <a:lnTo>
                    <a:pt x="459793" y="888999"/>
                  </a:lnTo>
                  <a:lnTo>
                    <a:pt x="463526" y="863599"/>
                  </a:lnTo>
                  <a:lnTo>
                    <a:pt x="465810" y="850899"/>
                  </a:lnTo>
                  <a:lnTo>
                    <a:pt x="466585" y="825499"/>
                  </a:lnTo>
                  <a:lnTo>
                    <a:pt x="466177" y="812799"/>
                  </a:lnTo>
                  <a:lnTo>
                    <a:pt x="464967" y="800099"/>
                  </a:lnTo>
                  <a:lnTo>
                    <a:pt x="456764" y="761999"/>
                  </a:lnTo>
                  <a:lnTo>
                    <a:pt x="442184" y="723899"/>
                  </a:lnTo>
                  <a:lnTo>
                    <a:pt x="436015" y="711199"/>
                  </a:lnTo>
                  <a:lnTo>
                    <a:pt x="429230" y="698499"/>
                  </a:lnTo>
                  <a:close/>
                </a:path>
                <a:path w="1508594" h="1676400">
                  <a:moveTo>
                    <a:pt x="1468560" y="698499"/>
                  </a:moveTo>
                  <a:lnTo>
                    <a:pt x="1311777" y="698499"/>
                  </a:lnTo>
                  <a:lnTo>
                    <a:pt x="1325487" y="711199"/>
                  </a:lnTo>
                  <a:lnTo>
                    <a:pt x="1338377" y="711199"/>
                  </a:lnTo>
                  <a:lnTo>
                    <a:pt x="1350387" y="723899"/>
                  </a:lnTo>
                  <a:lnTo>
                    <a:pt x="1361455" y="723899"/>
                  </a:lnTo>
                  <a:lnTo>
                    <a:pt x="1371521" y="736599"/>
                  </a:lnTo>
                  <a:lnTo>
                    <a:pt x="1395090" y="774699"/>
                  </a:lnTo>
                  <a:lnTo>
                    <a:pt x="1407433" y="812799"/>
                  </a:lnTo>
                  <a:lnTo>
                    <a:pt x="1408767" y="825499"/>
                  </a:lnTo>
                  <a:lnTo>
                    <a:pt x="1408025" y="838199"/>
                  </a:lnTo>
                  <a:lnTo>
                    <a:pt x="1397234" y="876299"/>
                  </a:lnTo>
                  <a:lnTo>
                    <a:pt x="1375261" y="914399"/>
                  </a:lnTo>
                  <a:lnTo>
                    <a:pt x="1355454" y="939799"/>
                  </a:lnTo>
                  <a:lnTo>
                    <a:pt x="1344240" y="939799"/>
                  </a:lnTo>
                  <a:lnTo>
                    <a:pt x="1332258" y="952499"/>
                  </a:lnTo>
                  <a:lnTo>
                    <a:pt x="1306306" y="952499"/>
                  </a:lnTo>
                  <a:lnTo>
                    <a:pt x="1292494" y="965199"/>
                  </a:lnTo>
                  <a:lnTo>
                    <a:pt x="1462898" y="965199"/>
                  </a:lnTo>
                  <a:lnTo>
                    <a:pt x="1473174" y="952499"/>
                  </a:lnTo>
                  <a:lnTo>
                    <a:pt x="1482252" y="939799"/>
                  </a:lnTo>
                  <a:lnTo>
                    <a:pt x="1490080" y="914399"/>
                  </a:lnTo>
                  <a:lnTo>
                    <a:pt x="1496603" y="901699"/>
                  </a:lnTo>
                  <a:lnTo>
                    <a:pt x="1501770" y="888999"/>
                  </a:lnTo>
                  <a:lnTo>
                    <a:pt x="1505526" y="863599"/>
                  </a:lnTo>
                  <a:lnTo>
                    <a:pt x="1507818" y="850899"/>
                  </a:lnTo>
                  <a:lnTo>
                    <a:pt x="1508594" y="825499"/>
                  </a:lnTo>
                  <a:lnTo>
                    <a:pt x="1507820" y="812799"/>
                  </a:lnTo>
                  <a:lnTo>
                    <a:pt x="1505536" y="787399"/>
                  </a:lnTo>
                  <a:lnTo>
                    <a:pt x="1501803" y="774699"/>
                  </a:lnTo>
                  <a:lnTo>
                    <a:pt x="1496682" y="749299"/>
                  </a:lnTo>
                  <a:lnTo>
                    <a:pt x="1490233" y="736599"/>
                  </a:lnTo>
                  <a:lnTo>
                    <a:pt x="1482517" y="723899"/>
                  </a:lnTo>
                  <a:lnTo>
                    <a:pt x="1473594" y="711199"/>
                  </a:lnTo>
                  <a:lnTo>
                    <a:pt x="1468560" y="698499"/>
                  </a:lnTo>
                  <a:close/>
                </a:path>
                <a:path w="1508594" h="1676400">
                  <a:moveTo>
                    <a:pt x="841909" y="457199"/>
                  </a:moveTo>
                  <a:lnTo>
                    <a:pt x="708024" y="457199"/>
                  </a:lnTo>
                  <a:lnTo>
                    <a:pt x="720781" y="469899"/>
                  </a:lnTo>
                  <a:lnTo>
                    <a:pt x="829025" y="469899"/>
                  </a:lnTo>
                  <a:lnTo>
                    <a:pt x="841909" y="457199"/>
                  </a:lnTo>
                  <a:close/>
                </a:path>
                <a:path w="1508594" h="1676400">
                  <a:moveTo>
                    <a:pt x="878473" y="444499"/>
                  </a:moveTo>
                  <a:lnTo>
                    <a:pt x="671679" y="444499"/>
                  </a:lnTo>
                  <a:lnTo>
                    <a:pt x="683450" y="457199"/>
                  </a:lnTo>
                  <a:lnTo>
                    <a:pt x="866650" y="457199"/>
                  </a:lnTo>
                  <a:lnTo>
                    <a:pt x="878473" y="444499"/>
                  </a:lnTo>
                  <a:close/>
                </a:path>
                <a:path w="1508594" h="1676400">
                  <a:moveTo>
                    <a:pt x="900947" y="431799"/>
                  </a:moveTo>
                  <a:lnTo>
                    <a:pt x="649275" y="431799"/>
                  </a:lnTo>
                  <a:lnTo>
                    <a:pt x="660279" y="444499"/>
                  </a:lnTo>
                  <a:lnTo>
                    <a:pt x="889911" y="444499"/>
                  </a:lnTo>
                  <a:lnTo>
                    <a:pt x="900947" y="431799"/>
                  </a:lnTo>
                  <a:close/>
                </a:path>
                <a:path w="1508594" h="1676400">
                  <a:moveTo>
                    <a:pt x="1075536" y="380999"/>
                  </a:moveTo>
                  <a:lnTo>
                    <a:pt x="592772" y="380999"/>
                  </a:lnTo>
                  <a:lnTo>
                    <a:pt x="600945" y="393699"/>
                  </a:lnTo>
                  <a:lnTo>
                    <a:pt x="609645" y="406399"/>
                  </a:lnTo>
                  <a:lnTo>
                    <a:pt x="618850" y="406399"/>
                  </a:lnTo>
                  <a:lnTo>
                    <a:pt x="628538" y="419099"/>
                  </a:lnTo>
                  <a:lnTo>
                    <a:pt x="638687" y="431799"/>
                  </a:lnTo>
                  <a:lnTo>
                    <a:pt x="911564" y="431799"/>
                  </a:lnTo>
                  <a:lnTo>
                    <a:pt x="921747" y="419099"/>
                  </a:lnTo>
                  <a:lnTo>
                    <a:pt x="931480" y="419099"/>
                  </a:lnTo>
                  <a:lnTo>
                    <a:pt x="940746" y="406399"/>
                  </a:lnTo>
                  <a:lnTo>
                    <a:pt x="949529" y="393699"/>
                  </a:lnTo>
                  <a:lnTo>
                    <a:pt x="1085791" y="393699"/>
                  </a:lnTo>
                  <a:lnTo>
                    <a:pt x="1075536" y="380999"/>
                  </a:lnTo>
                  <a:close/>
                </a:path>
                <a:path w="1508594" h="1676400">
                  <a:moveTo>
                    <a:pt x="965555" y="101599"/>
                  </a:moveTo>
                  <a:lnTo>
                    <a:pt x="784191" y="101599"/>
                  </a:lnTo>
                  <a:lnTo>
                    <a:pt x="799354" y="114299"/>
                  </a:lnTo>
                  <a:lnTo>
                    <a:pt x="827530" y="114299"/>
                  </a:lnTo>
                  <a:lnTo>
                    <a:pt x="840420" y="126999"/>
                  </a:lnTo>
                  <a:lnTo>
                    <a:pt x="852430" y="126999"/>
                  </a:lnTo>
                  <a:lnTo>
                    <a:pt x="863498" y="139699"/>
                  </a:lnTo>
                  <a:lnTo>
                    <a:pt x="873563" y="152399"/>
                  </a:lnTo>
                  <a:lnTo>
                    <a:pt x="882565" y="152399"/>
                  </a:lnTo>
                  <a:lnTo>
                    <a:pt x="902576" y="190499"/>
                  </a:lnTo>
                  <a:lnTo>
                    <a:pt x="910813" y="228599"/>
                  </a:lnTo>
                  <a:lnTo>
                    <a:pt x="910070" y="253999"/>
                  </a:lnTo>
                  <a:lnTo>
                    <a:pt x="899280" y="292099"/>
                  </a:lnTo>
                  <a:lnTo>
                    <a:pt x="877306" y="330199"/>
                  </a:lnTo>
                  <a:lnTo>
                    <a:pt x="867866" y="342899"/>
                  </a:lnTo>
                  <a:lnTo>
                    <a:pt x="857499" y="342899"/>
                  </a:lnTo>
                  <a:lnTo>
                    <a:pt x="846285" y="355599"/>
                  </a:lnTo>
                  <a:lnTo>
                    <a:pt x="834303" y="355599"/>
                  </a:lnTo>
                  <a:lnTo>
                    <a:pt x="821632" y="368299"/>
                  </a:lnTo>
                  <a:lnTo>
                    <a:pt x="1065282" y="368299"/>
                  </a:lnTo>
                  <a:lnTo>
                    <a:pt x="1003757" y="292099"/>
                  </a:lnTo>
                  <a:lnTo>
                    <a:pt x="1006434" y="279399"/>
                  </a:lnTo>
                  <a:lnTo>
                    <a:pt x="1008501" y="266699"/>
                  </a:lnTo>
                  <a:lnTo>
                    <a:pt x="1009902" y="253999"/>
                  </a:lnTo>
                  <a:lnTo>
                    <a:pt x="1010582" y="241299"/>
                  </a:lnTo>
                  <a:lnTo>
                    <a:pt x="1009816" y="228599"/>
                  </a:lnTo>
                  <a:lnTo>
                    <a:pt x="1007539" y="203199"/>
                  </a:lnTo>
                  <a:lnTo>
                    <a:pt x="1003812" y="190499"/>
                  </a:lnTo>
                  <a:lnTo>
                    <a:pt x="998697" y="165099"/>
                  </a:lnTo>
                  <a:lnTo>
                    <a:pt x="992253" y="152399"/>
                  </a:lnTo>
                  <a:lnTo>
                    <a:pt x="984541" y="139699"/>
                  </a:lnTo>
                  <a:lnTo>
                    <a:pt x="975621" y="114299"/>
                  </a:lnTo>
                  <a:lnTo>
                    <a:pt x="965555" y="101599"/>
                  </a:lnTo>
                  <a:close/>
                </a:path>
                <a:path w="1508594" h="1676400">
                  <a:moveTo>
                    <a:pt x="851007" y="12699"/>
                  </a:moveTo>
                  <a:lnTo>
                    <a:pt x="703695" y="12699"/>
                  </a:lnTo>
                  <a:lnTo>
                    <a:pt x="686634" y="25399"/>
                  </a:lnTo>
                  <a:lnTo>
                    <a:pt x="670234" y="38099"/>
                  </a:lnTo>
                  <a:lnTo>
                    <a:pt x="884466" y="38099"/>
                  </a:lnTo>
                  <a:lnTo>
                    <a:pt x="868068" y="25399"/>
                  </a:lnTo>
                  <a:lnTo>
                    <a:pt x="851007" y="12699"/>
                  </a:lnTo>
                  <a:close/>
                </a:path>
                <a:path w="1508594" h="1676400">
                  <a:moveTo>
                    <a:pt x="777354" y="0"/>
                  </a:moveTo>
                  <a:lnTo>
                    <a:pt x="758248" y="12699"/>
                  </a:lnTo>
                  <a:lnTo>
                    <a:pt x="796458" y="12699"/>
                  </a:lnTo>
                  <a:lnTo>
                    <a:pt x="7773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900"/>
            </a:p>
          </p:txBody>
        </p:sp>
      </p:grpSp>
    </p:spTree>
    <p:extLst>
      <p:ext uri="{BB962C8B-B14F-4D97-AF65-F5344CB8AC3E}">
        <p14:creationId xmlns:p14="http://schemas.microsoft.com/office/powerpoint/2010/main" val="346627880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7" name="Title 1"/>
          <p:cNvSpPr txBox="1">
            <a:spLocks/>
          </p:cNvSpPr>
          <p:nvPr/>
        </p:nvSpPr>
        <p:spPr bwMode="auto">
          <a:xfrm>
            <a:off x="-144780" y="315971"/>
            <a:ext cx="897929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40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Key steps for making referrals</a:t>
            </a:r>
          </a:p>
        </p:txBody>
      </p:sp>
      <p:pic>
        <p:nvPicPr>
          <p:cNvPr id="8" name="Picture 7"/>
          <p:cNvPicPr>
            <a:picLocks noChangeAspect="1"/>
          </p:cNvPicPr>
          <p:nvPr/>
        </p:nvPicPr>
        <p:blipFill>
          <a:blip r:embed="rId3"/>
          <a:stretch>
            <a:fillRect/>
          </a:stretch>
        </p:blipFill>
        <p:spPr>
          <a:xfrm>
            <a:off x="996396" y="1887410"/>
            <a:ext cx="1441392" cy="1940514"/>
          </a:xfrm>
          <a:prstGeom prst="rect">
            <a:avLst/>
          </a:prstGeom>
        </p:spPr>
      </p:pic>
      <p:sp>
        <p:nvSpPr>
          <p:cNvPr id="10" name="Title 1"/>
          <p:cNvSpPr txBox="1">
            <a:spLocks/>
          </p:cNvSpPr>
          <p:nvPr/>
        </p:nvSpPr>
        <p:spPr bwMode="auto">
          <a:xfrm>
            <a:off x="3097937" y="4123337"/>
            <a:ext cx="2630493" cy="268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caseworker</a:t>
            </a:r>
          </a:p>
        </p:txBody>
      </p:sp>
      <p:sp>
        <p:nvSpPr>
          <p:cNvPr id="11" name="Title 1"/>
          <p:cNvSpPr txBox="1">
            <a:spLocks/>
          </p:cNvSpPr>
          <p:nvPr/>
        </p:nvSpPr>
        <p:spPr bwMode="auto">
          <a:xfrm>
            <a:off x="152397" y="1298595"/>
            <a:ext cx="301970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CP Volunteer</a:t>
            </a:r>
          </a:p>
        </p:txBody>
      </p:sp>
      <p:sp>
        <p:nvSpPr>
          <p:cNvPr id="9" name="Right Arrow 8"/>
          <p:cNvSpPr/>
          <p:nvPr/>
        </p:nvSpPr>
        <p:spPr>
          <a:xfrm>
            <a:off x="3405797" y="992748"/>
            <a:ext cx="2994249" cy="1829163"/>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marR="0" lvl="0" indent="-342900" algn="ctr" defTabSz="457200" rtl="0" eaLnBrk="1" fontAlgn="auto" latinLnBrk="0" hangingPunct="1">
              <a:lnSpc>
                <a:spcPct val="100000"/>
              </a:lnSpc>
              <a:spcBef>
                <a:spcPts val="0"/>
              </a:spcBef>
              <a:spcAft>
                <a:spcPts val="0"/>
              </a:spcAft>
              <a:buClrTx/>
              <a:buSzTx/>
              <a:buFontTx/>
              <a:buAutoNum type="arabicParenR"/>
              <a:tabLst/>
              <a:defRPr/>
            </a:pPr>
            <a:r>
              <a:rPr kumimoji="0" lang="en-US" sz="1800" b="1" i="0" u="none" strike="noStrike" kern="1200" cap="none" spc="0" normalizeH="0" baseline="0" noProof="0" dirty="0">
                <a:ln>
                  <a:noFill/>
                </a:ln>
                <a:solidFill>
                  <a:srgbClr val="FFFFFF"/>
                </a:solidFill>
                <a:effectLst/>
                <a:uLnTx/>
                <a:uFillTx/>
                <a:latin typeface="Gill Sans Infant Std"/>
                <a:ea typeface="+mn-ea"/>
                <a:cs typeface="Gill Sans Infant Std"/>
              </a:rPr>
              <a:t>Use look / listen</a:t>
            </a:r>
          </a:p>
        </p:txBody>
      </p:sp>
      <p:grpSp>
        <p:nvGrpSpPr>
          <p:cNvPr id="15" name="Group 14"/>
          <p:cNvGrpSpPr/>
          <p:nvPr/>
        </p:nvGrpSpPr>
        <p:grpSpPr>
          <a:xfrm>
            <a:off x="5888516" y="1114122"/>
            <a:ext cx="4017484" cy="2535283"/>
            <a:chOff x="5507516" y="1114122"/>
            <a:chExt cx="4017484" cy="2535283"/>
          </a:xfrm>
        </p:grpSpPr>
        <p:sp>
          <p:nvSpPr>
            <p:cNvPr id="12" name="Title 1"/>
            <p:cNvSpPr txBox="1">
              <a:spLocks/>
            </p:cNvSpPr>
            <p:nvPr/>
          </p:nvSpPr>
          <p:spPr bwMode="auto">
            <a:xfrm>
              <a:off x="5507516" y="1114122"/>
              <a:ext cx="4017484" cy="79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Child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and caregiver)</a:t>
              </a:r>
            </a:p>
          </p:txBody>
        </p:sp>
        <p:pic>
          <p:nvPicPr>
            <p:cNvPr id="14" name="Picture 13"/>
            <p:cNvPicPr>
              <a:picLocks noChangeAspect="1"/>
            </p:cNvPicPr>
            <p:nvPr/>
          </p:nvPicPr>
          <p:blipFill>
            <a:blip r:embed="rId4"/>
            <a:stretch>
              <a:fillRect/>
            </a:stretch>
          </p:blipFill>
          <p:spPr>
            <a:xfrm>
              <a:off x="6822286" y="2053639"/>
              <a:ext cx="1504055" cy="1595766"/>
            </a:xfrm>
            <a:prstGeom prst="rect">
              <a:avLst/>
            </a:prstGeom>
          </p:spPr>
        </p:pic>
      </p:grpSp>
      <p:sp>
        <p:nvSpPr>
          <p:cNvPr id="17" name="Right Arrow 16"/>
          <p:cNvSpPr/>
          <p:nvPr/>
        </p:nvSpPr>
        <p:spPr>
          <a:xfrm rot="844980">
            <a:off x="295904" y="3890515"/>
            <a:ext cx="3260355" cy="1582221"/>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Gill Sans Infant Std"/>
                <a:ea typeface="+mn-ea"/>
                <a:cs typeface="Gill Sans Infant Std"/>
              </a:rPr>
              <a:t>4) Contact by phone or in person</a:t>
            </a:r>
          </a:p>
        </p:txBody>
      </p:sp>
      <p:grpSp>
        <p:nvGrpSpPr>
          <p:cNvPr id="19" name="Group 18"/>
          <p:cNvGrpSpPr/>
          <p:nvPr/>
        </p:nvGrpSpPr>
        <p:grpSpPr>
          <a:xfrm>
            <a:off x="3172103" y="2492242"/>
            <a:ext cx="3656130" cy="1762208"/>
            <a:chOff x="3172103" y="2492242"/>
            <a:chExt cx="3656130" cy="1762208"/>
          </a:xfrm>
        </p:grpSpPr>
        <p:sp>
          <p:nvSpPr>
            <p:cNvPr id="16" name="Right Arrow 15"/>
            <p:cNvSpPr/>
            <p:nvPr/>
          </p:nvSpPr>
          <p:spPr>
            <a:xfrm rot="10800000">
              <a:off x="3172103" y="2492242"/>
              <a:ext cx="3609695" cy="1762208"/>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Gill Sans Infant Std"/>
                <a:ea typeface="+mn-ea"/>
                <a:cs typeface="Gill Sans Infant Std"/>
              </a:endParaRPr>
            </a:p>
          </p:txBody>
        </p:sp>
        <p:sp>
          <p:nvSpPr>
            <p:cNvPr id="18" name="Rectangle 17"/>
            <p:cNvSpPr/>
            <p:nvPr/>
          </p:nvSpPr>
          <p:spPr>
            <a:xfrm>
              <a:off x="3583056" y="2944243"/>
              <a:ext cx="3245177" cy="8367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ill Sans Infant Std"/>
                  <a:ea typeface="+mn-ea"/>
                  <a:cs typeface="Gill Sans Infant Std"/>
                </a:rPr>
                <a:t>2) </a:t>
              </a:r>
              <a:r>
                <a:rPr kumimoji="0" lang="en-US" sz="1800" b="1" i="0" u="none" strike="noStrike" kern="1200" cap="none" spc="0" normalizeH="0" baseline="0" noProof="0" dirty="0">
                  <a:ln>
                    <a:noFill/>
                  </a:ln>
                  <a:solidFill>
                    <a:srgbClr val="FFFFFF"/>
                  </a:solidFill>
                  <a:effectLst/>
                  <a:uLnTx/>
                  <a:uFillTx/>
                  <a:latin typeface="Gill Sans Infant Std"/>
                  <a:ea typeface="+mn-ea"/>
                  <a:cs typeface="Gill Sans Infant Std"/>
                </a:rPr>
                <a:t>share information</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Gill Sans Infant Std"/>
                  <a:ea typeface="+mn-ea"/>
                  <a:cs typeface="Gill Sans Infant Std"/>
                </a:rPr>
                <a:t>3) </a:t>
              </a:r>
              <a:r>
                <a:rPr kumimoji="0" lang="en-US" sz="1800" b="1" i="0" u="none" strike="noStrike" kern="1200" cap="none" spc="0" normalizeH="0" baseline="0" noProof="0" dirty="0">
                  <a:ln>
                    <a:noFill/>
                  </a:ln>
                  <a:solidFill>
                    <a:srgbClr val="FFFFFF"/>
                  </a:solidFill>
                  <a:effectLst/>
                  <a:uLnTx/>
                  <a:uFillTx/>
                  <a:latin typeface="Gill Sans Infant Std"/>
                  <a:ea typeface="+mn-ea"/>
                  <a:cs typeface="Gill Sans Infant Std"/>
                </a:rPr>
                <a:t>give consent / assent</a:t>
              </a:r>
            </a:p>
          </p:txBody>
        </p:sp>
      </p:grpSp>
      <p:sp>
        <p:nvSpPr>
          <p:cNvPr id="20" name="Right Arrow 19"/>
          <p:cNvSpPr/>
          <p:nvPr/>
        </p:nvSpPr>
        <p:spPr>
          <a:xfrm rot="19950480">
            <a:off x="5290269" y="3877533"/>
            <a:ext cx="3260355" cy="1874251"/>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Gill Sans Infant Std"/>
                <a:ea typeface="+mn-ea"/>
                <a:cs typeface="Gill Sans Infant Std"/>
              </a:rPr>
              <a:t>Contact, and If eligible, start case management</a:t>
            </a:r>
          </a:p>
        </p:txBody>
      </p:sp>
      <p:sp>
        <p:nvSpPr>
          <p:cNvPr id="21" name="Title 1"/>
          <p:cNvSpPr txBox="1">
            <a:spLocks/>
          </p:cNvSpPr>
          <p:nvPr/>
        </p:nvSpPr>
        <p:spPr bwMode="auto">
          <a:xfrm>
            <a:off x="2133601" y="5866150"/>
            <a:ext cx="4694632" cy="115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 and a medical actor, </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when a child has health issues </a:t>
            </a:r>
          </a:p>
        </p:txBody>
      </p:sp>
      <p:pic>
        <p:nvPicPr>
          <p:cNvPr id="23" name="Picture 22">
            <a:extLst>
              <a:ext uri="{FF2B5EF4-FFF2-40B4-BE49-F238E27FC236}">
                <a16:creationId xmlns:a16="http://schemas.microsoft.com/office/drawing/2014/main" id="{56DB2487-23CE-4019-8EC6-6528C12B1057}"/>
              </a:ext>
            </a:extLst>
          </p:cNvPr>
          <p:cNvPicPr>
            <a:picLocks noChangeAspect="1"/>
          </p:cNvPicPr>
          <p:nvPr/>
        </p:nvPicPr>
        <p:blipFill>
          <a:blip r:embed="rId5"/>
          <a:stretch>
            <a:fillRect/>
          </a:stretch>
        </p:blipFill>
        <p:spPr>
          <a:xfrm>
            <a:off x="3679111" y="4733867"/>
            <a:ext cx="1331509" cy="1097181"/>
          </a:xfrm>
          <a:prstGeom prst="rect">
            <a:avLst/>
          </a:prstGeom>
        </p:spPr>
      </p:pic>
    </p:spTree>
    <p:extLst>
      <p:ext uri="{BB962C8B-B14F-4D97-AF65-F5344CB8AC3E}">
        <p14:creationId xmlns:p14="http://schemas.microsoft.com/office/powerpoint/2010/main" val="33204629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6" name="Title 1"/>
          <p:cNvSpPr txBox="1">
            <a:spLocks/>
          </p:cNvSpPr>
          <p:nvPr/>
        </p:nvSpPr>
        <p:spPr bwMode="auto">
          <a:xfrm>
            <a:off x="-562122" y="4187551"/>
            <a:ext cx="897929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altLang="en-US" sz="28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endParaRPr>
          </a:p>
        </p:txBody>
      </p:sp>
      <p:sp>
        <p:nvSpPr>
          <p:cNvPr id="22" name="Rectangle 10"/>
          <p:cNvSpPr/>
          <p:nvPr/>
        </p:nvSpPr>
        <p:spPr>
          <a:xfrm>
            <a:off x="500063" y="4720951"/>
            <a:ext cx="8303970" cy="1661993"/>
          </a:xfrm>
          <a:prstGeom prst="rect">
            <a:avLst/>
          </a:prstGeom>
        </p:spPr>
        <p:txBody>
          <a:bodyPr wrap="square">
            <a:spAutoFit/>
          </a:bodyPr>
          <a:lstStyle/>
          <a:p>
            <a:pPr marL="571500" indent="-571500">
              <a:buFontTx/>
              <a:buChar char="-"/>
              <a:tabLst>
                <a:tab pos="0" algn="l"/>
                <a:tab pos="810260" algn="l"/>
              </a:tabLst>
              <a:defRPr/>
            </a:pPr>
            <a:r>
              <a:rPr lang="en-US" altLang="en-US" sz="1400" b="1" dirty="0">
                <a:solidFill>
                  <a:srgbClr val="222221"/>
                </a:solidFill>
                <a:ea typeface="MS PGothic" panose="020B0600070205080204" pitchFamily="34" charset="-128"/>
                <a:cs typeface="Arial" panose="020B0604020202020204" pitchFamily="34" charset="0"/>
              </a:rPr>
              <a:t>What do you </a:t>
            </a:r>
            <a:r>
              <a:rPr lang="en-US" altLang="en-US" sz="1400" b="1" dirty="0">
                <a:solidFill>
                  <a:srgbClr val="FF0000"/>
                </a:solidFill>
                <a:ea typeface="MS PGothic" panose="020B0600070205080204" pitchFamily="34" charset="-128"/>
                <a:cs typeface="Arial" panose="020B0604020202020204" pitchFamily="34" charset="0"/>
              </a:rPr>
              <a:t>need</a:t>
            </a:r>
            <a:r>
              <a:rPr lang="en-US" altLang="en-US" sz="1400" b="1" dirty="0">
                <a:solidFill>
                  <a:srgbClr val="222221"/>
                </a:solidFill>
                <a:ea typeface="MS PGothic" panose="020B0600070205080204" pitchFamily="34" charset="-128"/>
                <a:cs typeface="Arial" panose="020B0604020202020204" pitchFamily="34" charset="0"/>
              </a:rPr>
              <a:t> to know and share?</a:t>
            </a:r>
            <a:endParaRPr lang="en-US" altLang="en-US" sz="1600" b="1" dirty="0">
              <a:solidFill>
                <a:srgbClr val="222221"/>
              </a:solidFill>
              <a:ea typeface="MS PGothic" panose="020B0600070205080204" pitchFamily="34" charset="-128"/>
              <a:cs typeface="Arial" panose="020B0604020202020204" pitchFamily="34" charset="0"/>
            </a:endParaRPr>
          </a:p>
          <a:p>
            <a:pPr marL="571500" marR="0" lvl="0" indent="-571500" algn="l" defTabSz="457200" rtl="0" eaLnBrk="1" fontAlgn="auto" latinLnBrk="0" hangingPunct="1">
              <a:lnSpc>
                <a:spcPct val="100000"/>
              </a:lnSpc>
              <a:spcBef>
                <a:spcPts val="0"/>
              </a:spcBef>
              <a:spcAft>
                <a:spcPts val="0"/>
              </a:spcAft>
              <a:buClrTx/>
              <a:buSzTx/>
              <a:buFontTx/>
              <a:buChar char="-"/>
              <a:tabLst>
                <a:tab pos="0" algn="l"/>
                <a:tab pos="810260" algn="l"/>
              </a:tabLst>
              <a:defRPr/>
            </a:pPr>
            <a:r>
              <a:rPr kumimoji="0" lang="en-US" sz="1600" b="1"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Who is the child?</a:t>
            </a:r>
          </a:p>
          <a:p>
            <a:pPr marL="571500" marR="0" lvl="0" indent="-571500" algn="l" defTabSz="457200" rtl="0" eaLnBrk="1" fontAlgn="auto" latinLnBrk="0" hangingPunct="1">
              <a:lnSpc>
                <a:spcPct val="100000"/>
              </a:lnSpc>
              <a:spcBef>
                <a:spcPts val="0"/>
              </a:spcBef>
              <a:spcAft>
                <a:spcPts val="0"/>
              </a:spcAft>
              <a:buClrTx/>
              <a:buSzTx/>
              <a:buFontTx/>
              <a:buChar char="-"/>
              <a:tabLst>
                <a:tab pos="0" algn="l"/>
                <a:tab pos="810260" algn="l"/>
              </a:tabLst>
              <a:defRPr/>
            </a:pPr>
            <a:r>
              <a:rPr kumimoji="0" lang="en-US" sz="1600" b="1"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What symptoms are you observing?</a:t>
            </a:r>
            <a:endParaRPr kumimoji="0" lang="en-US" sz="1400" b="1" i="0" u="none" strike="noStrike" kern="1200" cap="none" spc="0" normalizeH="0" baseline="0" noProof="0" dirty="0">
              <a:ln>
                <a:noFill/>
              </a:ln>
              <a:solidFill>
                <a:srgbClr val="222221"/>
              </a:solidFill>
              <a:effectLst/>
              <a:uLnTx/>
              <a:uFillTx/>
              <a:latin typeface="Calibri" panose="020F0502020204030204" pitchFamily="34" charset="0"/>
              <a:ea typeface="+mn-ea"/>
              <a:cs typeface="+mn-cs"/>
            </a:endParaRP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tab pos="0" algn="l"/>
                <a:tab pos="810260" algn="l"/>
              </a:tabLst>
              <a:defRPr/>
            </a:pPr>
            <a:r>
              <a:rPr kumimoji="0" lang="en-US" sz="1400" b="1" i="0" u="none" strike="noStrike" kern="1200" cap="none" spc="0" normalizeH="0" baseline="0" noProof="0" dirty="0">
                <a:ln>
                  <a:noFill/>
                </a:ln>
                <a:solidFill>
                  <a:srgbClr val="FF0000"/>
                </a:solidFill>
                <a:effectLst/>
                <a:uLnTx/>
                <a:uFillTx/>
                <a:latin typeface="Calibri" panose="020F0502020204030204" pitchFamily="34" charset="0"/>
                <a:ea typeface="+mn-ea"/>
                <a:cs typeface="+mn-cs"/>
              </a:rPr>
              <a:t>You don’t need to know what you don’t need to know. </a:t>
            </a:r>
            <a:r>
              <a:rPr kumimoji="0" lang="en-US" sz="1400" b="1"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Caseworkers will conduct in-depth assessment of child protection risks. </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tab pos="0" algn="l"/>
                <a:tab pos="810260" algn="l"/>
              </a:tabLst>
              <a:defRPr/>
            </a:pPr>
            <a:r>
              <a:rPr kumimoji="0" lang="en-US" sz="1400" b="1"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On CP issues, report to caseworkers only + health issues will be responded to by medical actors in a coordinated manner – do not share any further and </a:t>
            </a:r>
            <a:r>
              <a:rPr kumimoji="0" lang="en-US" sz="1400" b="1" i="0" u="none" strike="noStrike" kern="1200" cap="none" spc="0" normalizeH="0" baseline="0" noProof="0" dirty="0">
                <a:ln>
                  <a:noFill/>
                </a:ln>
                <a:solidFill>
                  <a:srgbClr val="FF0000"/>
                </a:solidFill>
                <a:effectLst/>
                <a:uLnTx/>
                <a:uFillTx/>
                <a:latin typeface="Calibri" panose="020F0502020204030204" pitchFamily="34" charset="0"/>
                <a:ea typeface="+mn-ea"/>
                <a:cs typeface="+mn-cs"/>
              </a:rPr>
              <a:t>keep confidential </a:t>
            </a:r>
          </a:p>
        </p:txBody>
      </p:sp>
      <p:sp>
        <p:nvSpPr>
          <p:cNvPr id="7" name="Title 1"/>
          <p:cNvSpPr txBox="1">
            <a:spLocks/>
          </p:cNvSpPr>
          <p:nvPr/>
        </p:nvSpPr>
        <p:spPr bwMode="auto">
          <a:xfrm>
            <a:off x="-175260" y="586137"/>
            <a:ext cx="897929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On information</a:t>
            </a:r>
          </a:p>
        </p:txBody>
      </p:sp>
      <p:sp>
        <p:nvSpPr>
          <p:cNvPr id="8" name="TextBox 7">
            <a:extLst>
              <a:ext uri="{FF2B5EF4-FFF2-40B4-BE49-F238E27FC236}">
                <a16:creationId xmlns:a16="http://schemas.microsoft.com/office/drawing/2014/main" id="{0F4BB704-2616-4664-ACEC-DFB82C150110}"/>
              </a:ext>
            </a:extLst>
          </p:cNvPr>
          <p:cNvSpPr txBox="1"/>
          <p:nvPr/>
        </p:nvSpPr>
        <p:spPr>
          <a:xfrm>
            <a:off x="2994704" y="291650"/>
            <a:ext cx="3154592" cy="338554"/>
          </a:xfrm>
          <a:prstGeom prst="rect">
            <a:avLst/>
          </a:prstGeom>
          <a:noFill/>
        </p:spPr>
        <p:txBody>
          <a:bodyPr wrap="square" lIns="0" tIns="0" rIns="0" bIns="0" rtlCol="0" anchor="t">
            <a:spAutoFit/>
          </a:bodyPr>
          <a:lstStyle/>
          <a:p>
            <a:pPr marR="0" lvl="0" defTabSz="457200" rtl="0" eaLnBrk="1" fontAlgn="auto" latinLnBrk="0" hangingPunct="1">
              <a:lnSpc>
                <a:spcPct val="150000"/>
              </a:lnSpc>
              <a:spcBef>
                <a:spcPts val="0"/>
              </a:spcBef>
              <a:spcAft>
                <a:spcPts val="0"/>
              </a:spcAft>
              <a:buClrTx/>
              <a:buSzTx/>
              <a:tabLst/>
              <a:defRPr/>
            </a:pPr>
            <a:r>
              <a:rPr kumimoji="0" lang="en-US" sz="1600" b="1"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တင္းအခ်က္အလက္မ်ားအေပ</a:t>
            </a:r>
            <a:r>
              <a:rPr kumimoji="0" lang="en-US" sz="1600" b="1"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ၚ</a:t>
            </a:r>
            <a:endParaRPr kumimoji="0" lang="en-GB" sz="1600" b="1"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
        <p:nvSpPr>
          <p:cNvPr id="10" name="TextBox 9">
            <a:extLst>
              <a:ext uri="{FF2B5EF4-FFF2-40B4-BE49-F238E27FC236}">
                <a16:creationId xmlns:a16="http://schemas.microsoft.com/office/drawing/2014/main" id="{9B6D745C-E175-49A3-8CC5-D37D27B89CDD}"/>
              </a:ext>
            </a:extLst>
          </p:cNvPr>
          <p:cNvSpPr txBox="1"/>
          <p:nvPr/>
        </p:nvSpPr>
        <p:spPr>
          <a:xfrm>
            <a:off x="632504" y="1248488"/>
            <a:ext cx="8068584" cy="3293209"/>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င္အေနျဖင</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ဘာေတြသိရွိ</a:t>
            </a:r>
            <a:r>
              <a:rPr lang="en-US" sz="1600" dirty="0" err="1">
                <a:latin typeface="Zawgyi-One" panose="020B0604030504040204" pitchFamily="34" charset="0"/>
                <a:cs typeface="Zawgyi-One" panose="020B0604030504040204" pitchFamily="34" charset="0"/>
              </a:rPr>
              <a:t>သ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လဲ</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ဘာေတြကုိ</a:t>
            </a:r>
            <a:r>
              <a:rPr lang="en-US" sz="1600" dirty="0">
                <a:latin typeface="Zawgyi-One" panose="020B0604030504040204" pitchFamily="34" charset="0"/>
                <a:cs typeface="Zawgyi-One" panose="020B0604030504040204" pitchFamily="34" charset="0"/>
              </a:rPr>
              <a:t> မွ်</a:t>
            </a:r>
            <a:r>
              <a:rPr lang="en-US" sz="1600" dirty="0" err="1">
                <a:latin typeface="Zawgyi-One" panose="020B0604030504040204" pitchFamily="34" charset="0"/>
                <a:cs typeface="Zawgyi-One" panose="020B0604030504040204" pitchFamily="34" charset="0"/>
              </a:rPr>
              <a:t>ေဝသ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လဲ</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ည္သူက</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လ</a:t>
            </a:r>
            <a:r>
              <a:rPr lang="en-US" sz="1600" dirty="0">
                <a:latin typeface="Zawgyi-One" panose="020B0604030504040204" pitchFamily="34" charset="0"/>
                <a:cs typeface="Zawgyi-One" panose="020B0604030504040204" pitchFamily="34" charset="0"/>
              </a:rPr>
              <a:t>ဲ?</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dirty="0" err="1">
                <a:latin typeface="Zawgyi-One" panose="020B0604030504040204" pitchFamily="34" charset="0"/>
                <a:cs typeface="Zawgyi-One" panose="020B0604030504040204" pitchFamily="34" charset="0"/>
              </a:rPr>
              <a:t>ဘယ္လုိ</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ကၡာဏာေတြ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လာေတ</a:t>
            </a:r>
            <a:r>
              <a:rPr lang="en-US" sz="1600" dirty="0">
                <a:latin typeface="Zawgyi-One" panose="020B0604030504040204" pitchFamily="34" charset="0"/>
                <a:cs typeface="Zawgyi-One" panose="020B0604030504040204" pitchFamily="34" charset="0"/>
              </a:rPr>
              <a:t>ြ႔</a:t>
            </a:r>
            <a:r>
              <a:rPr lang="en-US" sz="1600" dirty="0" err="1">
                <a:latin typeface="Zawgyi-One" panose="020B0604030504040204" pitchFamily="34" charset="0"/>
                <a:cs typeface="Zawgyi-One" panose="020B0604030504040204" pitchFamily="34" charset="0"/>
              </a:rPr>
              <a:t>ရွိရသလဲ</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င္သိရွိရန</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လုိအပ္သည</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မ်ား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သိရွိရန္မလုိပ</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ဖစ္ရပ္စီမံခန</a:t>
            </a:r>
            <a:r>
              <a:rPr lang="en-US" sz="1600" dirty="0">
                <a:latin typeface="Zawgyi-One" panose="020B0604030504040204" pitchFamily="34" charset="0"/>
                <a:cs typeface="Zawgyi-One" panose="020B0604030504040204" pitchFamily="34" charset="0"/>
              </a:rPr>
              <a:t>္႔</a:t>
            </a:r>
            <a:r>
              <a:rPr lang="en-US" sz="1600" dirty="0" err="1">
                <a:latin typeface="Zawgyi-One" panose="020B0604030504040204" pitchFamily="34" charset="0"/>
                <a:cs typeface="Zawgyi-One" panose="020B0604030504040204" pitchFamily="34" charset="0"/>
              </a:rPr>
              <a:t>ခြဲသူ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သူငယ္ကာကြယ္ေစာ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ရွာက္မ</a:t>
            </a:r>
            <a:r>
              <a:rPr lang="en-US" sz="1600" dirty="0">
                <a:latin typeface="Zawgyi-One" panose="020B0604030504040204" pitchFamily="34" charset="0"/>
                <a:cs typeface="Zawgyi-One" panose="020B0604030504040204" pitchFamily="34" charset="0"/>
              </a:rPr>
              <a:t>ႈ အႏၱ</a:t>
            </a:r>
            <a:r>
              <a:rPr lang="en-US" sz="1600" dirty="0" err="1">
                <a:latin typeface="Zawgyi-One" panose="020B0604030504040204" pitchFamily="34" charset="0"/>
                <a:cs typeface="Zawgyi-One" panose="020B0604030504040204" pitchFamily="34" charset="0"/>
              </a:rPr>
              <a:t>ရာယ္မ်ား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သးစိတ္ဆန္းစစ္ေလ့လာ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ပဳလုပ္မည</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သူငယ္ကာကြယ္ေစာင</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ရွာက္မ</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ပႆနာကုိသာ</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ဖစ္ရပ္စီမံခန</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သူကုိ</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တင္းပုိ႔ပ</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န္းမာေရးဆုိင္ရာ</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ပႆနာ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န္းမာေရးဝန္ေဆာင္မႈေပးသူ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ပါင္းစပ္ညွိႏိႈင္းၿပီး</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တုံ</a:t>
            </a:r>
            <a:r>
              <a:rPr lang="en-US" sz="1600" dirty="0">
                <a:latin typeface="Zawgyi-One" panose="020B0604030504040204" pitchFamily="34" charset="0"/>
                <a:cs typeface="Zawgyi-One" panose="020B0604030504040204" pitchFamily="34" charset="0"/>
              </a:rPr>
              <a:t>႔ျ</a:t>
            </a:r>
            <a:r>
              <a:rPr lang="en-US" sz="1600" dirty="0" err="1">
                <a:latin typeface="Zawgyi-One" panose="020B0604030504040204" pitchFamily="34" charset="0"/>
                <a:cs typeface="Zawgyi-One" panose="020B0604030504040204" pitchFamily="34" charset="0"/>
              </a:rPr>
              <a:t>ပန္ပါမည</a:t>
            </a:r>
            <a:r>
              <a:rPr lang="en-US" sz="1600" dirty="0">
                <a:latin typeface="Zawgyi-One" panose="020B0604030504040204" pitchFamily="34" charset="0"/>
                <a:cs typeface="Zawgyi-One" panose="020B0604030504040204" pitchFamily="34" charset="0"/>
              </a:rPr>
              <a:t>္ = </a:t>
            </a:r>
            <a:r>
              <a:rPr lang="en-US" sz="1600" dirty="0" err="1">
                <a:latin typeface="Zawgyi-One" panose="020B0604030504040204" pitchFamily="34" charset="0"/>
                <a:cs typeface="Zawgyi-One" panose="020B0604030504040204" pitchFamily="34" charset="0"/>
              </a:rPr>
              <a:t>ဒီထက္ပုိ</a:t>
            </a:r>
            <a:r>
              <a:rPr lang="en-US" sz="1600" dirty="0">
                <a:latin typeface="Zawgyi-One" panose="020B0604030504040204" pitchFamily="34" charset="0"/>
                <a:cs typeface="Zawgyi-One" panose="020B0604030504040204" pitchFamily="34" charset="0"/>
              </a:rPr>
              <a:t>၍ မွ်ေ၀ျခင္းကုိ </a:t>
            </a:r>
            <a:r>
              <a:rPr lang="en-US" sz="1600" dirty="0" err="1">
                <a:latin typeface="Zawgyi-One" panose="020B0604030504040204" pitchFamily="34" charset="0"/>
                <a:cs typeface="Zawgyi-One" panose="020B0604030504040204" pitchFamily="34" charset="0"/>
              </a:rPr>
              <a:t>မလုပ္ပါနဲ</a:t>
            </a:r>
            <a:r>
              <a:rPr lang="en-US" sz="1600" dirty="0">
                <a:latin typeface="Zawgyi-One" panose="020B0604030504040204" pitchFamily="34" charset="0"/>
                <a:cs typeface="Zawgyi-One" panose="020B0604030504040204" pitchFamily="34" charset="0"/>
              </a:rPr>
              <a:t>႔၊ လ်ွိဳ႕</a:t>
            </a:r>
            <a:r>
              <a:rPr lang="en-US" sz="1600" dirty="0" err="1">
                <a:latin typeface="Zawgyi-One" panose="020B0604030504040204" pitchFamily="34" charset="0"/>
                <a:cs typeface="Zawgyi-One" panose="020B0604030504040204" pitchFamily="34" charset="0"/>
              </a:rPr>
              <a:t>ဝွက္ထိန္းသိမ္းစြာ</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ပ္ေဆာင္ပ</a:t>
            </a:r>
            <a:r>
              <a:rPr lang="en-US" sz="1600" dirty="0">
                <a:latin typeface="Zawgyi-One" panose="020B0604030504040204" pitchFamily="34" charset="0"/>
                <a:cs typeface="Zawgyi-One" panose="020B0604030504040204" pitchFamily="34" charset="0"/>
              </a:rPr>
              <a:t>ါ။ </a:t>
            </a:r>
            <a:endParaRPr kumimoji="0" lang="en-GB"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grpSp>
        <p:nvGrpSpPr>
          <p:cNvPr id="9" name="Group 8">
            <a:extLst>
              <a:ext uri="{FF2B5EF4-FFF2-40B4-BE49-F238E27FC236}">
                <a16:creationId xmlns:a16="http://schemas.microsoft.com/office/drawing/2014/main" id="{0B840F2A-41CB-4362-88CC-331C04461798}"/>
              </a:ext>
            </a:extLst>
          </p:cNvPr>
          <p:cNvGrpSpPr/>
          <p:nvPr/>
        </p:nvGrpSpPr>
        <p:grpSpPr>
          <a:xfrm>
            <a:off x="6827640" y="586137"/>
            <a:ext cx="1298049" cy="1341344"/>
            <a:chOff x="1064151" y="1680577"/>
            <a:chExt cx="2328786" cy="2492901"/>
          </a:xfrm>
        </p:grpSpPr>
        <p:sp>
          <p:nvSpPr>
            <p:cNvPr id="11" name="object 24">
              <a:extLst>
                <a:ext uri="{FF2B5EF4-FFF2-40B4-BE49-F238E27FC236}">
                  <a16:creationId xmlns:a16="http://schemas.microsoft.com/office/drawing/2014/main" id="{E46D3DAB-8F66-41EC-82DF-A9A1F532A21F}"/>
                </a:ext>
              </a:extLst>
            </p:cNvPr>
            <p:cNvSpPr>
              <a:spLocks/>
            </p:cNvSpPr>
            <p:nvPr/>
          </p:nvSpPr>
          <p:spPr bwMode="auto">
            <a:xfrm>
              <a:off x="1064151" y="1680577"/>
              <a:ext cx="2328786" cy="2492901"/>
            </a:xfrm>
            <a:custGeom>
              <a:avLst/>
              <a:gdLst>
                <a:gd name="T0" fmla="*/ 4031996 w 4031996"/>
                <a:gd name="T1" fmla="*/ 0 h 4316272"/>
                <a:gd name="T2" fmla="*/ 0 w 4031996"/>
                <a:gd name="T3" fmla="*/ 0 h 4316272"/>
                <a:gd name="T4" fmla="*/ 0 w 4031996"/>
                <a:gd name="T5" fmla="*/ 4316272 h 4316272"/>
                <a:gd name="T6" fmla="*/ 2952000 w 4031996"/>
                <a:gd name="T7" fmla="*/ 4316272 h 4316272"/>
                <a:gd name="T8" fmla="*/ 3244679 w 4031996"/>
                <a:gd name="T9" fmla="*/ 4315192 h 4316272"/>
                <a:gd name="T10" fmla="*/ 3368743 w 4031996"/>
                <a:gd name="T11" fmla="*/ 4312627 h 4316272"/>
                <a:gd name="T12" fmla="*/ 3479038 w 4031996"/>
                <a:gd name="T13" fmla="*/ 4307632 h 4316272"/>
                <a:gd name="T14" fmla="*/ 3576372 w 4031996"/>
                <a:gd name="T15" fmla="*/ 4299397 h 4316272"/>
                <a:gd name="T16" fmla="*/ 3661557 w 4031996"/>
                <a:gd name="T17" fmla="*/ 4287112 h 4316272"/>
                <a:gd name="T18" fmla="*/ 3735402 w 4031996"/>
                <a:gd name="T19" fmla="*/ 4269968 h 4316272"/>
                <a:gd name="T20" fmla="*/ 3798717 w 4031996"/>
                <a:gd name="T21" fmla="*/ 4247153 h 4316272"/>
                <a:gd name="T22" fmla="*/ 3852311 w 4031996"/>
                <a:gd name="T23" fmla="*/ 4217858 h 4316272"/>
                <a:gd name="T24" fmla="*/ 3896996 w 4031996"/>
                <a:gd name="T25" fmla="*/ 4181273 h 4316272"/>
                <a:gd name="T26" fmla="*/ 3933581 w 4031996"/>
                <a:gd name="T27" fmla="*/ 4136588 h 4316272"/>
                <a:gd name="T28" fmla="*/ 3962876 w 4031996"/>
                <a:gd name="T29" fmla="*/ 4082993 h 4316272"/>
                <a:gd name="T30" fmla="*/ 3985691 w 4031996"/>
                <a:gd name="T31" fmla="*/ 4019679 h 4316272"/>
                <a:gd name="T32" fmla="*/ 4002836 w 4031996"/>
                <a:gd name="T33" fmla="*/ 3945834 h 4316272"/>
                <a:gd name="T34" fmla="*/ 4015121 w 4031996"/>
                <a:gd name="T35" fmla="*/ 3860649 h 4316272"/>
                <a:gd name="T36" fmla="*/ 4023356 w 4031996"/>
                <a:gd name="T37" fmla="*/ 3763315 h 4316272"/>
                <a:gd name="T38" fmla="*/ 4028351 w 4031996"/>
                <a:gd name="T39" fmla="*/ 3653020 h 4316272"/>
                <a:gd name="T40" fmla="*/ 4030916 w 4031996"/>
                <a:gd name="T41" fmla="*/ 3528956 h 4316272"/>
                <a:gd name="T42" fmla="*/ 4031861 w 4031996"/>
                <a:gd name="T43" fmla="*/ 3390311 h 4316272"/>
                <a:gd name="T44" fmla="*/ 4031996 w 4031996"/>
                <a:gd name="T45" fmla="*/ 3236277 h 4316272"/>
                <a:gd name="T46" fmla="*/ 4031996 w 4031996"/>
                <a:gd name="T47" fmla="*/ 0 h 4316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31996" h="4316272">
                  <a:moveTo>
                    <a:pt x="4031996" y="0"/>
                  </a:moveTo>
                  <a:lnTo>
                    <a:pt x="0" y="0"/>
                  </a:lnTo>
                  <a:lnTo>
                    <a:pt x="0" y="4316272"/>
                  </a:lnTo>
                  <a:lnTo>
                    <a:pt x="2952000" y="4316272"/>
                  </a:lnTo>
                  <a:lnTo>
                    <a:pt x="3244679" y="4315192"/>
                  </a:lnTo>
                  <a:lnTo>
                    <a:pt x="3368743" y="4312627"/>
                  </a:lnTo>
                  <a:lnTo>
                    <a:pt x="3479038" y="4307632"/>
                  </a:lnTo>
                  <a:lnTo>
                    <a:pt x="3576372" y="4299397"/>
                  </a:lnTo>
                  <a:lnTo>
                    <a:pt x="3661557" y="4287112"/>
                  </a:lnTo>
                  <a:lnTo>
                    <a:pt x="3735402" y="4269968"/>
                  </a:lnTo>
                  <a:lnTo>
                    <a:pt x="3798717" y="4247153"/>
                  </a:lnTo>
                  <a:lnTo>
                    <a:pt x="3852311" y="4217858"/>
                  </a:lnTo>
                  <a:lnTo>
                    <a:pt x="3896996" y="4181273"/>
                  </a:lnTo>
                  <a:lnTo>
                    <a:pt x="3933581" y="4136588"/>
                  </a:lnTo>
                  <a:lnTo>
                    <a:pt x="3962876" y="4082993"/>
                  </a:lnTo>
                  <a:lnTo>
                    <a:pt x="3985691" y="4019679"/>
                  </a:lnTo>
                  <a:lnTo>
                    <a:pt x="4002836" y="3945834"/>
                  </a:lnTo>
                  <a:lnTo>
                    <a:pt x="4015121" y="3860649"/>
                  </a:lnTo>
                  <a:lnTo>
                    <a:pt x="4023356" y="3763315"/>
                  </a:lnTo>
                  <a:lnTo>
                    <a:pt x="4028351" y="3653020"/>
                  </a:lnTo>
                  <a:lnTo>
                    <a:pt x="4030916" y="3528956"/>
                  </a:lnTo>
                  <a:lnTo>
                    <a:pt x="4031861" y="3390311"/>
                  </a:lnTo>
                  <a:lnTo>
                    <a:pt x="4031996" y="3236277"/>
                  </a:lnTo>
                  <a:lnTo>
                    <a:pt x="403199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700"/>
            </a:p>
          </p:txBody>
        </p:sp>
        <p:sp>
          <p:nvSpPr>
            <p:cNvPr id="12" name="object 25">
              <a:extLst>
                <a:ext uri="{FF2B5EF4-FFF2-40B4-BE49-F238E27FC236}">
                  <a16:creationId xmlns:a16="http://schemas.microsoft.com/office/drawing/2014/main" id="{B12648AD-9534-42B1-836B-FE91B6752C7D}"/>
                </a:ext>
              </a:extLst>
            </p:cNvPr>
            <p:cNvSpPr txBox="1">
              <a:spLocks noChangeArrowheads="1"/>
            </p:cNvSpPr>
            <p:nvPr/>
          </p:nvSpPr>
          <p:spPr bwMode="auto">
            <a:xfrm>
              <a:off x="1634429" y="2970577"/>
              <a:ext cx="1188231" cy="64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800" b="1">
                  <a:solidFill>
                    <a:srgbClr val="FFFFFF"/>
                  </a:solidFill>
                  <a:latin typeface="Gill Sans" pitchFamily="34" charset="0"/>
                  <a:cs typeface="Gill Sans" pitchFamily="34" charset="0"/>
                </a:rPr>
                <a:t>Link</a:t>
              </a:r>
              <a:endParaRPr lang="en-US" altLang="en-US" sz="2800">
                <a:latin typeface="Gill Sans" pitchFamily="34" charset="0"/>
                <a:cs typeface="Gill Sans" pitchFamily="34" charset="0"/>
              </a:endParaRPr>
            </a:p>
          </p:txBody>
        </p:sp>
        <p:sp>
          <p:nvSpPr>
            <p:cNvPr id="13" name="object 37">
              <a:extLst>
                <a:ext uri="{FF2B5EF4-FFF2-40B4-BE49-F238E27FC236}">
                  <a16:creationId xmlns:a16="http://schemas.microsoft.com/office/drawing/2014/main" id="{8DEF0AD5-747B-4032-AFC1-9653C75A2A8C}"/>
                </a:ext>
              </a:extLst>
            </p:cNvPr>
            <p:cNvSpPr>
              <a:spLocks/>
            </p:cNvSpPr>
            <p:nvPr/>
          </p:nvSpPr>
          <p:spPr bwMode="auto">
            <a:xfrm>
              <a:off x="1792126" y="1933626"/>
              <a:ext cx="871920" cy="968188"/>
            </a:xfrm>
            <a:custGeom>
              <a:avLst/>
              <a:gdLst>
                <a:gd name="T0" fmla="*/ 884468 w 1508594"/>
                <a:gd name="T1" fmla="*/ 1650999 h 1676400"/>
                <a:gd name="T2" fmla="*/ 570326 w 1508594"/>
                <a:gd name="T3" fmla="*/ 1346199 h 1676400"/>
                <a:gd name="T4" fmla="*/ 544842 w 1508594"/>
                <a:gd name="T5" fmla="*/ 1473199 h 1676400"/>
                <a:gd name="T6" fmla="*/ 639665 w 1508594"/>
                <a:gd name="T7" fmla="*/ 1638299 h 1676400"/>
                <a:gd name="T8" fmla="*/ 721808 w 1508594"/>
                <a:gd name="T9" fmla="*/ 1574799 h 1676400"/>
                <a:gd name="T10" fmla="*/ 647025 w 1508594"/>
                <a:gd name="T11" fmla="*/ 1435099 h 1676400"/>
                <a:gd name="T12" fmla="*/ 694559 w 1508594"/>
                <a:gd name="T13" fmla="*/ 1346199 h 1676400"/>
                <a:gd name="T14" fmla="*/ 882383 w 1508594"/>
                <a:gd name="T15" fmla="*/ 1244599 h 1676400"/>
                <a:gd name="T16" fmla="*/ 863513 w 1508594"/>
                <a:gd name="T17" fmla="*/ 1346199 h 1676400"/>
                <a:gd name="T18" fmla="*/ 909482 w 1508594"/>
                <a:gd name="T19" fmla="*/ 1435099 h 1676400"/>
                <a:gd name="T20" fmla="*/ 808325 w 1508594"/>
                <a:gd name="T21" fmla="*/ 1574799 h 1676400"/>
                <a:gd name="T22" fmla="*/ 1003848 w 1508594"/>
                <a:gd name="T23" fmla="*/ 1511299 h 1676400"/>
                <a:gd name="T24" fmla="*/ 987438 w 1508594"/>
                <a:gd name="T25" fmla="*/ 1346199 h 1676400"/>
                <a:gd name="T26" fmla="*/ 1123162 w 1508594"/>
                <a:gd name="T27" fmla="*/ 647699 h 1676400"/>
                <a:gd name="T28" fmla="*/ 1042030 w 1508594"/>
                <a:gd name="T29" fmla="*/ 825499 h 1676400"/>
                <a:gd name="T30" fmla="*/ 1156182 w 1508594"/>
                <a:gd name="T31" fmla="*/ 1028699 h 1676400"/>
                <a:gd name="T32" fmla="*/ 1207442 w 1508594"/>
                <a:gd name="T33" fmla="*/ 939799 h 1676400"/>
                <a:gd name="T34" fmla="*/ 1148342 w 1508594"/>
                <a:gd name="T35" fmla="*/ 800099 h 1676400"/>
                <a:gd name="T36" fmla="*/ 1203179 w 1508594"/>
                <a:gd name="T37" fmla="*/ 711199 h 1676400"/>
                <a:gd name="T38" fmla="*/ 1427046 w 1508594"/>
                <a:gd name="T39" fmla="*/ 647699 h 1676400"/>
                <a:gd name="T40" fmla="*/ 1249858 w 1508594"/>
                <a:gd name="T41" fmla="*/ 596899 h 1676400"/>
                <a:gd name="T42" fmla="*/ 271090 w 1508594"/>
                <a:gd name="T43" fmla="*/ 1054099 h 1676400"/>
                <a:gd name="T44" fmla="*/ 1265498 w 1508594"/>
                <a:gd name="T45" fmla="*/ 1066799 h 1676400"/>
                <a:gd name="T46" fmla="*/ 1379063 w 1508594"/>
                <a:gd name="T47" fmla="*/ 1028699 h 1676400"/>
                <a:gd name="T48" fmla="*/ 1379063 w 1508594"/>
                <a:gd name="T49" fmla="*/ 1028699 h 1676400"/>
                <a:gd name="T50" fmla="*/ 555980 w 1508594"/>
                <a:gd name="T51" fmla="*/ 165099 h 1676400"/>
                <a:gd name="T52" fmla="*/ 547352 w 1508594"/>
                <a:gd name="T53" fmla="*/ 279399 h 1676400"/>
                <a:gd name="T54" fmla="*/ 97573 w 1508594"/>
                <a:gd name="T55" fmla="*/ 634999 h 1676400"/>
                <a:gd name="T56" fmla="*/ 3068 w 1508594"/>
                <a:gd name="T57" fmla="*/ 787399 h 1676400"/>
                <a:gd name="T58" fmla="*/ 18363 w 1508594"/>
                <a:gd name="T59" fmla="*/ 914399 h 1676400"/>
                <a:gd name="T60" fmla="*/ 410361 w 1508594"/>
                <a:gd name="T61" fmla="*/ 977899 h 1676400"/>
                <a:gd name="T62" fmla="*/ 124909 w 1508594"/>
                <a:gd name="T63" fmla="*/ 901699 h 1676400"/>
                <a:gd name="T64" fmla="*/ 116768 w 1508594"/>
                <a:gd name="T65" fmla="*/ 761999 h 1676400"/>
                <a:gd name="T66" fmla="*/ 184696 w 1508594"/>
                <a:gd name="T67" fmla="*/ 698499 h 1676400"/>
                <a:gd name="T68" fmla="*/ 376887 w 1508594"/>
                <a:gd name="T69" fmla="*/ 647699 h 1676400"/>
                <a:gd name="T70" fmla="*/ 709485 w 1508594"/>
                <a:gd name="T71" fmla="*/ 355599 h 1676400"/>
                <a:gd name="T72" fmla="*/ 650387 w 1508594"/>
                <a:gd name="T73" fmla="*/ 203199 h 1676400"/>
                <a:gd name="T74" fmla="*/ 754696 w 1508594"/>
                <a:gd name="T75" fmla="*/ 101599 h 1676400"/>
                <a:gd name="T76" fmla="*/ 429230 w 1508594"/>
                <a:gd name="T77" fmla="*/ 698499 h 1676400"/>
                <a:gd name="T78" fmla="*/ 353081 w 1508594"/>
                <a:gd name="T79" fmla="*/ 774699 h 1676400"/>
                <a:gd name="T80" fmla="*/ 302214 w 1508594"/>
                <a:gd name="T81" fmla="*/ 939799 h 1676400"/>
                <a:gd name="T82" fmla="*/ 448224 w 1508594"/>
                <a:gd name="T83" fmla="*/ 914399 h 1676400"/>
                <a:gd name="T84" fmla="*/ 464967 w 1508594"/>
                <a:gd name="T85" fmla="*/ 800099 h 1676400"/>
                <a:gd name="T86" fmla="*/ 1325487 w 1508594"/>
                <a:gd name="T87" fmla="*/ 711199 h 1676400"/>
                <a:gd name="T88" fmla="*/ 1408767 w 1508594"/>
                <a:gd name="T89" fmla="*/ 825499 h 1676400"/>
                <a:gd name="T90" fmla="*/ 1306306 w 1508594"/>
                <a:gd name="T91" fmla="*/ 952499 h 1676400"/>
                <a:gd name="T92" fmla="*/ 1501770 w 1508594"/>
                <a:gd name="T93" fmla="*/ 888999 h 1676400"/>
                <a:gd name="T94" fmla="*/ 1496682 w 1508594"/>
                <a:gd name="T95" fmla="*/ 749299 h 1676400"/>
                <a:gd name="T96" fmla="*/ 720781 w 1508594"/>
                <a:gd name="T97" fmla="*/ 469899 h 1676400"/>
                <a:gd name="T98" fmla="*/ 878473 w 1508594"/>
                <a:gd name="T99" fmla="*/ 444499 h 1676400"/>
                <a:gd name="T100" fmla="*/ 592772 w 1508594"/>
                <a:gd name="T101" fmla="*/ 380999 h 1676400"/>
                <a:gd name="T102" fmla="*/ 921747 w 1508594"/>
                <a:gd name="T103" fmla="*/ 419099 h 1676400"/>
                <a:gd name="T104" fmla="*/ 784191 w 1508594"/>
                <a:gd name="T105" fmla="*/ 101599 h 1676400"/>
                <a:gd name="T106" fmla="*/ 882565 w 1508594"/>
                <a:gd name="T107" fmla="*/ 152399 h 1676400"/>
                <a:gd name="T108" fmla="*/ 857499 w 1508594"/>
                <a:gd name="T109" fmla="*/ 342899 h 1676400"/>
                <a:gd name="T110" fmla="*/ 1008501 w 1508594"/>
                <a:gd name="T111" fmla="*/ 266699 h 1676400"/>
                <a:gd name="T112" fmla="*/ 992253 w 1508594"/>
                <a:gd name="T113" fmla="*/ 152399 h 1676400"/>
                <a:gd name="T114" fmla="*/ 670234 w 1508594"/>
                <a:gd name="T115" fmla="*/ 38099 h 1676400"/>
                <a:gd name="T116" fmla="*/ 777354 w 1508594"/>
                <a:gd name="T117" fmla="*/ 0 h 1676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08594" h="1676400">
                  <a:moveTo>
                    <a:pt x="884468" y="1650999"/>
                  </a:moveTo>
                  <a:lnTo>
                    <a:pt x="670234" y="1650999"/>
                  </a:lnTo>
                  <a:lnTo>
                    <a:pt x="686634" y="1663699"/>
                  </a:lnTo>
                  <a:lnTo>
                    <a:pt x="703695" y="1676399"/>
                  </a:lnTo>
                  <a:lnTo>
                    <a:pt x="851008" y="1676399"/>
                  </a:lnTo>
                  <a:lnTo>
                    <a:pt x="868069" y="1663699"/>
                  </a:lnTo>
                  <a:lnTo>
                    <a:pt x="884468" y="1650999"/>
                  </a:lnTo>
                  <a:close/>
                </a:path>
                <a:path w="1508594" h="1676400">
                  <a:moveTo>
                    <a:pt x="871071" y="1231899"/>
                  </a:moveTo>
                  <a:lnTo>
                    <a:pt x="689469" y="1231899"/>
                  </a:lnTo>
                  <a:lnTo>
                    <a:pt x="672540" y="1244599"/>
                  </a:lnTo>
                  <a:lnTo>
                    <a:pt x="656404" y="1257299"/>
                  </a:lnTo>
                  <a:lnTo>
                    <a:pt x="641117" y="1257299"/>
                  </a:lnTo>
                  <a:lnTo>
                    <a:pt x="600904" y="1295399"/>
                  </a:lnTo>
                  <a:lnTo>
                    <a:pt x="570326" y="1346199"/>
                  </a:lnTo>
                  <a:lnTo>
                    <a:pt x="562534" y="1358899"/>
                  </a:lnTo>
                  <a:lnTo>
                    <a:pt x="556034" y="1371599"/>
                  </a:lnTo>
                  <a:lnTo>
                    <a:pt x="550882" y="1396999"/>
                  </a:lnTo>
                  <a:lnTo>
                    <a:pt x="547133" y="1409699"/>
                  </a:lnTo>
                  <a:lnTo>
                    <a:pt x="544843" y="1435099"/>
                  </a:lnTo>
                  <a:lnTo>
                    <a:pt x="544068" y="1447799"/>
                  </a:lnTo>
                  <a:lnTo>
                    <a:pt x="544842" y="1473199"/>
                  </a:lnTo>
                  <a:lnTo>
                    <a:pt x="547126" y="1485899"/>
                  </a:lnTo>
                  <a:lnTo>
                    <a:pt x="550859" y="1511299"/>
                  </a:lnTo>
                  <a:lnTo>
                    <a:pt x="555980" y="1523999"/>
                  </a:lnTo>
                  <a:lnTo>
                    <a:pt x="562429" y="1536699"/>
                  </a:lnTo>
                  <a:lnTo>
                    <a:pt x="570145" y="1562099"/>
                  </a:lnTo>
                  <a:lnTo>
                    <a:pt x="600291" y="1600199"/>
                  </a:lnTo>
                  <a:lnTo>
                    <a:pt x="639665" y="1638299"/>
                  </a:lnTo>
                  <a:lnTo>
                    <a:pt x="654558" y="1650999"/>
                  </a:lnTo>
                  <a:lnTo>
                    <a:pt x="900144" y="1650999"/>
                  </a:lnTo>
                  <a:lnTo>
                    <a:pt x="929086" y="1625599"/>
                  </a:lnTo>
                  <a:lnTo>
                    <a:pt x="965567" y="1587499"/>
                  </a:lnTo>
                  <a:lnTo>
                    <a:pt x="762698" y="1587499"/>
                  </a:lnTo>
                  <a:lnTo>
                    <a:pt x="748499" y="1574799"/>
                  </a:lnTo>
                  <a:lnTo>
                    <a:pt x="721808" y="1574799"/>
                  </a:lnTo>
                  <a:lnTo>
                    <a:pt x="709485" y="1562099"/>
                  </a:lnTo>
                  <a:lnTo>
                    <a:pt x="697955" y="1562099"/>
                  </a:lnTo>
                  <a:lnTo>
                    <a:pt x="668969" y="1523999"/>
                  </a:lnTo>
                  <a:lnTo>
                    <a:pt x="650156" y="1485899"/>
                  </a:lnTo>
                  <a:lnTo>
                    <a:pt x="644387" y="1460499"/>
                  </a:lnTo>
                  <a:lnTo>
                    <a:pt x="645000" y="1447799"/>
                  </a:lnTo>
                  <a:lnTo>
                    <a:pt x="647025" y="1435099"/>
                  </a:lnTo>
                  <a:lnTo>
                    <a:pt x="650388" y="1409699"/>
                  </a:lnTo>
                  <a:lnTo>
                    <a:pt x="655016" y="1396999"/>
                  </a:lnTo>
                  <a:lnTo>
                    <a:pt x="660835" y="1384299"/>
                  </a:lnTo>
                  <a:lnTo>
                    <a:pt x="667773" y="1371599"/>
                  </a:lnTo>
                  <a:lnTo>
                    <a:pt x="675755" y="1358899"/>
                  </a:lnTo>
                  <a:lnTo>
                    <a:pt x="684708" y="1358899"/>
                  </a:lnTo>
                  <a:lnTo>
                    <a:pt x="694559" y="1346199"/>
                  </a:lnTo>
                  <a:lnTo>
                    <a:pt x="705235" y="1333499"/>
                  </a:lnTo>
                  <a:lnTo>
                    <a:pt x="716662" y="1333499"/>
                  </a:lnTo>
                  <a:lnTo>
                    <a:pt x="728766" y="1320799"/>
                  </a:lnTo>
                  <a:lnTo>
                    <a:pt x="968105" y="1320799"/>
                  </a:lnTo>
                  <a:lnTo>
                    <a:pt x="960548" y="1308099"/>
                  </a:lnTo>
                  <a:lnTo>
                    <a:pt x="1005010" y="1244599"/>
                  </a:lnTo>
                  <a:lnTo>
                    <a:pt x="882383" y="1244599"/>
                  </a:lnTo>
                  <a:lnTo>
                    <a:pt x="871071" y="1231899"/>
                  </a:lnTo>
                  <a:close/>
                </a:path>
                <a:path w="1508594" h="1676400">
                  <a:moveTo>
                    <a:pt x="975121" y="1320799"/>
                  </a:moveTo>
                  <a:lnTo>
                    <a:pt x="813839" y="1320799"/>
                  </a:lnTo>
                  <a:lnTo>
                    <a:pt x="827547" y="1333499"/>
                  </a:lnTo>
                  <a:lnTo>
                    <a:pt x="840436" y="1333499"/>
                  </a:lnTo>
                  <a:lnTo>
                    <a:pt x="852446" y="1346199"/>
                  </a:lnTo>
                  <a:lnTo>
                    <a:pt x="863513" y="1346199"/>
                  </a:lnTo>
                  <a:lnTo>
                    <a:pt x="873578" y="1358899"/>
                  </a:lnTo>
                  <a:lnTo>
                    <a:pt x="882579" y="1371599"/>
                  </a:lnTo>
                  <a:lnTo>
                    <a:pt x="890455" y="1384299"/>
                  </a:lnTo>
                  <a:lnTo>
                    <a:pt x="897144" y="1396999"/>
                  </a:lnTo>
                  <a:lnTo>
                    <a:pt x="902586" y="1396999"/>
                  </a:lnTo>
                  <a:lnTo>
                    <a:pt x="906719" y="1422399"/>
                  </a:lnTo>
                  <a:lnTo>
                    <a:pt x="909482" y="1435099"/>
                  </a:lnTo>
                  <a:lnTo>
                    <a:pt x="910814" y="1447799"/>
                  </a:lnTo>
                  <a:lnTo>
                    <a:pt x="904223" y="1485899"/>
                  </a:lnTo>
                  <a:lnTo>
                    <a:pt x="885735" y="1523999"/>
                  </a:lnTo>
                  <a:lnTo>
                    <a:pt x="857485" y="1562099"/>
                  </a:lnTo>
                  <a:lnTo>
                    <a:pt x="846268" y="1562099"/>
                  </a:lnTo>
                  <a:lnTo>
                    <a:pt x="834283" y="1574799"/>
                  </a:lnTo>
                  <a:lnTo>
                    <a:pt x="808325" y="1574799"/>
                  </a:lnTo>
                  <a:lnTo>
                    <a:pt x="794510" y="1587499"/>
                  </a:lnTo>
                  <a:lnTo>
                    <a:pt x="965567" y="1587499"/>
                  </a:lnTo>
                  <a:lnTo>
                    <a:pt x="975637" y="1574799"/>
                  </a:lnTo>
                  <a:lnTo>
                    <a:pt x="984560" y="1562099"/>
                  </a:lnTo>
                  <a:lnTo>
                    <a:pt x="992277" y="1536699"/>
                  </a:lnTo>
                  <a:lnTo>
                    <a:pt x="998726" y="1523999"/>
                  </a:lnTo>
                  <a:lnTo>
                    <a:pt x="1003848" y="1511299"/>
                  </a:lnTo>
                  <a:lnTo>
                    <a:pt x="1007581" y="1485899"/>
                  </a:lnTo>
                  <a:lnTo>
                    <a:pt x="1009865" y="1473199"/>
                  </a:lnTo>
                  <a:lnTo>
                    <a:pt x="1010640" y="1447799"/>
                  </a:lnTo>
                  <a:lnTo>
                    <a:pt x="1010252" y="1435099"/>
                  </a:lnTo>
                  <a:lnTo>
                    <a:pt x="1009102" y="1422399"/>
                  </a:lnTo>
                  <a:lnTo>
                    <a:pt x="1001302" y="1384299"/>
                  </a:lnTo>
                  <a:lnTo>
                    <a:pt x="987438" y="1346199"/>
                  </a:lnTo>
                  <a:lnTo>
                    <a:pt x="981572" y="1333499"/>
                  </a:lnTo>
                  <a:lnTo>
                    <a:pt x="975121" y="1320799"/>
                  </a:lnTo>
                  <a:close/>
                </a:path>
                <a:path w="1508594" h="1676400">
                  <a:moveTo>
                    <a:pt x="1085791" y="393699"/>
                  </a:moveTo>
                  <a:lnTo>
                    <a:pt x="949529" y="393699"/>
                  </a:lnTo>
                  <a:lnTo>
                    <a:pt x="1143749" y="634999"/>
                  </a:lnTo>
                  <a:lnTo>
                    <a:pt x="1133230" y="647699"/>
                  </a:lnTo>
                  <a:lnTo>
                    <a:pt x="1123162" y="647699"/>
                  </a:lnTo>
                  <a:lnTo>
                    <a:pt x="1113569" y="660399"/>
                  </a:lnTo>
                  <a:lnTo>
                    <a:pt x="1104474" y="673099"/>
                  </a:lnTo>
                  <a:lnTo>
                    <a:pt x="1095899" y="673099"/>
                  </a:lnTo>
                  <a:lnTo>
                    <a:pt x="1073531" y="711199"/>
                  </a:lnTo>
                  <a:lnTo>
                    <a:pt x="1056681" y="749299"/>
                  </a:lnTo>
                  <a:lnTo>
                    <a:pt x="1045973" y="787399"/>
                  </a:lnTo>
                  <a:lnTo>
                    <a:pt x="1042030" y="825499"/>
                  </a:lnTo>
                  <a:lnTo>
                    <a:pt x="1042399" y="838199"/>
                  </a:lnTo>
                  <a:lnTo>
                    <a:pt x="1047799" y="876299"/>
                  </a:lnTo>
                  <a:lnTo>
                    <a:pt x="1059214" y="914399"/>
                  </a:lnTo>
                  <a:lnTo>
                    <a:pt x="1076095" y="952499"/>
                  </a:lnTo>
                  <a:lnTo>
                    <a:pt x="882383" y="1244599"/>
                  </a:lnTo>
                  <a:lnTo>
                    <a:pt x="1005010" y="1244599"/>
                  </a:lnTo>
                  <a:lnTo>
                    <a:pt x="1156182" y="1028699"/>
                  </a:lnTo>
                  <a:lnTo>
                    <a:pt x="1395410" y="1028699"/>
                  </a:lnTo>
                  <a:lnTo>
                    <a:pt x="1425414" y="1003299"/>
                  </a:lnTo>
                  <a:lnTo>
                    <a:pt x="1462898" y="965199"/>
                  </a:lnTo>
                  <a:lnTo>
                    <a:pt x="1260653" y="965199"/>
                  </a:lnTo>
                  <a:lnTo>
                    <a:pt x="1246455" y="952499"/>
                  </a:lnTo>
                  <a:lnTo>
                    <a:pt x="1219765" y="952499"/>
                  </a:lnTo>
                  <a:lnTo>
                    <a:pt x="1207442" y="939799"/>
                  </a:lnTo>
                  <a:lnTo>
                    <a:pt x="1195913" y="939799"/>
                  </a:lnTo>
                  <a:lnTo>
                    <a:pt x="1166927" y="901699"/>
                  </a:lnTo>
                  <a:lnTo>
                    <a:pt x="1148112" y="863599"/>
                  </a:lnTo>
                  <a:lnTo>
                    <a:pt x="1142343" y="838199"/>
                  </a:lnTo>
                  <a:lnTo>
                    <a:pt x="1142955" y="825499"/>
                  </a:lnTo>
                  <a:lnTo>
                    <a:pt x="1144979" y="812799"/>
                  </a:lnTo>
                  <a:lnTo>
                    <a:pt x="1148342" y="800099"/>
                  </a:lnTo>
                  <a:lnTo>
                    <a:pt x="1152968" y="774699"/>
                  </a:lnTo>
                  <a:lnTo>
                    <a:pt x="1158787" y="761999"/>
                  </a:lnTo>
                  <a:lnTo>
                    <a:pt x="1165723" y="749299"/>
                  </a:lnTo>
                  <a:lnTo>
                    <a:pt x="1173704" y="749299"/>
                  </a:lnTo>
                  <a:lnTo>
                    <a:pt x="1182655" y="736599"/>
                  </a:lnTo>
                  <a:lnTo>
                    <a:pt x="1192505" y="723899"/>
                  </a:lnTo>
                  <a:lnTo>
                    <a:pt x="1203179" y="711199"/>
                  </a:lnTo>
                  <a:lnTo>
                    <a:pt x="1214604" y="711199"/>
                  </a:lnTo>
                  <a:lnTo>
                    <a:pt x="1226707" y="698499"/>
                  </a:lnTo>
                  <a:lnTo>
                    <a:pt x="1468560" y="698499"/>
                  </a:lnTo>
                  <a:lnTo>
                    <a:pt x="1463525" y="685799"/>
                  </a:lnTo>
                  <a:lnTo>
                    <a:pt x="1452371" y="673099"/>
                  </a:lnTo>
                  <a:lnTo>
                    <a:pt x="1440191" y="660399"/>
                  </a:lnTo>
                  <a:lnTo>
                    <a:pt x="1427046" y="647699"/>
                  </a:lnTo>
                  <a:lnTo>
                    <a:pt x="1412997" y="634999"/>
                  </a:lnTo>
                  <a:lnTo>
                    <a:pt x="1398104" y="634999"/>
                  </a:lnTo>
                  <a:lnTo>
                    <a:pt x="1382427" y="622299"/>
                  </a:lnTo>
                  <a:lnTo>
                    <a:pt x="1366028" y="609599"/>
                  </a:lnTo>
                  <a:lnTo>
                    <a:pt x="1348967" y="609599"/>
                  </a:lnTo>
                  <a:lnTo>
                    <a:pt x="1331304" y="596899"/>
                  </a:lnTo>
                  <a:lnTo>
                    <a:pt x="1249858" y="596899"/>
                  </a:lnTo>
                  <a:lnTo>
                    <a:pt x="1085791" y="393699"/>
                  </a:lnTo>
                  <a:close/>
                </a:path>
                <a:path w="1508594" h="1676400">
                  <a:moveTo>
                    <a:pt x="835320" y="1219199"/>
                  </a:moveTo>
                  <a:lnTo>
                    <a:pt x="725486" y="1219199"/>
                  </a:lnTo>
                  <a:lnTo>
                    <a:pt x="707136" y="1231899"/>
                  </a:lnTo>
                  <a:lnTo>
                    <a:pt x="847522" y="1231899"/>
                  </a:lnTo>
                  <a:lnTo>
                    <a:pt x="835320" y="1219199"/>
                  </a:lnTo>
                  <a:close/>
                </a:path>
                <a:path w="1508594" h="1676400">
                  <a:moveTo>
                    <a:pt x="271090" y="1054099"/>
                  </a:moveTo>
                  <a:lnTo>
                    <a:pt x="195507" y="1054099"/>
                  </a:lnTo>
                  <a:lnTo>
                    <a:pt x="214193" y="1066799"/>
                  </a:lnTo>
                  <a:lnTo>
                    <a:pt x="252404" y="1066799"/>
                  </a:lnTo>
                  <a:lnTo>
                    <a:pt x="271090" y="1054099"/>
                  </a:lnTo>
                  <a:close/>
                </a:path>
                <a:path w="1508594" h="1676400">
                  <a:moveTo>
                    <a:pt x="1286003" y="1054099"/>
                  </a:moveTo>
                  <a:lnTo>
                    <a:pt x="1252319" y="1054099"/>
                  </a:lnTo>
                  <a:lnTo>
                    <a:pt x="1265498" y="1066799"/>
                  </a:lnTo>
                  <a:lnTo>
                    <a:pt x="1286003" y="1054099"/>
                  </a:lnTo>
                  <a:close/>
                </a:path>
                <a:path w="1508594" h="1676400">
                  <a:moveTo>
                    <a:pt x="324019" y="1041399"/>
                  </a:moveTo>
                  <a:lnTo>
                    <a:pt x="142576" y="1041399"/>
                  </a:lnTo>
                  <a:lnTo>
                    <a:pt x="159638" y="1054099"/>
                  </a:lnTo>
                  <a:lnTo>
                    <a:pt x="306957" y="1054099"/>
                  </a:lnTo>
                  <a:lnTo>
                    <a:pt x="324019" y="1041399"/>
                  </a:lnTo>
                  <a:close/>
                </a:path>
                <a:path w="1508594" h="1676400">
                  <a:moveTo>
                    <a:pt x="1379063" y="1028699"/>
                  </a:moveTo>
                  <a:lnTo>
                    <a:pt x="1167123" y="1028699"/>
                  </a:lnTo>
                  <a:lnTo>
                    <a:pt x="1178409" y="1041399"/>
                  </a:lnTo>
                  <a:lnTo>
                    <a:pt x="1190020" y="1041399"/>
                  </a:lnTo>
                  <a:lnTo>
                    <a:pt x="1201939" y="1054099"/>
                  </a:lnTo>
                  <a:lnTo>
                    <a:pt x="1343944" y="1054099"/>
                  </a:lnTo>
                  <a:lnTo>
                    <a:pt x="1361890" y="1041399"/>
                  </a:lnTo>
                  <a:lnTo>
                    <a:pt x="1379063" y="1028699"/>
                  </a:lnTo>
                  <a:close/>
                </a:path>
                <a:path w="1508594" h="1676400">
                  <a:moveTo>
                    <a:pt x="900141" y="38099"/>
                  </a:moveTo>
                  <a:lnTo>
                    <a:pt x="654558" y="38099"/>
                  </a:lnTo>
                  <a:lnTo>
                    <a:pt x="639665" y="50799"/>
                  </a:lnTo>
                  <a:lnTo>
                    <a:pt x="600291" y="88899"/>
                  </a:lnTo>
                  <a:lnTo>
                    <a:pt x="570145" y="126999"/>
                  </a:lnTo>
                  <a:lnTo>
                    <a:pt x="562429" y="152399"/>
                  </a:lnTo>
                  <a:lnTo>
                    <a:pt x="555980" y="165099"/>
                  </a:lnTo>
                  <a:lnTo>
                    <a:pt x="550859" y="177799"/>
                  </a:lnTo>
                  <a:lnTo>
                    <a:pt x="547126" y="203199"/>
                  </a:lnTo>
                  <a:lnTo>
                    <a:pt x="544842" y="215899"/>
                  </a:lnTo>
                  <a:lnTo>
                    <a:pt x="544068" y="241299"/>
                  </a:lnTo>
                  <a:lnTo>
                    <a:pt x="544458" y="253999"/>
                  </a:lnTo>
                  <a:lnTo>
                    <a:pt x="545579" y="266699"/>
                  </a:lnTo>
                  <a:lnTo>
                    <a:pt x="547352" y="279399"/>
                  </a:lnTo>
                  <a:lnTo>
                    <a:pt x="267589" y="596899"/>
                  </a:lnTo>
                  <a:lnTo>
                    <a:pt x="182896" y="596899"/>
                  </a:lnTo>
                  <a:lnTo>
                    <a:pt x="164302" y="609599"/>
                  </a:lnTo>
                  <a:lnTo>
                    <a:pt x="146419" y="609599"/>
                  </a:lnTo>
                  <a:lnTo>
                    <a:pt x="129301" y="622299"/>
                  </a:lnTo>
                  <a:lnTo>
                    <a:pt x="113001" y="634999"/>
                  </a:lnTo>
                  <a:lnTo>
                    <a:pt x="97573" y="634999"/>
                  </a:lnTo>
                  <a:lnTo>
                    <a:pt x="57059" y="673099"/>
                  </a:lnTo>
                  <a:lnTo>
                    <a:pt x="35394" y="711199"/>
                  </a:lnTo>
                  <a:lnTo>
                    <a:pt x="26325" y="723899"/>
                  </a:lnTo>
                  <a:lnTo>
                    <a:pt x="18505" y="736599"/>
                  </a:lnTo>
                  <a:lnTo>
                    <a:pt x="11986" y="749299"/>
                  </a:lnTo>
                  <a:lnTo>
                    <a:pt x="6823" y="774699"/>
                  </a:lnTo>
                  <a:lnTo>
                    <a:pt x="3068" y="787399"/>
                  </a:lnTo>
                  <a:lnTo>
                    <a:pt x="776" y="812799"/>
                  </a:lnTo>
                  <a:lnTo>
                    <a:pt x="0" y="825499"/>
                  </a:lnTo>
                  <a:lnTo>
                    <a:pt x="774" y="850899"/>
                  </a:lnTo>
                  <a:lnTo>
                    <a:pt x="3059" y="863599"/>
                  </a:lnTo>
                  <a:lnTo>
                    <a:pt x="6792" y="888999"/>
                  </a:lnTo>
                  <a:lnTo>
                    <a:pt x="11913" y="901699"/>
                  </a:lnTo>
                  <a:lnTo>
                    <a:pt x="18363" y="914399"/>
                  </a:lnTo>
                  <a:lnTo>
                    <a:pt x="26079" y="939799"/>
                  </a:lnTo>
                  <a:lnTo>
                    <a:pt x="56229" y="977899"/>
                  </a:lnTo>
                  <a:lnTo>
                    <a:pt x="95606" y="1015999"/>
                  </a:lnTo>
                  <a:lnTo>
                    <a:pt x="126176" y="1041399"/>
                  </a:lnTo>
                  <a:lnTo>
                    <a:pt x="340418" y="1041399"/>
                  </a:lnTo>
                  <a:lnTo>
                    <a:pt x="370987" y="1015999"/>
                  </a:lnTo>
                  <a:lnTo>
                    <a:pt x="410361" y="977899"/>
                  </a:lnTo>
                  <a:lnTo>
                    <a:pt x="421516" y="965199"/>
                  </a:lnTo>
                  <a:lnTo>
                    <a:pt x="204445" y="965199"/>
                  </a:lnTo>
                  <a:lnTo>
                    <a:pt x="190786" y="952499"/>
                  </a:lnTo>
                  <a:lnTo>
                    <a:pt x="177753" y="952499"/>
                  </a:lnTo>
                  <a:lnTo>
                    <a:pt x="165429" y="939799"/>
                  </a:lnTo>
                  <a:lnTo>
                    <a:pt x="153899" y="939799"/>
                  </a:lnTo>
                  <a:lnTo>
                    <a:pt x="124909" y="901699"/>
                  </a:lnTo>
                  <a:lnTo>
                    <a:pt x="106091" y="863599"/>
                  </a:lnTo>
                  <a:lnTo>
                    <a:pt x="100320" y="838199"/>
                  </a:lnTo>
                  <a:lnTo>
                    <a:pt x="100933" y="825499"/>
                  </a:lnTo>
                  <a:lnTo>
                    <a:pt x="102958" y="812799"/>
                  </a:lnTo>
                  <a:lnTo>
                    <a:pt x="106321" y="800099"/>
                  </a:lnTo>
                  <a:lnTo>
                    <a:pt x="110948" y="774699"/>
                  </a:lnTo>
                  <a:lnTo>
                    <a:pt x="116768" y="761999"/>
                  </a:lnTo>
                  <a:lnTo>
                    <a:pt x="123705" y="749299"/>
                  </a:lnTo>
                  <a:lnTo>
                    <a:pt x="131687" y="749299"/>
                  </a:lnTo>
                  <a:lnTo>
                    <a:pt x="140640" y="736599"/>
                  </a:lnTo>
                  <a:lnTo>
                    <a:pt x="150491" y="723899"/>
                  </a:lnTo>
                  <a:lnTo>
                    <a:pt x="161166" y="711199"/>
                  </a:lnTo>
                  <a:lnTo>
                    <a:pt x="172592" y="711199"/>
                  </a:lnTo>
                  <a:lnTo>
                    <a:pt x="184696" y="698499"/>
                  </a:lnTo>
                  <a:lnTo>
                    <a:pt x="429230" y="698499"/>
                  </a:lnTo>
                  <a:lnTo>
                    <a:pt x="421853" y="685799"/>
                  </a:lnTo>
                  <a:lnTo>
                    <a:pt x="413906" y="685799"/>
                  </a:lnTo>
                  <a:lnTo>
                    <a:pt x="405413" y="673099"/>
                  </a:lnTo>
                  <a:lnTo>
                    <a:pt x="396397" y="660399"/>
                  </a:lnTo>
                  <a:lnTo>
                    <a:pt x="386880" y="647699"/>
                  </a:lnTo>
                  <a:lnTo>
                    <a:pt x="376887" y="647699"/>
                  </a:lnTo>
                  <a:lnTo>
                    <a:pt x="366440" y="634999"/>
                  </a:lnTo>
                  <a:lnTo>
                    <a:pt x="592772" y="380999"/>
                  </a:lnTo>
                  <a:lnTo>
                    <a:pt x="1075536" y="380999"/>
                  </a:lnTo>
                  <a:lnTo>
                    <a:pt x="1065282" y="368299"/>
                  </a:lnTo>
                  <a:lnTo>
                    <a:pt x="734841" y="368299"/>
                  </a:lnTo>
                  <a:lnTo>
                    <a:pt x="721808" y="355599"/>
                  </a:lnTo>
                  <a:lnTo>
                    <a:pt x="709485" y="355599"/>
                  </a:lnTo>
                  <a:lnTo>
                    <a:pt x="697955" y="342899"/>
                  </a:lnTo>
                  <a:lnTo>
                    <a:pt x="687303" y="342899"/>
                  </a:lnTo>
                  <a:lnTo>
                    <a:pt x="677613" y="330199"/>
                  </a:lnTo>
                  <a:lnTo>
                    <a:pt x="655156" y="292099"/>
                  </a:lnTo>
                  <a:lnTo>
                    <a:pt x="644387" y="253999"/>
                  </a:lnTo>
                  <a:lnTo>
                    <a:pt x="645000" y="241299"/>
                  </a:lnTo>
                  <a:lnTo>
                    <a:pt x="650387" y="203199"/>
                  </a:lnTo>
                  <a:lnTo>
                    <a:pt x="667768" y="165099"/>
                  </a:lnTo>
                  <a:lnTo>
                    <a:pt x="684701" y="139699"/>
                  </a:lnTo>
                  <a:lnTo>
                    <a:pt x="694551" y="139699"/>
                  </a:lnTo>
                  <a:lnTo>
                    <a:pt x="705225" y="126999"/>
                  </a:lnTo>
                  <a:lnTo>
                    <a:pt x="716650" y="114299"/>
                  </a:lnTo>
                  <a:lnTo>
                    <a:pt x="741459" y="114299"/>
                  </a:lnTo>
                  <a:lnTo>
                    <a:pt x="754696" y="101599"/>
                  </a:lnTo>
                  <a:lnTo>
                    <a:pt x="965555" y="101599"/>
                  </a:lnTo>
                  <a:lnTo>
                    <a:pt x="954403" y="88899"/>
                  </a:lnTo>
                  <a:lnTo>
                    <a:pt x="942224" y="76199"/>
                  </a:lnTo>
                  <a:lnTo>
                    <a:pt x="929081" y="63499"/>
                  </a:lnTo>
                  <a:lnTo>
                    <a:pt x="915033" y="50799"/>
                  </a:lnTo>
                  <a:lnTo>
                    <a:pt x="900141" y="38099"/>
                  </a:lnTo>
                  <a:close/>
                </a:path>
                <a:path w="1508594" h="1676400">
                  <a:moveTo>
                    <a:pt x="429230" y="698499"/>
                  </a:moveTo>
                  <a:lnTo>
                    <a:pt x="269765" y="698499"/>
                  </a:lnTo>
                  <a:lnTo>
                    <a:pt x="283475" y="711199"/>
                  </a:lnTo>
                  <a:lnTo>
                    <a:pt x="296365" y="711199"/>
                  </a:lnTo>
                  <a:lnTo>
                    <a:pt x="308375" y="723899"/>
                  </a:lnTo>
                  <a:lnTo>
                    <a:pt x="319444" y="723899"/>
                  </a:lnTo>
                  <a:lnTo>
                    <a:pt x="329510" y="736599"/>
                  </a:lnTo>
                  <a:lnTo>
                    <a:pt x="353081" y="774699"/>
                  </a:lnTo>
                  <a:lnTo>
                    <a:pt x="365425" y="812799"/>
                  </a:lnTo>
                  <a:lnTo>
                    <a:pt x="366758" y="825499"/>
                  </a:lnTo>
                  <a:lnTo>
                    <a:pt x="366015" y="838199"/>
                  </a:lnTo>
                  <a:lnTo>
                    <a:pt x="355221" y="876299"/>
                  </a:lnTo>
                  <a:lnTo>
                    <a:pt x="333242" y="914399"/>
                  </a:lnTo>
                  <a:lnTo>
                    <a:pt x="313430" y="939799"/>
                  </a:lnTo>
                  <a:lnTo>
                    <a:pt x="302214" y="939799"/>
                  </a:lnTo>
                  <a:lnTo>
                    <a:pt x="290231" y="952499"/>
                  </a:lnTo>
                  <a:lnTo>
                    <a:pt x="264277" y="952499"/>
                  </a:lnTo>
                  <a:lnTo>
                    <a:pt x="250464" y="965199"/>
                  </a:lnTo>
                  <a:lnTo>
                    <a:pt x="421516" y="965199"/>
                  </a:lnTo>
                  <a:lnTo>
                    <a:pt x="431585" y="952499"/>
                  </a:lnTo>
                  <a:lnTo>
                    <a:pt x="440508" y="939799"/>
                  </a:lnTo>
                  <a:lnTo>
                    <a:pt x="448224" y="914399"/>
                  </a:lnTo>
                  <a:lnTo>
                    <a:pt x="454672" y="901699"/>
                  </a:lnTo>
                  <a:lnTo>
                    <a:pt x="459793" y="888999"/>
                  </a:lnTo>
                  <a:lnTo>
                    <a:pt x="463526" y="863599"/>
                  </a:lnTo>
                  <a:lnTo>
                    <a:pt x="465810" y="850899"/>
                  </a:lnTo>
                  <a:lnTo>
                    <a:pt x="466585" y="825499"/>
                  </a:lnTo>
                  <a:lnTo>
                    <a:pt x="466177" y="812799"/>
                  </a:lnTo>
                  <a:lnTo>
                    <a:pt x="464967" y="800099"/>
                  </a:lnTo>
                  <a:lnTo>
                    <a:pt x="456764" y="761999"/>
                  </a:lnTo>
                  <a:lnTo>
                    <a:pt x="442184" y="723899"/>
                  </a:lnTo>
                  <a:lnTo>
                    <a:pt x="436015" y="711199"/>
                  </a:lnTo>
                  <a:lnTo>
                    <a:pt x="429230" y="698499"/>
                  </a:lnTo>
                  <a:close/>
                </a:path>
                <a:path w="1508594" h="1676400">
                  <a:moveTo>
                    <a:pt x="1468560" y="698499"/>
                  </a:moveTo>
                  <a:lnTo>
                    <a:pt x="1311777" y="698499"/>
                  </a:lnTo>
                  <a:lnTo>
                    <a:pt x="1325487" y="711199"/>
                  </a:lnTo>
                  <a:lnTo>
                    <a:pt x="1338377" y="711199"/>
                  </a:lnTo>
                  <a:lnTo>
                    <a:pt x="1350387" y="723899"/>
                  </a:lnTo>
                  <a:lnTo>
                    <a:pt x="1361455" y="723899"/>
                  </a:lnTo>
                  <a:lnTo>
                    <a:pt x="1371521" y="736599"/>
                  </a:lnTo>
                  <a:lnTo>
                    <a:pt x="1395090" y="774699"/>
                  </a:lnTo>
                  <a:lnTo>
                    <a:pt x="1407433" y="812799"/>
                  </a:lnTo>
                  <a:lnTo>
                    <a:pt x="1408767" y="825499"/>
                  </a:lnTo>
                  <a:lnTo>
                    <a:pt x="1408025" y="838199"/>
                  </a:lnTo>
                  <a:lnTo>
                    <a:pt x="1397234" y="876299"/>
                  </a:lnTo>
                  <a:lnTo>
                    <a:pt x="1375261" y="914399"/>
                  </a:lnTo>
                  <a:lnTo>
                    <a:pt x="1355454" y="939799"/>
                  </a:lnTo>
                  <a:lnTo>
                    <a:pt x="1344240" y="939799"/>
                  </a:lnTo>
                  <a:lnTo>
                    <a:pt x="1332258" y="952499"/>
                  </a:lnTo>
                  <a:lnTo>
                    <a:pt x="1306306" y="952499"/>
                  </a:lnTo>
                  <a:lnTo>
                    <a:pt x="1292494" y="965199"/>
                  </a:lnTo>
                  <a:lnTo>
                    <a:pt x="1462898" y="965199"/>
                  </a:lnTo>
                  <a:lnTo>
                    <a:pt x="1473174" y="952499"/>
                  </a:lnTo>
                  <a:lnTo>
                    <a:pt x="1482252" y="939799"/>
                  </a:lnTo>
                  <a:lnTo>
                    <a:pt x="1490080" y="914399"/>
                  </a:lnTo>
                  <a:lnTo>
                    <a:pt x="1496603" y="901699"/>
                  </a:lnTo>
                  <a:lnTo>
                    <a:pt x="1501770" y="888999"/>
                  </a:lnTo>
                  <a:lnTo>
                    <a:pt x="1505526" y="863599"/>
                  </a:lnTo>
                  <a:lnTo>
                    <a:pt x="1507818" y="850899"/>
                  </a:lnTo>
                  <a:lnTo>
                    <a:pt x="1508594" y="825499"/>
                  </a:lnTo>
                  <a:lnTo>
                    <a:pt x="1507820" y="812799"/>
                  </a:lnTo>
                  <a:lnTo>
                    <a:pt x="1505536" y="787399"/>
                  </a:lnTo>
                  <a:lnTo>
                    <a:pt x="1501803" y="774699"/>
                  </a:lnTo>
                  <a:lnTo>
                    <a:pt x="1496682" y="749299"/>
                  </a:lnTo>
                  <a:lnTo>
                    <a:pt x="1490233" y="736599"/>
                  </a:lnTo>
                  <a:lnTo>
                    <a:pt x="1482517" y="723899"/>
                  </a:lnTo>
                  <a:lnTo>
                    <a:pt x="1473594" y="711199"/>
                  </a:lnTo>
                  <a:lnTo>
                    <a:pt x="1468560" y="698499"/>
                  </a:lnTo>
                  <a:close/>
                </a:path>
                <a:path w="1508594" h="1676400">
                  <a:moveTo>
                    <a:pt x="841909" y="457199"/>
                  </a:moveTo>
                  <a:lnTo>
                    <a:pt x="708024" y="457199"/>
                  </a:lnTo>
                  <a:lnTo>
                    <a:pt x="720781" y="469899"/>
                  </a:lnTo>
                  <a:lnTo>
                    <a:pt x="829025" y="469899"/>
                  </a:lnTo>
                  <a:lnTo>
                    <a:pt x="841909" y="457199"/>
                  </a:lnTo>
                  <a:close/>
                </a:path>
                <a:path w="1508594" h="1676400">
                  <a:moveTo>
                    <a:pt x="878473" y="444499"/>
                  </a:moveTo>
                  <a:lnTo>
                    <a:pt x="671679" y="444499"/>
                  </a:lnTo>
                  <a:lnTo>
                    <a:pt x="683450" y="457199"/>
                  </a:lnTo>
                  <a:lnTo>
                    <a:pt x="866650" y="457199"/>
                  </a:lnTo>
                  <a:lnTo>
                    <a:pt x="878473" y="444499"/>
                  </a:lnTo>
                  <a:close/>
                </a:path>
                <a:path w="1508594" h="1676400">
                  <a:moveTo>
                    <a:pt x="900947" y="431799"/>
                  </a:moveTo>
                  <a:lnTo>
                    <a:pt x="649275" y="431799"/>
                  </a:lnTo>
                  <a:lnTo>
                    <a:pt x="660279" y="444499"/>
                  </a:lnTo>
                  <a:lnTo>
                    <a:pt x="889911" y="444499"/>
                  </a:lnTo>
                  <a:lnTo>
                    <a:pt x="900947" y="431799"/>
                  </a:lnTo>
                  <a:close/>
                </a:path>
                <a:path w="1508594" h="1676400">
                  <a:moveTo>
                    <a:pt x="1075536" y="380999"/>
                  </a:moveTo>
                  <a:lnTo>
                    <a:pt x="592772" y="380999"/>
                  </a:lnTo>
                  <a:lnTo>
                    <a:pt x="600945" y="393699"/>
                  </a:lnTo>
                  <a:lnTo>
                    <a:pt x="609645" y="406399"/>
                  </a:lnTo>
                  <a:lnTo>
                    <a:pt x="618850" y="406399"/>
                  </a:lnTo>
                  <a:lnTo>
                    <a:pt x="628538" y="419099"/>
                  </a:lnTo>
                  <a:lnTo>
                    <a:pt x="638687" y="431799"/>
                  </a:lnTo>
                  <a:lnTo>
                    <a:pt x="911564" y="431799"/>
                  </a:lnTo>
                  <a:lnTo>
                    <a:pt x="921747" y="419099"/>
                  </a:lnTo>
                  <a:lnTo>
                    <a:pt x="931480" y="419099"/>
                  </a:lnTo>
                  <a:lnTo>
                    <a:pt x="940746" y="406399"/>
                  </a:lnTo>
                  <a:lnTo>
                    <a:pt x="949529" y="393699"/>
                  </a:lnTo>
                  <a:lnTo>
                    <a:pt x="1085791" y="393699"/>
                  </a:lnTo>
                  <a:lnTo>
                    <a:pt x="1075536" y="380999"/>
                  </a:lnTo>
                  <a:close/>
                </a:path>
                <a:path w="1508594" h="1676400">
                  <a:moveTo>
                    <a:pt x="965555" y="101599"/>
                  </a:moveTo>
                  <a:lnTo>
                    <a:pt x="784191" y="101599"/>
                  </a:lnTo>
                  <a:lnTo>
                    <a:pt x="799354" y="114299"/>
                  </a:lnTo>
                  <a:lnTo>
                    <a:pt x="827530" y="114299"/>
                  </a:lnTo>
                  <a:lnTo>
                    <a:pt x="840420" y="126999"/>
                  </a:lnTo>
                  <a:lnTo>
                    <a:pt x="852430" y="126999"/>
                  </a:lnTo>
                  <a:lnTo>
                    <a:pt x="863498" y="139699"/>
                  </a:lnTo>
                  <a:lnTo>
                    <a:pt x="873563" y="152399"/>
                  </a:lnTo>
                  <a:lnTo>
                    <a:pt x="882565" y="152399"/>
                  </a:lnTo>
                  <a:lnTo>
                    <a:pt x="902576" y="190499"/>
                  </a:lnTo>
                  <a:lnTo>
                    <a:pt x="910813" y="228599"/>
                  </a:lnTo>
                  <a:lnTo>
                    <a:pt x="910070" y="253999"/>
                  </a:lnTo>
                  <a:lnTo>
                    <a:pt x="899280" y="292099"/>
                  </a:lnTo>
                  <a:lnTo>
                    <a:pt x="877306" y="330199"/>
                  </a:lnTo>
                  <a:lnTo>
                    <a:pt x="867866" y="342899"/>
                  </a:lnTo>
                  <a:lnTo>
                    <a:pt x="857499" y="342899"/>
                  </a:lnTo>
                  <a:lnTo>
                    <a:pt x="846285" y="355599"/>
                  </a:lnTo>
                  <a:lnTo>
                    <a:pt x="834303" y="355599"/>
                  </a:lnTo>
                  <a:lnTo>
                    <a:pt x="821632" y="368299"/>
                  </a:lnTo>
                  <a:lnTo>
                    <a:pt x="1065282" y="368299"/>
                  </a:lnTo>
                  <a:lnTo>
                    <a:pt x="1003757" y="292099"/>
                  </a:lnTo>
                  <a:lnTo>
                    <a:pt x="1006434" y="279399"/>
                  </a:lnTo>
                  <a:lnTo>
                    <a:pt x="1008501" y="266699"/>
                  </a:lnTo>
                  <a:lnTo>
                    <a:pt x="1009902" y="253999"/>
                  </a:lnTo>
                  <a:lnTo>
                    <a:pt x="1010582" y="241299"/>
                  </a:lnTo>
                  <a:lnTo>
                    <a:pt x="1009816" y="228599"/>
                  </a:lnTo>
                  <a:lnTo>
                    <a:pt x="1007539" y="203199"/>
                  </a:lnTo>
                  <a:lnTo>
                    <a:pt x="1003812" y="190499"/>
                  </a:lnTo>
                  <a:lnTo>
                    <a:pt x="998697" y="165099"/>
                  </a:lnTo>
                  <a:lnTo>
                    <a:pt x="992253" y="152399"/>
                  </a:lnTo>
                  <a:lnTo>
                    <a:pt x="984541" y="139699"/>
                  </a:lnTo>
                  <a:lnTo>
                    <a:pt x="975621" y="114299"/>
                  </a:lnTo>
                  <a:lnTo>
                    <a:pt x="965555" y="101599"/>
                  </a:lnTo>
                  <a:close/>
                </a:path>
                <a:path w="1508594" h="1676400">
                  <a:moveTo>
                    <a:pt x="851007" y="12699"/>
                  </a:moveTo>
                  <a:lnTo>
                    <a:pt x="703695" y="12699"/>
                  </a:lnTo>
                  <a:lnTo>
                    <a:pt x="686634" y="25399"/>
                  </a:lnTo>
                  <a:lnTo>
                    <a:pt x="670234" y="38099"/>
                  </a:lnTo>
                  <a:lnTo>
                    <a:pt x="884466" y="38099"/>
                  </a:lnTo>
                  <a:lnTo>
                    <a:pt x="868068" y="25399"/>
                  </a:lnTo>
                  <a:lnTo>
                    <a:pt x="851007" y="12699"/>
                  </a:lnTo>
                  <a:close/>
                </a:path>
                <a:path w="1508594" h="1676400">
                  <a:moveTo>
                    <a:pt x="777354" y="0"/>
                  </a:moveTo>
                  <a:lnTo>
                    <a:pt x="758248" y="12699"/>
                  </a:lnTo>
                  <a:lnTo>
                    <a:pt x="796458" y="12699"/>
                  </a:lnTo>
                  <a:lnTo>
                    <a:pt x="7773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700"/>
            </a:p>
          </p:txBody>
        </p:sp>
      </p:grpSp>
    </p:spTree>
    <p:extLst>
      <p:ext uri="{BB962C8B-B14F-4D97-AF65-F5344CB8AC3E}">
        <p14:creationId xmlns:p14="http://schemas.microsoft.com/office/powerpoint/2010/main" val="2753828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9" y="356810"/>
            <a:ext cx="3897186" cy="839942"/>
          </a:xfrm>
        </p:spPr>
        <p:txBody>
          <a:bodyPr>
            <a:noAutofit/>
          </a:bodyPr>
          <a:lstStyle/>
          <a:p>
            <a:r>
              <a:rPr lang="en-US" dirty="0"/>
              <a:t>Informed consent – to receiving a service </a:t>
            </a:r>
            <a:endParaRPr lang="en-GB" dirty="0"/>
          </a:p>
        </p:txBody>
      </p:sp>
      <p:sp>
        <p:nvSpPr>
          <p:cNvPr id="6" name="Slide Number Placeholder 5"/>
          <p:cNvSpPr>
            <a:spLocks noGrp="1"/>
          </p:cNvSpPr>
          <p:nvPr>
            <p:ph type="sldNum" sz="quarter" idx="429496729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8" name="Rectangle 7">
            <a:extLst>
              <a:ext uri="{FF2B5EF4-FFF2-40B4-BE49-F238E27FC236}">
                <a16:creationId xmlns:a16="http://schemas.microsoft.com/office/drawing/2014/main" id="{07ADD28F-F33D-4348-AD5C-19896691F40C}"/>
              </a:ext>
            </a:extLst>
          </p:cNvPr>
          <p:cNvSpPr/>
          <p:nvPr/>
        </p:nvSpPr>
        <p:spPr>
          <a:xfrm>
            <a:off x="4220714" y="0"/>
            <a:ext cx="4923285" cy="68580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3" name="Content Placeholder 2"/>
          <p:cNvSpPr>
            <a:spLocks noGrp="1"/>
          </p:cNvSpPr>
          <p:nvPr>
            <p:ph idx="1"/>
          </p:nvPr>
        </p:nvSpPr>
        <p:spPr>
          <a:xfrm>
            <a:off x="4494355" y="691620"/>
            <a:ext cx="4425158" cy="5749399"/>
          </a:xfrm>
        </p:spPr>
        <p:txBody>
          <a:bodyPr/>
          <a:lstStyle/>
          <a:p>
            <a:pPr marL="457200" indent="-457200">
              <a:buFont typeface="+mj-lt"/>
              <a:buAutoNum type="arabicPeriod"/>
            </a:pPr>
            <a:endParaRPr lang="en-US" sz="2000" b="0"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sz="2000"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sz="2000"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A"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endParaRPr lang="en-GB" sz="2400" dirty="0">
              <a:solidFill>
                <a:schemeClr val="bg1"/>
              </a:solidFill>
            </a:endParaRP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val="0"/>
              </a:ext>
            </a:extLst>
          </a:blip>
          <a:srcRect r="34336"/>
          <a:stretch/>
        </p:blipFill>
        <p:spPr>
          <a:xfrm>
            <a:off x="1" y="1941534"/>
            <a:ext cx="4245291" cy="4320880"/>
          </a:xfrm>
          <a:prstGeom prst="rect">
            <a:avLst/>
          </a:prstGeom>
        </p:spPr>
      </p:pic>
      <p:sp>
        <p:nvSpPr>
          <p:cNvPr id="7" name="TextBox 6"/>
          <p:cNvSpPr txBox="1"/>
          <p:nvPr/>
        </p:nvSpPr>
        <p:spPr>
          <a:xfrm>
            <a:off x="4494355" y="3671030"/>
            <a:ext cx="4571998" cy="221599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Caregivers </a:t>
            </a:r>
            <a:r>
              <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are typically responsible for giving consent for their child to receive servic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In some settings, </a:t>
            </a:r>
            <a:r>
              <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older adolescents </a:t>
            </a:r>
            <a:r>
              <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are also legally able to provide consent in lieu of, or in addition to, their caregivers.</a:t>
            </a: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 </a:t>
            </a:r>
          </a:p>
        </p:txBody>
      </p:sp>
      <p:sp>
        <p:nvSpPr>
          <p:cNvPr id="10" name="TextBox 9">
            <a:extLst>
              <a:ext uri="{FF2B5EF4-FFF2-40B4-BE49-F238E27FC236}">
                <a16:creationId xmlns:a16="http://schemas.microsoft.com/office/drawing/2014/main" id="{A65FA582-4C66-409A-9561-34BBE97F6799}"/>
              </a:ext>
            </a:extLst>
          </p:cNvPr>
          <p:cNvSpPr txBox="1"/>
          <p:nvPr/>
        </p:nvSpPr>
        <p:spPr>
          <a:xfrm>
            <a:off x="4494354" y="1018822"/>
            <a:ext cx="4601996" cy="2554545"/>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သတင္းအခ်က္အလက္မ်ားအေပ</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ၚ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ပံုမွန္အားျဖင</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၄င္းတုိ႔၏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ကေလးအတြက</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ဝန္ေဆာင္မႈရယူရန</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သေဘာတူညီခ်က</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ပးရန</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တာ</a:t>
            </a:r>
            <a:r>
              <a:rPr lang="en-US" sz="1600" dirty="0" err="1">
                <a:solidFill>
                  <a:schemeClr val="bg1"/>
                </a:solidFill>
                <a:latin typeface="Zawgyi-One" panose="020B0604030504040204" pitchFamily="34" charset="0"/>
                <a:cs typeface="Zawgyi-One" panose="020B0604030504040204" pitchFamily="34" charset="0"/>
              </a:rPr>
              <a:t>ဝန္ရွိသည</a:t>
            </a:r>
            <a:r>
              <a:rPr lang="en-US" sz="1600" dirty="0">
                <a:solidFill>
                  <a:schemeClr val="bg1"/>
                </a:solidFill>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အခ်ိ</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႕</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သာအေျခအေနမွာ</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အရြယ္ေရာက</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ၿ</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ပီး</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ဆယ္ေက်ာ္သက္မ်ားသည</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တရားဝင</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သေဘာတူညီခ်က္ေပးႏုိင္သည</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သုိ</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႔) ၄င္းတုိ႔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အုပ္ထိန္းသူမ်ား</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ကုိယ္စား</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endParaRPr kumimoji="0" lang="en-GB"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348381451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5114" y="356810"/>
            <a:ext cx="3827176" cy="506900"/>
          </a:xfrm>
        </p:spPr>
        <p:txBody>
          <a:bodyPr>
            <a:noAutofit/>
          </a:bodyPr>
          <a:lstStyle/>
          <a:p>
            <a:r>
              <a:rPr lang="en-US" dirty="0"/>
              <a:t>Informed assent – to participate in services</a:t>
            </a:r>
            <a:endParaRPr lang="en-GB" dirty="0"/>
          </a:p>
        </p:txBody>
      </p:sp>
      <p:sp>
        <p:nvSpPr>
          <p:cNvPr id="6" name="Slide Number Placeholder 5"/>
          <p:cNvSpPr>
            <a:spLocks noGrp="1"/>
          </p:cNvSpPr>
          <p:nvPr>
            <p:ph type="sldNum" sz="quarter" idx="429496729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8" name="Rectangle 7">
            <a:extLst>
              <a:ext uri="{FF2B5EF4-FFF2-40B4-BE49-F238E27FC236}">
                <a16:creationId xmlns:a16="http://schemas.microsoft.com/office/drawing/2014/main" id="{07ADD28F-F33D-4348-AD5C-19896691F40C}"/>
              </a:ext>
            </a:extLst>
          </p:cNvPr>
          <p:cNvSpPr/>
          <p:nvPr/>
        </p:nvSpPr>
        <p:spPr>
          <a:xfrm>
            <a:off x="4220714" y="0"/>
            <a:ext cx="4923285" cy="6858000"/>
          </a:xfrm>
          <a:prstGeom prst="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BE" sz="1800" b="0" i="0" u="none" strike="noStrike" kern="1200" cap="none" spc="0" normalizeH="0" baseline="0" noProof="0" dirty="0">
              <a:ln>
                <a:noFill/>
              </a:ln>
              <a:solidFill>
                <a:srgbClr val="FFFFFF"/>
              </a:solidFill>
              <a:effectLst/>
              <a:uLnTx/>
              <a:uFillTx/>
              <a:latin typeface="Gill Sans MT"/>
              <a:ea typeface="+mn-ea"/>
              <a:cs typeface="+mn-cs"/>
            </a:endParaRPr>
          </a:p>
        </p:txBody>
      </p:sp>
      <p:sp>
        <p:nvSpPr>
          <p:cNvPr id="3" name="Content Placeholder 2"/>
          <p:cNvSpPr>
            <a:spLocks noGrp="1"/>
          </p:cNvSpPr>
          <p:nvPr>
            <p:ph idx="1"/>
          </p:nvPr>
        </p:nvSpPr>
        <p:spPr>
          <a:xfrm>
            <a:off x="4572000" y="181138"/>
            <a:ext cx="4425158" cy="6560935"/>
          </a:xfrm>
        </p:spPr>
        <p:txBody>
          <a:bodyPr/>
          <a:lstStyle/>
          <a:p>
            <a:pPr marL="457200" indent="-457200">
              <a:buFont typeface="+mj-lt"/>
              <a:buAutoNum type="arabicPeriod"/>
            </a:pPr>
            <a:endParaRPr lang="en-US" sz="2000" b="0"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sz="2000"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sz="2000"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CA" dirty="0">
              <a:solidFill>
                <a:schemeClr val="bg1"/>
              </a:solidFill>
              <a:latin typeface="Gill Sans Infant Std" panose="020B0502020104020203" pitchFamily="34" charset="0"/>
              <a:ea typeface="Calibri" panose="020F0502020204030204" pitchFamily="34" charset="0"/>
              <a:cs typeface="Times New Roman" panose="02020603050405020304" pitchFamily="18" charset="0"/>
            </a:endParaRPr>
          </a:p>
          <a:p>
            <a:endParaRPr lang="en-GB" sz="2400" dirty="0">
              <a:solidFill>
                <a:schemeClr val="bg1"/>
              </a:solidFill>
            </a:endParaRP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val="0"/>
              </a:ext>
            </a:extLst>
          </a:blip>
          <a:srcRect r="34336"/>
          <a:stretch/>
        </p:blipFill>
        <p:spPr>
          <a:xfrm>
            <a:off x="1" y="1941534"/>
            <a:ext cx="4245291" cy="4320880"/>
          </a:xfrm>
          <a:prstGeom prst="rect">
            <a:avLst/>
          </a:prstGeom>
        </p:spPr>
      </p:pic>
      <p:sp>
        <p:nvSpPr>
          <p:cNvPr id="7" name="TextBox 6"/>
          <p:cNvSpPr txBox="1"/>
          <p:nvPr/>
        </p:nvSpPr>
        <p:spPr>
          <a:xfrm>
            <a:off x="4530768" y="4386422"/>
            <a:ext cx="4390777" cy="2215991"/>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Informed assent</a:t>
            </a:r>
            <a:r>
              <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 – the child agrees to participate in services.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Informed assent is sought for children who are </a:t>
            </a:r>
            <a:r>
              <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by definition too young to give informed consent</a:t>
            </a:r>
            <a:r>
              <a:rPr kumimoji="0" lang="en-US"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 but who are </a:t>
            </a:r>
            <a:r>
              <a:rPr kumimoji="0" lang="en-US" b="1"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rPr>
              <a:t>old enough to understand and agree to participate in services</a:t>
            </a:r>
            <a:endParaRPr kumimoji="0" lang="fr-BE" b="0" i="0" u="none" strike="noStrike" kern="1200" cap="none" spc="0" normalizeH="0" baseline="0" noProof="0" dirty="0">
              <a:ln>
                <a:noFill/>
              </a:ln>
              <a:solidFill>
                <a:srgbClr val="FFFFFF"/>
              </a:solidFill>
              <a:effectLst/>
              <a:uLnTx/>
              <a:uFillTx/>
              <a:latin typeface="Gill Sans Infant Std" panose="020B0502020104020203" pitchFamily="34" charset="0"/>
              <a:ea typeface="+mn-ea"/>
              <a:cs typeface="+mn-cs"/>
            </a:endParaRPr>
          </a:p>
        </p:txBody>
      </p:sp>
      <p:sp>
        <p:nvSpPr>
          <p:cNvPr id="11" name="TextBox 10">
            <a:extLst>
              <a:ext uri="{FF2B5EF4-FFF2-40B4-BE49-F238E27FC236}">
                <a16:creationId xmlns:a16="http://schemas.microsoft.com/office/drawing/2014/main" id="{2C36C2B5-C5BD-4A87-88CB-B127ECEB2928}"/>
              </a:ext>
            </a:extLst>
          </p:cNvPr>
          <p:cNvSpPr txBox="1"/>
          <p:nvPr/>
        </p:nvSpPr>
        <p:spPr>
          <a:xfrm>
            <a:off x="4425159" y="841808"/>
            <a:ext cx="4601996" cy="3662541"/>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အသိေပး</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ခြင</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ပဳခ်က</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ကေလးသည</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ဝန္ေဆာင္မ</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ရယူရန</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သေဘာတူညီမႈေပးႏိုင္သည</a:t>
            </a:r>
            <a:r>
              <a:rPr lang="en-US" sz="1600" dirty="0">
                <a:solidFill>
                  <a:schemeClr val="bg1"/>
                </a:solidFill>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အသိေပး</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ဝန္ခံျခင္းသည</a:t>
            </a:r>
            <a:r>
              <a:rPr kumimoji="0" lang="en-US"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a:t>
            </a:r>
            <a:r>
              <a:rPr lang="en-US" sz="1600" dirty="0">
                <a:solidFill>
                  <a:schemeClr val="bg1"/>
                </a:solidFill>
                <a:latin typeface="Zawgyi-One" panose="020B0604030504040204" pitchFamily="34" charset="0"/>
                <a:cs typeface="Zawgyi-One" panose="020B0604030504040204" pitchFamily="34" charset="0"/>
              </a:rPr>
              <a:t>။</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dirty="0" err="1">
                <a:solidFill>
                  <a:schemeClr val="bg1"/>
                </a:solidFill>
                <a:latin typeface="Zawgyi-One" panose="020B0604030504040204" pitchFamily="34" charset="0"/>
                <a:cs typeface="Zawgyi-One" panose="020B0604030504040204" pitchFamily="34" charset="0"/>
              </a:rPr>
              <a:t>အသိေပးခြင</a:t>
            </a:r>
            <a:r>
              <a:rPr lang="en-US" sz="1600" dirty="0">
                <a:solidFill>
                  <a:schemeClr val="bg1"/>
                </a:solidFill>
                <a:latin typeface="Zawgyi-One" panose="020B0604030504040204" pitchFamily="34" charset="0"/>
                <a:cs typeface="Zawgyi-One" panose="020B0604030504040204" pitchFamily="34" charset="0"/>
              </a:rPr>
              <a:t>့္ျ</a:t>
            </a:r>
            <a:r>
              <a:rPr lang="en-US" sz="1600" dirty="0" err="1">
                <a:solidFill>
                  <a:schemeClr val="bg1"/>
                </a:solidFill>
                <a:latin typeface="Zawgyi-One" panose="020B0604030504040204" pitchFamily="34" charset="0"/>
                <a:cs typeface="Zawgyi-One" panose="020B0604030504040204" pitchFamily="34" charset="0"/>
              </a:rPr>
              <a:t>ပဳခ်က္သည</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ငယ္ရြယ္လြန္းေသာ</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ကေလးမ်ားအတြက</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အသိေပးခြင</a:t>
            </a:r>
            <a:r>
              <a:rPr lang="en-US" sz="1600" dirty="0">
                <a:solidFill>
                  <a:schemeClr val="bg1"/>
                </a:solidFill>
                <a:latin typeface="Zawgyi-One" panose="020B0604030504040204" pitchFamily="34" charset="0"/>
                <a:cs typeface="Zawgyi-One" panose="020B0604030504040204" pitchFamily="34" charset="0"/>
              </a:rPr>
              <a:t>့္ျ</a:t>
            </a:r>
            <a:r>
              <a:rPr lang="en-US" sz="1600" dirty="0" err="1">
                <a:solidFill>
                  <a:schemeClr val="bg1"/>
                </a:solidFill>
                <a:latin typeface="Zawgyi-One" panose="020B0604030504040204" pitchFamily="34" charset="0"/>
                <a:cs typeface="Zawgyi-One" panose="020B0604030504040204" pitchFamily="34" charset="0"/>
              </a:rPr>
              <a:t>ပဳခ်က္ေပးရန</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အလြန္ငယ္ရြယ္ေသာကေလးမ်ားတြက</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ဝန္ေဆာင္မႈမ်ားတြင</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ပါဝင္ရန</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နားလည္မ</a:t>
            </a:r>
            <a:r>
              <a:rPr lang="en-US" sz="1600" dirty="0">
                <a:solidFill>
                  <a:schemeClr val="bg1"/>
                </a:solidFill>
                <a:latin typeface="Zawgyi-One" panose="020B0604030504040204" pitchFamily="34" charset="0"/>
                <a:cs typeface="Zawgyi-One" panose="020B0604030504040204" pitchFamily="34" charset="0"/>
              </a:rPr>
              <a:t>ႈႏွင့္ </a:t>
            </a:r>
            <a:r>
              <a:rPr lang="en-US" sz="1600" dirty="0" err="1">
                <a:solidFill>
                  <a:schemeClr val="bg1"/>
                </a:solidFill>
                <a:latin typeface="Zawgyi-One" panose="020B0604030504040204" pitchFamily="34" charset="0"/>
                <a:cs typeface="Zawgyi-One" panose="020B0604030504040204" pitchFamily="34" charset="0"/>
              </a:rPr>
              <a:t>လံုေလာက္သည</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အသက္အရြယ္ရွိသူမ်ားတြက</a:t>
            </a:r>
            <a:r>
              <a:rPr lang="en-US" sz="1600" dirty="0">
                <a:solidFill>
                  <a:schemeClr val="bg1"/>
                </a:solidFill>
                <a:latin typeface="Zawgyi-One" panose="020B0604030504040204" pitchFamily="34" charset="0"/>
                <a:cs typeface="Zawgyi-One" panose="020B0604030504040204" pitchFamily="34" charset="0"/>
              </a:rPr>
              <a:t>္ ျ</a:t>
            </a:r>
            <a:r>
              <a:rPr lang="en-US" sz="1600" dirty="0" err="1">
                <a:solidFill>
                  <a:schemeClr val="bg1"/>
                </a:solidFill>
                <a:latin typeface="Zawgyi-One" panose="020B0604030504040204" pitchFamily="34" charset="0"/>
                <a:cs typeface="Zawgyi-One" panose="020B0604030504040204" pitchFamily="34" charset="0"/>
              </a:rPr>
              <a:t>ဖစ္သည</a:t>
            </a:r>
            <a:r>
              <a:rPr lang="en-US" sz="1600" dirty="0">
                <a:solidFill>
                  <a:schemeClr val="bg1"/>
                </a:solidFill>
                <a:latin typeface="Zawgyi-One" panose="020B0604030504040204" pitchFamily="34" charset="0"/>
                <a:cs typeface="Zawgyi-One" panose="020B0604030504040204" pitchFamily="34" charset="0"/>
              </a:rPr>
              <a:t>္။</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6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5591083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2E3AF61-B04A-4338-B187-1A7B292463E4}"/>
              </a:ext>
            </a:extLst>
          </p:cNvPr>
          <p:cNvSpPr>
            <a:spLocks noGrp="1"/>
          </p:cNvSpPr>
          <p:nvPr>
            <p:ph type="title"/>
          </p:nvPr>
        </p:nvSpPr>
        <p:spPr>
          <a:xfrm>
            <a:off x="722435" y="4406900"/>
            <a:ext cx="7772400" cy="1362075"/>
          </a:xfrm>
        </p:spPr>
        <p:txBody>
          <a:bodyPr anchor="t">
            <a:normAutofit/>
          </a:bodyPr>
          <a:lstStyle/>
          <a:p>
            <a:r>
              <a:rPr lang="en-US" dirty="0"/>
              <a:t>Session IV</a:t>
            </a:r>
          </a:p>
        </p:txBody>
      </p:sp>
      <p:sp>
        <p:nvSpPr>
          <p:cNvPr id="11" name="Text Placeholder 2">
            <a:extLst>
              <a:ext uri="{FF2B5EF4-FFF2-40B4-BE49-F238E27FC236}">
                <a16:creationId xmlns:a16="http://schemas.microsoft.com/office/drawing/2014/main" id="{B07D53F8-1AE1-4173-AB45-E90C68D22885}"/>
              </a:ext>
            </a:extLst>
          </p:cNvPr>
          <p:cNvSpPr>
            <a:spLocks noGrp="1"/>
          </p:cNvSpPr>
          <p:nvPr>
            <p:ph type="body" idx="1"/>
          </p:nvPr>
        </p:nvSpPr>
        <p:spPr>
          <a:xfrm>
            <a:off x="722435" y="2906714"/>
            <a:ext cx="7772400" cy="1500187"/>
          </a:xfrm>
        </p:spPr>
        <p:txBody>
          <a:bodyPr/>
          <a:lstStyle/>
          <a:p>
            <a:r>
              <a:rPr lang="en-US" dirty="0"/>
              <a:t>Case Studies</a:t>
            </a:r>
          </a:p>
        </p:txBody>
      </p:sp>
    </p:spTree>
    <p:extLst>
      <p:ext uri="{BB962C8B-B14F-4D97-AF65-F5344CB8AC3E}">
        <p14:creationId xmlns:p14="http://schemas.microsoft.com/office/powerpoint/2010/main" val="23191587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EE4D9-E8A8-4553-90B0-8B22C1942152}"/>
              </a:ext>
            </a:extLst>
          </p:cNvPr>
          <p:cNvSpPr>
            <a:spLocks noGrp="1"/>
          </p:cNvSpPr>
          <p:nvPr>
            <p:ph type="title"/>
          </p:nvPr>
        </p:nvSpPr>
        <p:spPr/>
        <p:txBody>
          <a:bodyPr/>
          <a:lstStyle/>
          <a:p>
            <a:r>
              <a:rPr lang="en-US" dirty="0"/>
              <a:t>Learning and sharing: video clip I</a:t>
            </a:r>
          </a:p>
        </p:txBody>
      </p:sp>
      <p:sp>
        <p:nvSpPr>
          <p:cNvPr id="3" name="Content Placeholder 2">
            <a:extLst>
              <a:ext uri="{FF2B5EF4-FFF2-40B4-BE49-F238E27FC236}">
                <a16:creationId xmlns:a16="http://schemas.microsoft.com/office/drawing/2014/main" id="{1277682D-2B4F-481C-8845-27AD2E605C27}"/>
              </a:ext>
            </a:extLst>
          </p:cNvPr>
          <p:cNvSpPr>
            <a:spLocks noGrp="1"/>
          </p:cNvSpPr>
          <p:nvPr>
            <p:ph idx="1"/>
          </p:nvPr>
        </p:nvSpPr>
        <p:spPr/>
        <p:txBody>
          <a:bodyPr/>
          <a:lstStyle/>
          <a:p>
            <a:endParaRPr lang="en-US"/>
          </a:p>
        </p:txBody>
      </p:sp>
      <p:sp>
        <p:nvSpPr>
          <p:cNvPr id="4" name="Text Placeholder 3">
            <a:extLst>
              <a:ext uri="{FF2B5EF4-FFF2-40B4-BE49-F238E27FC236}">
                <a16:creationId xmlns:a16="http://schemas.microsoft.com/office/drawing/2014/main" id="{25ED00CD-F8E9-4BAA-B4A6-6C8ECEABF8AB}"/>
              </a:ext>
            </a:extLst>
          </p:cNvPr>
          <p:cNvSpPr>
            <a:spLocks noGrp="1"/>
          </p:cNvSpPr>
          <p:nvPr>
            <p:ph type="body" sz="quarter" idx="13"/>
          </p:nvPr>
        </p:nvSpPr>
        <p:spPr/>
        <p:txBody>
          <a:bodyPr/>
          <a:lstStyle/>
          <a:p>
            <a:endParaRPr lang="en-US"/>
          </a:p>
        </p:txBody>
      </p:sp>
      <p:sp>
        <p:nvSpPr>
          <p:cNvPr id="6" name="TextBox 5">
            <a:extLst>
              <a:ext uri="{FF2B5EF4-FFF2-40B4-BE49-F238E27FC236}">
                <a16:creationId xmlns:a16="http://schemas.microsoft.com/office/drawing/2014/main" id="{D71BCC49-2AF0-4764-B105-D2734CDC7EC4}"/>
              </a:ext>
            </a:extLst>
          </p:cNvPr>
          <p:cNvSpPr txBox="1"/>
          <p:nvPr/>
        </p:nvSpPr>
        <p:spPr>
          <a:xfrm>
            <a:off x="762000" y="1752600"/>
            <a:ext cx="7315200" cy="369332"/>
          </a:xfrm>
          <a:prstGeom prst="rect">
            <a:avLst/>
          </a:prstGeom>
          <a:noFill/>
        </p:spPr>
        <p:txBody>
          <a:bodyPr wrap="square">
            <a:spAutoFit/>
          </a:bodyPr>
          <a:lstStyle/>
          <a:p>
            <a:r>
              <a:rPr lang="en-US" dirty="0">
                <a:hlinkClick r:id="rId2"/>
              </a:rPr>
              <a:t>https://www.youtube.com/watch?v=TlRqRlKVa20 – </a:t>
            </a:r>
            <a:endParaRPr lang="en-US" dirty="0"/>
          </a:p>
        </p:txBody>
      </p:sp>
      <p:sp>
        <p:nvSpPr>
          <p:cNvPr id="7" name="object 5">
            <a:extLst>
              <a:ext uri="{FF2B5EF4-FFF2-40B4-BE49-F238E27FC236}">
                <a16:creationId xmlns:a16="http://schemas.microsoft.com/office/drawing/2014/main" id="{EDDA6EBF-DA67-46DD-B219-2C30F8B281A8}"/>
              </a:ext>
            </a:extLst>
          </p:cNvPr>
          <p:cNvSpPr>
            <a:spLocks/>
          </p:cNvSpPr>
          <p:nvPr/>
        </p:nvSpPr>
        <p:spPr bwMode="auto">
          <a:xfrm>
            <a:off x="8426416" y="219984"/>
            <a:ext cx="716056" cy="358487"/>
          </a:xfrm>
          <a:custGeom>
            <a:avLst/>
            <a:gdLst>
              <a:gd name="T0" fmla="*/ 1237233 w 1240164"/>
              <a:gd name="T1" fmla="*/ 0 h 621360"/>
              <a:gd name="T2" fmla="*/ 104347 w 1240164"/>
              <a:gd name="T3" fmla="*/ 249 h 621360"/>
              <a:gd name="T4" fmla="*/ 53331 w 1240164"/>
              <a:gd name="T5" fmla="*/ 3861 h 621360"/>
              <a:gd name="T6" fmla="*/ 15724 w 1240164"/>
              <a:gd name="T7" fmla="*/ 22517 h 621360"/>
              <a:gd name="T8" fmla="*/ 1914 w 1240164"/>
              <a:gd name="T9" fmla="*/ 67866 h 621360"/>
              <a:gd name="T10" fmla="*/ 0 w 1240164"/>
              <a:gd name="T11" fmla="*/ 126527 h 621360"/>
              <a:gd name="T12" fmla="*/ 2 w 1240164"/>
              <a:gd name="T13" fmla="*/ 489730 h 621360"/>
              <a:gd name="T14" fmla="*/ 813 w 1240164"/>
              <a:gd name="T15" fmla="*/ 531331 h 621360"/>
              <a:gd name="T16" fmla="*/ 6688 w 1240164"/>
              <a:gd name="T17" fmla="*/ 574775 h 621360"/>
              <a:gd name="T18" fmla="*/ 31080 w 1240164"/>
              <a:gd name="T19" fmla="*/ 605099 h 621360"/>
              <a:gd name="T20" fmla="*/ 68315 w 1240164"/>
              <a:gd name="T21" fmla="*/ 613627 h 621360"/>
              <a:gd name="T22" fmla="*/ 1237233 w 1240164"/>
              <a:gd name="T23" fmla="*/ 615561 h 621360"/>
              <a:gd name="T24" fmla="*/ 1237233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 name="object 6">
            <a:extLst>
              <a:ext uri="{FF2B5EF4-FFF2-40B4-BE49-F238E27FC236}">
                <a16:creationId xmlns:a16="http://schemas.microsoft.com/office/drawing/2014/main" id="{83C89CAA-9DBE-49B6-9A1F-69F8B1A6AF96}"/>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a:ea typeface="Gill Sans"/>
                <a:cs typeface="Gill Sans"/>
              </a:rPr>
              <a:t>1</a:t>
            </a:r>
            <a:endParaRPr lang="en-US" altLang="en-US" sz="2021" dirty="0">
              <a:latin typeface="Gill Sans"/>
              <a:ea typeface="Gill Sans"/>
              <a:cs typeface="Gill Sans"/>
            </a:endParaRPr>
          </a:p>
        </p:txBody>
      </p:sp>
    </p:spTree>
    <p:extLst>
      <p:ext uri="{BB962C8B-B14F-4D97-AF65-F5344CB8AC3E}">
        <p14:creationId xmlns:p14="http://schemas.microsoft.com/office/powerpoint/2010/main" val="25913829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C33A07-7F34-4A9A-B0E1-ADAE0D10EAE0}"/>
              </a:ext>
            </a:extLst>
          </p:cNvPr>
          <p:cNvSpPr>
            <a:spLocks noGrp="1"/>
          </p:cNvSpPr>
          <p:nvPr>
            <p:ph type="title"/>
          </p:nvPr>
        </p:nvSpPr>
        <p:spPr/>
        <p:txBody>
          <a:bodyPr/>
          <a:lstStyle/>
          <a:p>
            <a:r>
              <a:rPr lang="en-US" dirty="0"/>
              <a:t>Case study</a:t>
            </a:r>
          </a:p>
        </p:txBody>
      </p:sp>
      <p:sp>
        <p:nvSpPr>
          <p:cNvPr id="3" name="Content Placeholder 2">
            <a:extLst>
              <a:ext uri="{FF2B5EF4-FFF2-40B4-BE49-F238E27FC236}">
                <a16:creationId xmlns:a16="http://schemas.microsoft.com/office/drawing/2014/main" id="{C16C4D8F-3D31-4D50-B8A2-BAB656042CA8}"/>
              </a:ext>
            </a:extLst>
          </p:cNvPr>
          <p:cNvSpPr>
            <a:spLocks noGrp="1"/>
          </p:cNvSpPr>
          <p:nvPr>
            <p:ph idx="1"/>
          </p:nvPr>
        </p:nvSpPr>
        <p:spPr/>
        <p:txBody>
          <a:bodyPr/>
          <a:lstStyle/>
          <a:p>
            <a:pPr>
              <a:lnSpc>
                <a:spcPct val="150000"/>
              </a:lnSpc>
            </a:pPr>
            <a:r>
              <a:rPr lang="my-MM" b="0" i="0" dirty="0">
                <a:effectLst/>
                <a:latin typeface="Pyidaungsu" panose="020B0502040204020203" pitchFamily="34" charset="0"/>
              </a:rPr>
              <a:t>မိပုံ့သည် အသက် (၇) နှစ်အရွယ်ရှိပြီဖြစ်သော်လည်း ကျောင်းမနေရပါ။ ဖခင်ဆုံးပါးသွားပြီးသည့် နောက်ပိုင်း မိခင်ဖြစ်သူမှ ရပ်ကွက်အတွင်း ကျပမ်းအလုပ် လုပ်ကိုင်ခြင်းဖြင့် နာတာရှည်ဖြစ်နေသော မိခင်နှင့် မိပုံ့အား ကျွေးမွေးစောင့်ရှောက်နေရပါသည်။ အလုပ်အဆင်မပြေသောနေ့များတွင် မိပုံ့အား အကြောင်းရှား ရိုက်နှက်တတ် ပါသည်။ မိပုံ့မှာ မိခင်ဖြစ်သူကို အားကိုးသလို အလွန်ချစ်ပါသည်။ အလုပ်အဆင်ပြေသော နေ့များတွင် မိခင်ဖြစ်သူ မှာ မိပုံ့အား ကောင်းမွန်စွာ ဆက်ဆံတတ်ပါသည်။ ဝမ်းစားအတွက် ရုန်းကန်နေရသည့် မိခင်ဖြစ်သည့် အတွက် မိပုံ့အားလည်း ချက်ပြုတ်ကျွေးမွေးယုံမအပ အခြားသော ပြုစုဂရုစိုက်မှုများ မပေးနိုင်ပါ။ တနေ့ မိပုံ့ နီကြောင်ပြီး ဖရိုဖရဲဖြစ်နေသော ဆံပင်၊ ညစ်နွမ်းနေသော အင်္ကျီ ညှိုမဲဆွဲနေသော ဒဏ်ရာများဖြင့် တစ်ယောက်တည်း ငိုကြွေးနေပါသည်။</a:t>
            </a:r>
            <a:endParaRPr lang="en-US" b="0" dirty="0">
              <a:latin typeface="Pyidaungsu" panose="020B0502040204020203" pitchFamily="34" charset="0"/>
            </a:endParaRPr>
          </a:p>
        </p:txBody>
      </p:sp>
      <p:sp>
        <p:nvSpPr>
          <p:cNvPr id="4" name="Text Placeholder 3">
            <a:extLst>
              <a:ext uri="{FF2B5EF4-FFF2-40B4-BE49-F238E27FC236}">
                <a16:creationId xmlns:a16="http://schemas.microsoft.com/office/drawing/2014/main" id="{FF0D1334-02A0-4A9B-9A02-6065966C38F3}"/>
              </a:ext>
            </a:extLst>
          </p:cNvPr>
          <p:cNvSpPr>
            <a:spLocks noGrp="1"/>
          </p:cNvSpPr>
          <p:nvPr>
            <p:ph type="body" sz="quarter" idx="13"/>
          </p:nvPr>
        </p:nvSpPr>
        <p:spPr/>
        <p:txBody>
          <a:bodyPr/>
          <a:lstStyle/>
          <a:p>
            <a:endParaRPr lang="en-US"/>
          </a:p>
        </p:txBody>
      </p:sp>
      <p:sp>
        <p:nvSpPr>
          <p:cNvPr id="5" name="object 5">
            <a:extLst>
              <a:ext uri="{FF2B5EF4-FFF2-40B4-BE49-F238E27FC236}">
                <a16:creationId xmlns:a16="http://schemas.microsoft.com/office/drawing/2014/main" id="{C7D0CFDB-0B35-47C5-A214-3E1489A0CB2D}"/>
              </a:ext>
            </a:extLst>
          </p:cNvPr>
          <p:cNvSpPr>
            <a:spLocks/>
          </p:cNvSpPr>
          <p:nvPr/>
        </p:nvSpPr>
        <p:spPr bwMode="auto">
          <a:xfrm>
            <a:off x="8426416" y="219984"/>
            <a:ext cx="716056" cy="358487"/>
          </a:xfrm>
          <a:custGeom>
            <a:avLst/>
            <a:gdLst>
              <a:gd name="T0" fmla="*/ 1237233 w 1240164"/>
              <a:gd name="T1" fmla="*/ 0 h 621360"/>
              <a:gd name="T2" fmla="*/ 104347 w 1240164"/>
              <a:gd name="T3" fmla="*/ 249 h 621360"/>
              <a:gd name="T4" fmla="*/ 53331 w 1240164"/>
              <a:gd name="T5" fmla="*/ 3861 h 621360"/>
              <a:gd name="T6" fmla="*/ 15724 w 1240164"/>
              <a:gd name="T7" fmla="*/ 22517 h 621360"/>
              <a:gd name="T8" fmla="*/ 1914 w 1240164"/>
              <a:gd name="T9" fmla="*/ 67866 h 621360"/>
              <a:gd name="T10" fmla="*/ 0 w 1240164"/>
              <a:gd name="T11" fmla="*/ 126527 h 621360"/>
              <a:gd name="T12" fmla="*/ 2 w 1240164"/>
              <a:gd name="T13" fmla="*/ 489730 h 621360"/>
              <a:gd name="T14" fmla="*/ 813 w 1240164"/>
              <a:gd name="T15" fmla="*/ 531331 h 621360"/>
              <a:gd name="T16" fmla="*/ 6688 w 1240164"/>
              <a:gd name="T17" fmla="*/ 574775 h 621360"/>
              <a:gd name="T18" fmla="*/ 31080 w 1240164"/>
              <a:gd name="T19" fmla="*/ 605099 h 621360"/>
              <a:gd name="T20" fmla="*/ 68315 w 1240164"/>
              <a:gd name="T21" fmla="*/ 613627 h 621360"/>
              <a:gd name="T22" fmla="*/ 1237233 w 1240164"/>
              <a:gd name="T23" fmla="*/ 615561 h 621360"/>
              <a:gd name="T24" fmla="*/ 1237233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 name="object 6">
            <a:extLst>
              <a:ext uri="{FF2B5EF4-FFF2-40B4-BE49-F238E27FC236}">
                <a16:creationId xmlns:a16="http://schemas.microsoft.com/office/drawing/2014/main" id="{894FE026-1B7D-4E9C-A52E-3E511A745943}"/>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a:ea typeface="Gill Sans"/>
                <a:cs typeface="Gill Sans"/>
              </a:rPr>
              <a:t>2</a:t>
            </a:r>
            <a:endParaRPr lang="en-US" altLang="en-US" sz="2021" dirty="0">
              <a:latin typeface="Gill Sans"/>
              <a:ea typeface="Gill Sans"/>
              <a:cs typeface="Gill Sans"/>
            </a:endParaRPr>
          </a:p>
        </p:txBody>
      </p:sp>
    </p:spTree>
    <p:extLst>
      <p:ext uri="{BB962C8B-B14F-4D97-AF65-F5344CB8AC3E}">
        <p14:creationId xmlns:p14="http://schemas.microsoft.com/office/powerpoint/2010/main" val="262278992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AEE4D9-E8A8-4553-90B0-8B22C1942152}"/>
              </a:ext>
            </a:extLst>
          </p:cNvPr>
          <p:cNvSpPr>
            <a:spLocks noGrp="1"/>
          </p:cNvSpPr>
          <p:nvPr>
            <p:ph type="title"/>
          </p:nvPr>
        </p:nvSpPr>
        <p:spPr/>
        <p:txBody>
          <a:bodyPr/>
          <a:lstStyle/>
          <a:p>
            <a:r>
              <a:rPr lang="en-US" dirty="0"/>
              <a:t>Learning and sharing: video clips</a:t>
            </a:r>
          </a:p>
        </p:txBody>
      </p:sp>
      <p:sp>
        <p:nvSpPr>
          <p:cNvPr id="3" name="Content Placeholder 2">
            <a:extLst>
              <a:ext uri="{FF2B5EF4-FFF2-40B4-BE49-F238E27FC236}">
                <a16:creationId xmlns:a16="http://schemas.microsoft.com/office/drawing/2014/main" id="{1277682D-2B4F-481C-8845-27AD2E605C27}"/>
              </a:ext>
            </a:extLst>
          </p:cNvPr>
          <p:cNvSpPr>
            <a:spLocks noGrp="1"/>
          </p:cNvSpPr>
          <p:nvPr>
            <p:ph idx="1"/>
          </p:nvPr>
        </p:nvSpPr>
        <p:spPr/>
        <p:txBody>
          <a:bodyPr/>
          <a:lstStyle/>
          <a:p>
            <a:endParaRPr lang="en-US" dirty="0"/>
          </a:p>
          <a:p>
            <a:r>
              <a:rPr lang="en-US" dirty="0">
                <a:hlinkClick r:id="rId2"/>
              </a:rPr>
              <a:t>https://www.youtube.com/watch?v=qogYi6bN6Gg</a:t>
            </a:r>
            <a:endParaRPr lang="en-US" dirty="0"/>
          </a:p>
        </p:txBody>
      </p:sp>
      <p:sp>
        <p:nvSpPr>
          <p:cNvPr id="4" name="Text Placeholder 3">
            <a:extLst>
              <a:ext uri="{FF2B5EF4-FFF2-40B4-BE49-F238E27FC236}">
                <a16:creationId xmlns:a16="http://schemas.microsoft.com/office/drawing/2014/main" id="{25ED00CD-F8E9-4BAA-B4A6-6C8ECEABF8AB}"/>
              </a:ext>
            </a:extLst>
          </p:cNvPr>
          <p:cNvSpPr>
            <a:spLocks noGrp="1"/>
          </p:cNvSpPr>
          <p:nvPr>
            <p:ph type="body" sz="quarter" idx="13"/>
          </p:nvPr>
        </p:nvSpPr>
        <p:spPr/>
        <p:txBody>
          <a:bodyPr/>
          <a:lstStyle/>
          <a:p>
            <a:endParaRPr lang="en-US"/>
          </a:p>
        </p:txBody>
      </p:sp>
      <p:sp>
        <p:nvSpPr>
          <p:cNvPr id="5" name="object 5">
            <a:extLst>
              <a:ext uri="{FF2B5EF4-FFF2-40B4-BE49-F238E27FC236}">
                <a16:creationId xmlns:a16="http://schemas.microsoft.com/office/drawing/2014/main" id="{B2380740-7D18-4559-BFCC-3355053402EB}"/>
              </a:ext>
            </a:extLst>
          </p:cNvPr>
          <p:cNvSpPr>
            <a:spLocks/>
          </p:cNvSpPr>
          <p:nvPr/>
        </p:nvSpPr>
        <p:spPr bwMode="auto">
          <a:xfrm>
            <a:off x="8426416" y="219984"/>
            <a:ext cx="716056" cy="358487"/>
          </a:xfrm>
          <a:custGeom>
            <a:avLst/>
            <a:gdLst>
              <a:gd name="T0" fmla="*/ 1237233 w 1240164"/>
              <a:gd name="T1" fmla="*/ 0 h 621360"/>
              <a:gd name="T2" fmla="*/ 104347 w 1240164"/>
              <a:gd name="T3" fmla="*/ 249 h 621360"/>
              <a:gd name="T4" fmla="*/ 53331 w 1240164"/>
              <a:gd name="T5" fmla="*/ 3861 h 621360"/>
              <a:gd name="T6" fmla="*/ 15724 w 1240164"/>
              <a:gd name="T7" fmla="*/ 22517 h 621360"/>
              <a:gd name="T8" fmla="*/ 1914 w 1240164"/>
              <a:gd name="T9" fmla="*/ 67866 h 621360"/>
              <a:gd name="T10" fmla="*/ 0 w 1240164"/>
              <a:gd name="T11" fmla="*/ 126527 h 621360"/>
              <a:gd name="T12" fmla="*/ 2 w 1240164"/>
              <a:gd name="T13" fmla="*/ 489730 h 621360"/>
              <a:gd name="T14" fmla="*/ 813 w 1240164"/>
              <a:gd name="T15" fmla="*/ 531331 h 621360"/>
              <a:gd name="T16" fmla="*/ 6688 w 1240164"/>
              <a:gd name="T17" fmla="*/ 574775 h 621360"/>
              <a:gd name="T18" fmla="*/ 31080 w 1240164"/>
              <a:gd name="T19" fmla="*/ 605099 h 621360"/>
              <a:gd name="T20" fmla="*/ 68315 w 1240164"/>
              <a:gd name="T21" fmla="*/ 613627 h 621360"/>
              <a:gd name="T22" fmla="*/ 1237233 w 1240164"/>
              <a:gd name="T23" fmla="*/ 615561 h 621360"/>
              <a:gd name="T24" fmla="*/ 1237233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6" name="object 6">
            <a:extLst>
              <a:ext uri="{FF2B5EF4-FFF2-40B4-BE49-F238E27FC236}">
                <a16:creationId xmlns:a16="http://schemas.microsoft.com/office/drawing/2014/main" id="{86B29ADA-BE07-443C-A589-3881D6A3BE21}"/>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a:ea typeface="Gill Sans"/>
                <a:cs typeface="Gill Sans"/>
              </a:rPr>
              <a:t>3</a:t>
            </a:r>
            <a:endParaRPr lang="en-US" altLang="en-US" sz="2021" dirty="0">
              <a:latin typeface="Gill Sans"/>
              <a:ea typeface="Gill Sans"/>
              <a:cs typeface="Gill Sans"/>
            </a:endParaRPr>
          </a:p>
        </p:txBody>
      </p:sp>
    </p:spTree>
    <p:extLst>
      <p:ext uri="{BB962C8B-B14F-4D97-AF65-F5344CB8AC3E}">
        <p14:creationId xmlns:p14="http://schemas.microsoft.com/office/powerpoint/2010/main" val="18022392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41023" y="-934769"/>
            <a:ext cx="2424873" cy="2708393"/>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73756" y="-134088"/>
            <a:ext cx="1635955" cy="1226966"/>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713565" y="311926"/>
            <a:ext cx="4059393" cy="1911083"/>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7548980" y="1613994"/>
            <a:ext cx="1185708" cy="889281"/>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27781" y="5494508"/>
            <a:ext cx="2444907" cy="1774587"/>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211282" y="5555951"/>
            <a:ext cx="928467" cy="696350"/>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outerShdw blurRad="38100" dist="38100" dir="2700000" algn="tl">
                  <a:srgbClr val="000000">
                    <a:alpha val="43137"/>
                  </a:srgbClr>
                </a:outerShdw>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877311" y="1407983"/>
            <a:ext cx="5389379" cy="4042034"/>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176283" y="882212"/>
            <a:ext cx="6791435" cy="5093576"/>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DCFB18E9-14A2-4328-A529-CAF2DC9EB19C}"/>
              </a:ext>
            </a:extLst>
          </p:cNvPr>
          <p:cNvSpPr>
            <a:spLocks noGrp="1"/>
          </p:cNvSpPr>
          <p:nvPr>
            <p:ph type="body" idx="1"/>
          </p:nvPr>
        </p:nvSpPr>
        <p:spPr>
          <a:xfrm>
            <a:off x="3329724" y="4518923"/>
            <a:ext cx="2484551" cy="1141851"/>
          </a:xfrm>
          <a:noFill/>
        </p:spPr>
        <p:txBody>
          <a:bodyPr vert="horz" lIns="91440" tIns="45720" rIns="91440" bIns="45720" rtlCol="0">
            <a:normAutofit/>
          </a:bodyPr>
          <a:lstStyle/>
          <a:p>
            <a:pPr algn="ctr" defTabSz="914400" eaLnBrk="1" hangingPunct="1">
              <a:spcBef>
                <a:spcPts val="1000"/>
              </a:spcBef>
            </a:pPr>
            <a:endParaRPr lang="en-US" sz="1700" kern="1200">
              <a:solidFill>
                <a:srgbClr val="080808"/>
              </a:solidFill>
              <a:latin typeface="+mn-lt"/>
              <a:ea typeface="+mn-ea"/>
              <a:cs typeface="+mn-cs"/>
            </a:endParaRPr>
          </a:p>
        </p:txBody>
      </p:sp>
      <p:sp>
        <p:nvSpPr>
          <p:cNvPr id="4" name="Title 3">
            <a:extLst>
              <a:ext uri="{FF2B5EF4-FFF2-40B4-BE49-F238E27FC236}">
                <a16:creationId xmlns:a16="http://schemas.microsoft.com/office/drawing/2014/main" id="{905FFA94-4EA3-45B8-A3C9-ABC95CCA5040}"/>
              </a:ext>
            </a:extLst>
          </p:cNvPr>
          <p:cNvSpPr>
            <a:spLocks noGrp="1"/>
          </p:cNvSpPr>
          <p:nvPr>
            <p:ph type="title"/>
          </p:nvPr>
        </p:nvSpPr>
        <p:spPr>
          <a:xfrm>
            <a:off x="2403481" y="2353641"/>
            <a:ext cx="4337037" cy="2150719"/>
          </a:xfrm>
          <a:noFill/>
        </p:spPr>
        <p:txBody>
          <a:bodyPr vert="horz" lIns="91440" tIns="45720" rIns="91440" bIns="45720" rtlCol="0" anchor="ctr">
            <a:normAutofit/>
          </a:bodyPr>
          <a:lstStyle/>
          <a:p>
            <a:pPr algn="ctr" defTabSz="914400" eaLnBrk="1" hangingPunct="1"/>
            <a:r>
              <a:rPr lang="en-US" sz="4400" kern="1200" dirty="0">
                <a:solidFill>
                  <a:srgbClr val="080808"/>
                </a:solidFill>
                <a:latin typeface="+mj-lt"/>
                <a:ea typeface="+mj-ea"/>
                <a:cs typeface="+mj-cs"/>
              </a:rPr>
              <a:t>Selfcare</a:t>
            </a:r>
          </a:p>
        </p:txBody>
      </p:sp>
      <p:sp>
        <p:nvSpPr>
          <p:cNvPr id="31" name="Freeform: Shape 30">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943393" y="5778692"/>
            <a:ext cx="2231794" cy="1926608"/>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7170046" y="5363543"/>
            <a:ext cx="959985" cy="719989"/>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8251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3EABFA3A-4396-49C6-8105-503015DB567D}"/>
              </a:ext>
            </a:extLst>
          </p:cNvPr>
          <p:cNvSpPr/>
          <p:nvPr/>
        </p:nvSpPr>
        <p:spPr>
          <a:xfrm>
            <a:off x="3526091" y="1440450"/>
            <a:ext cx="5125485" cy="5125485"/>
          </a:xfrm>
          <a:custGeom>
            <a:avLst/>
            <a:gdLst>
              <a:gd name="connsiteX0" fmla="*/ 0 w 5125485"/>
              <a:gd name="connsiteY0" fmla="*/ 2562743 h 5125485"/>
              <a:gd name="connsiteX1" fmla="*/ 2562743 w 5125485"/>
              <a:gd name="connsiteY1" fmla="*/ 0 h 5125485"/>
              <a:gd name="connsiteX2" fmla="*/ 5125486 w 5125485"/>
              <a:gd name="connsiteY2" fmla="*/ 2562743 h 5125485"/>
              <a:gd name="connsiteX3" fmla="*/ 2562743 w 5125485"/>
              <a:gd name="connsiteY3" fmla="*/ 5125486 h 5125485"/>
              <a:gd name="connsiteX4" fmla="*/ 0 w 5125485"/>
              <a:gd name="connsiteY4" fmla="*/ 2562743 h 512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5485" h="5125485">
                <a:moveTo>
                  <a:pt x="0" y="2562743"/>
                </a:moveTo>
                <a:cubicBezTo>
                  <a:pt x="0" y="1147379"/>
                  <a:pt x="1147379" y="0"/>
                  <a:pt x="2562743" y="0"/>
                </a:cubicBezTo>
                <a:cubicBezTo>
                  <a:pt x="3978107" y="0"/>
                  <a:pt x="5125486" y="1147379"/>
                  <a:pt x="5125486" y="2562743"/>
                </a:cubicBezTo>
                <a:cubicBezTo>
                  <a:pt x="5125486" y="3978107"/>
                  <a:pt x="3978107" y="5125486"/>
                  <a:pt x="2562743" y="5125486"/>
                </a:cubicBezTo>
                <a:cubicBezTo>
                  <a:pt x="1147379" y="5125486"/>
                  <a:pt x="0" y="3978107"/>
                  <a:pt x="0" y="2562743"/>
                </a:cubicBezTo>
                <a:close/>
              </a:path>
            </a:pathLst>
          </a:cu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1945768" tIns="355842" rIns="1945768" bIns="4199957" numCol="1" spcCol="1270" anchor="ctr" anchorCtr="0">
            <a:noAutofit/>
          </a:bodyPr>
          <a:lstStyle/>
          <a:p>
            <a:pPr marL="0" lvl="0" indent="0" algn="ctr" defTabSz="622300">
              <a:lnSpc>
                <a:spcPct val="90000"/>
              </a:lnSpc>
              <a:spcBef>
                <a:spcPct val="0"/>
              </a:spcBef>
              <a:spcAft>
                <a:spcPct val="35000"/>
              </a:spcAft>
              <a:buNone/>
            </a:pPr>
            <a:endParaRPr lang="en-US" sz="1400" b="1" kern="1200" noProof="0" dirty="0"/>
          </a:p>
        </p:txBody>
      </p:sp>
      <p:sp>
        <p:nvSpPr>
          <p:cNvPr id="10" name="Freeform: Shape 9">
            <a:extLst>
              <a:ext uri="{FF2B5EF4-FFF2-40B4-BE49-F238E27FC236}">
                <a16:creationId xmlns:a16="http://schemas.microsoft.com/office/drawing/2014/main" id="{5F4D8548-E8FF-4B03-B06E-4D22F7DD513B}"/>
              </a:ext>
            </a:extLst>
          </p:cNvPr>
          <p:cNvSpPr/>
          <p:nvPr/>
        </p:nvSpPr>
        <p:spPr>
          <a:xfrm>
            <a:off x="4038639" y="2465546"/>
            <a:ext cx="4100388" cy="4100388"/>
          </a:xfrm>
          <a:custGeom>
            <a:avLst/>
            <a:gdLst>
              <a:gd name="connsiteX0" fmla="*/ 0 w 4100388"/>
              <a:gd name="connsiteY0" fmla="*/ 2050194 h 4100388"/>
              <a:gd name="connsiteX1" fmla="*/ 2050194 w 4100388"/>
              <a:gd name="connsiteY1" fmla="*/ 0 h 4100388"/>
              <a:gd name="connsiteX2" fmla="*/ 4100388 w 4100388"/>
              <a:gd name="connsiteY2" fmla="*/ 2050194 h 4100388"/>
              <a:gd name="connsiteX3" fmla="*/ 2050194 w 4100388"/>
              <a:gd name="connsiteY3" fmla="*/ 4100388 h 4100388"/>
              <a:gd name="connsiteX4" fmla="*/ 0 w 4100388"/>
              <a:gd name="connsiteY4" fmla="*/ 2050194 h 4100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388" h="4100388">
                <a:moveTo>
                  <a:pt x="0" y="2050194"/>
                </a:moveTo>
                <a:cubicBezTo>
                  <a:pt x="0" y="917903"/>
                  <a:pt x="917903" y="0"/>
                  <a:pt x="2050194" y="0"/>
                </a:cubicBezTo>
                <a:cubicBezTo>
                  <a:pt x="3182485" y="0"/>
                  <a:pt x="4100388" y="917903"/>
                  <a:pt x="4100388" y="2050194"/>
                </a:cubicBezTo>
                <a:cubicBezTo>
                  <a:pt x="4100388" y="3182485"/>
                  <a:pt x="3182485" y="4100388"/>
                  <a:pt x="2050194" y="4100388"/>
                </a:cubicBezTo>
                <a:cubicBezTo>
                  <a:pt x="917903" y="4100388"/>
                  <a:pt x="0" y="3182485"/>
                  <a:pt x="0" y="2050194"/>
                </a:cubicBez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440332" tIns="352704" rIns="1440331" bIns="3222975" numCol="1" spcCol="1270" anchor="ctr" anchorCtr="0">
            <a:noAutofit/>
          </a:bodyPr>
          <a:lstStyle/>
          <a:p>
            <a:pPr marL="0" lvl="0" indent="0" algn="ctr" defTabSz="666750">
              <a:lnSpc>
                <a:spcPct val="90000"/>
              </a:lnSpc>
              <a:spcBef>
                <a:spcPct val="0"/>
              </a:spcBef>
              <a:spcAft>
                <a:spcPct val="35000"/>
              </a:spcAft>
              <a:buNone/>
            </a:pPr>
            <a:endParaRPr lang="en-US" sz="1500" b="1" kern="1200" noProof="0" dirty="0">
              <a:solidFill>
                <a:schemeClr val="tx1"/>
              </a:solidFill>
            </a:endParaRPr>
          </a:p>
        </p:txBody>
      </p:sp>
      <p:sp>
        <p:nvSpPr>
          <p:cNvPr id="11" name="Freeform: Shape 10">
            <a:extLst>
              <a:ext uri="{FF2B5EF4-FFF2-40B4-BE49-F238E27FC236}">
                <a16:creationId xmlns:a16="http://schemas.microsoft.com/office/drawing/2014/main" id="{3DD71845-9181-4AAE-8703-E9F3547C4833}"/>
              </a:ext>
            </a:extLst>
          </p:cNvPr>
          <p:cNvSpPr/>
          <p:nvPr/>
        </p:nvSpPr>
        <p:spPr>
          <a:xfrm>
            <a:off x="4551188" y="3490643"/>
            <a:ext cx="3075291" cy="3075291"/>
          </a:xfrm>
          <a:custGeom>
            <a:avLst/>
            <a:gdLst>
              <a:gd name="connsiteX0" fmla="*/ 0 w 3075291"/>
              <a:gd name="connsiteY0" fmla="*/ 1537646 h 3075291"/>
              <a:gd name="connsiteX1" fmla="*/ 1537646 w 3075291"/>
              <a:gd name="connsiteY1" fmla="*/ 0 h 3075291"/>
              <a:gd name="connsiteX2" fmla="*/ 3075292 w 3075291"/>
              <a:gd name="connsiteY2" fmla="*/ 1537646 h 3075291"/>
              <a:gd name="connsiteX3" fmla="*/ 1537646 w 3075291"/>
              <a:gd name="connsiteY3" fmla="*/ 3075292 h 3075291"/>
              <a:gd name="connsiteX4" fmla="*/ 0 w 3075291"/>
              <a:gd name="connsiteY4" fmla="*/ 1537646 h 3075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291" h="3075291">
                <a:moveTo>
                  <a:pt x="0" y="1537646"/>
                </a:moveTo>
                <a:cubicBezTo>
                  <a:pt x="0" y="688428"/>
                  <a:pt x="688428" y="0"/>
                  <a:pt x="1537646" y="0"/>
                </a:cubicBezTo>
                <a:cubicBezTo>
                  <a:pt x="2386864" y="0"/>
                  <a:pt x="3075292" y="688428"/>
                  <a:pt x="3075292" y="1537646"/>
                </a:cubicBezTo>
                <a:cubicBezTo>
                  <a:pt x="3075292" y="2386864"/>
                  <a:pt x="2386864" y="3075292"/>
                  <a:pt x="1537646" y="3075292"/>
                </a:cubicBezTo>
                <a:cubicBezTo>
                  <a:pt x="688428" y="3075292"/>
                  <a:pt x="0" y="2386864"/>
                  <a:pt x="0" y="1537646"/>
                </a:cubicBezTo>
                <a:close/>
              </a:path>
            </a:pathLst>
          </a:cu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920671" tIns="330215" rIns="920671" bIns="2252272" numCol="1" spcCol="1270" anchor="ctr" anchorCtr="0">
            <a:noAutofit/>
          </a:bodyPr>
          <a:lstStyle/>
          <a:p>
            <a:pPr marL="0" lvl="0" indent="0" algn="ctr" defTabSz="622300">
              <a:lnSpc>
                <a:spcPct val="90000"/>
              </a:lnSpc>
              <a:spcBef>
                <a:spcPct val="0"/>
              </a:spcBef>
              <a:spcAft>
                <a:spcPct val="35000"/>
              </a:spcAft>
              <a:buNone/>
            </a:pPr>
            <a:r>
              <a:rPr lang="en-US" sz="1400" b="1" kern="1200" noProof="0" dirty="0" err="1"/>
              <a:t>မိသားစုဝင</a:t>
            </a:r>
            <a:r>
              <a:rPr lang="en-US" sz="1400" b="1" kern="1200" noProof="0" dirty="0"/>
              <a:t>်၊ </a:t>
            </a:r>
            <a:r>
              <a:rPr lang="en-US" sz="1400" b="1" kern="1200" noProof="0" dirty="0" err="1"/>
              <a:t>ပြုစုစောင</a:t>
            </a:r>
            <a:r>
              <a:rPr lang="en-US" sz="1400" b="1" kern="1200" noProof="0" dirty="0"/>
              <a:t>့်</a:t>
            </a:r>
            <a:r>
              <a:rPr lang="en-US" sz="1400" b="1" kern="1200" noProof="0" dirty="0" err="1"/>
              <a:t>ရှောက်သူနှင</a:t>
            </a:r>
            <a:r>
              <a:rPr lang="en-US" sz="1400" b="1" kern="1200" noProof="0" dirty="0"/>
              <a:t>့် </a:t>
            </a:r>
            <a:r>
              <a:rPr lang="en-US" sz="1400" b="1" kern="1200" noProof="0" dirty="0" err="1"/>
              <a:t>မောင်နှမများ</a:t>
            </a:r>
            <a:endParaRPr lang="en-US" sz="1400" b="1" kern="1200" noProof="0" dirty="0"/>
          </a:p>
        </p:txBody>
      </p:sp>
      <p:sp>
        <p:nvSpPr>
          <p:cNvPr id="12" name="Freeform: Shape 11">
            <a:extLst>
              <a:ext uri="{FF2B5EF4-FFF2-40B4-BE49-F238E27FC236}">
                <a16:creationId xmlns:a16="http://schemas.microsoft.com/office/drawing/2014/main" id="{8191AE3F-7715-440B-8B3F-E173B9946B5D}"/>
              </a:ext>
            </a:extLst>
          </p:cNvPr>
          <p:cNvSpPr/>
          <p:nvPr/>
        </p:nvSpPr>
        <p:spPr>
          <a:xfrm>
            <a:off x="5063736" y="4515740"/>
            <a:ext cx="2050194" cy="2050194"/>
          </a:xfrm>
          <a:custGeom>
            <a:avLst/>
            <a:gdLst>
              <a:gd name="connsiteX0" fmla="*/ 0 w 2050194"/>
              <a:gd name="connsiteY0" fmla="*/ 1025097 h 2050194"/>
              <a:gd name="connsiteX1" fmla="*/ 1025097 w 2050194"/>
              <a:gd name="connsiteY1" fmla="*/ 0 h 2050194"/>
              <a:gd name="connsiteX2" fmla="*/ 2050194 w 2050194"/>
              <a:gd name="connsiteY2" fmla="*/ 1025097 h 2050194"/>
              <a:gd name="connsiteX3" fmla="*/ 1025097 w 2050194"/>
              <a:gd name="connsiteY3" fmla="*/ 2050194 h 2050194"/>
              <a:gd name="connsiteX4" fmla="*/ 0 w 2050194"/>
              <a:gd name="connsiteY4" fmla="*/ 1025097 h 2050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0194" h="2050194">
                <a:moveTo>
                  <a:pt x="0" y="1025097"/>
                </a:moveTo>
                <a:cubicBezTo>
                  <a:pt x="0" y="458952"/>
                  <a:pt x="458952" y="0"/>
                  <a:pt x="1025097" y="0"/>
                </a:cubicBezTo>
                <a:cubicBezTo>
                  <a:pt x="1591242" y="0"/>
                  <a:pt x="2050194" y="458952"/>
                  <a:pt x="2050194" y="1025097"/>
                </a:cubicBezTo>
                <a:cubicBezTo>
                  <a:pt x="2050194" y="1591242"/>
                  <a:pt x="1591242" y="2050194"/>
                  <a:pt x="1025097" y="2050194"/>
                </a:cubicBezTo>
                <a:cubicBezTo>
                  <a:pt x="458952" y="2050194"/>
                  <a:pt x="0" y="1591242"/>
                  <a:pt x="0" y="1025097"/>
                </a:cubicBezTo>
                <a:close/>
              </a:path>
            </a:pathLst>
          </a:cu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406924" tIns="619229" rIns="406924" bIns="619228" numCol="1" spcCol="1270" anchor="ctr" anchorCtr="0">
            <a:noAutofit/>
          </a:bodyPr>
          <a:lstStyle/>
          <a:p>
            <a:pPr marL="0" lvl="0" indent="0" algn="ctr" defTabSz="666750">
              <a:lnSpc>
                <a:spcPct val="90000"/>
              </a:lnSpc>
              <a:spcBef>
                <a:spcPct val="0"/>
              </a:spcBef>
              <a:spcAft>
                <a:spcPct val="35000"/>
              </a:spcAft>
              <a:buNone/>
            </a:pPr>
            <a:r>
              <a:rPr lang="da-DK" sz="1500" b="1" kern="1200" dirty="0"/>
              <a:t>ကလေး</a:t>
            </a:r>
          </a:p>
        </p:txBody>
      </p:sp>
      <p:sp>
        <p:nvSpPr>
          <p:cNvPr id="32771" name="Rectangle 3">
            <a:extLst>
              <a:ext uri="{FF2B5EF4-FFF2-40B4-BE49-F238E27FC236}">
                <a16:creationId xmlns:a16="http://schemas.microsoft.com/office/drawing/2014/main" id="{3ADDEF42-0B7A-44D7-BD16-751A170504EC}"/>
              </a:ext>
            </a:extLst>
          </p:cNvPr>
          <p:cNvSpPr>
            <a:spLocks noChangeArrowheads="1"/>
          </p:cNvSpPr>
          <p:nvPr/>
        </p:nvSpPr>
        <p:spPr bwMode="auto">
          <a:xfrm>
            <a:off x="585558" y="399686"/>
            <a:ext cx="8082905" cy="920512"/>
          </a:xfrm>
          <a:prstGeom prst="rect">
            <a:avLst/>
          </a:prstGeom>
          <a:noFill/>
          <a:ln>
            <a:noFill/>
          </a:ln>
        </p:spPr>
        <p:txBody>
          <a:bodyPr/>
          <a:lstStyle>
            <a:lvl1pPr>
              <a:defRPr sz="4000">
                <a:solidFill>
                  <a:srgbClr val="075109"/>
                </a:solidFill>
                <a:latin typeface="SimHei" panose="02010609060101010101" pitchFamily="49" charset="-122"/>
                <a:ea typeface="SimHei" panose="02010609060101010101" pitchFamily="49" charset="-122"/>
              </a:defRPr>
            </a:lvl1pPr>
            <a:lvl2pPr marL="37931725" indent="-37474525">
              <a:defRPr sz="4000">
                <a:solidFill>
                  <a:srgbClr val="075109"/>
                </a:solidFill>
                <a:latin typeface="SimHei" panose="02010609060101010101" pitchFamily="49" charset="-122"/>
                <a:ea typeface="SimHei" panose="02010609060101010101" pitchFamily="49" charset="-122"/>
              </a:defRPr>
            </a:lvl2pPr>
            <a:lvl3pPr marL="1143000" indent="-228600">
              <a:defRPr sz="4000">
                <a:solidFill>
                  <a:srgbClr val="075109"/>
                </a:solidFill>
                <a:latin typeface="SimHei" panose="02010609060101010101" pitchFamily="49" charset="-122"/>
                <a:ea typeface="SimHei" panose="02010609060101010101" pitchFamily="49" charset="-122"/>
              </a:defRPr>
            </a:lvl3pPr>
            <a:lvl4pPr marL="1600200" indent="-228600">
              <a:defRPr sz="4000">
                <a:solidFill>
                  <a:srgbClr val="075109"/>
                </a:solidFill>
                <a:latin typeface="SimHei" panose="02010609060101010101" pitchFamily="49" charset="-122"/>
                <a:ea typeface="SimHei" panose="02010609060101010101" pitchFamily="49" charset="-122"/>
              </a:defRPr>
            </a:lvl4pPr>
            <a:lvl5pPr marL="2057400" indent="-228600">
              <a:defRPr sz="4000">
                <a:solidFill>
                  <a:srgbClr val="075109"/>
                </a:solidFill>
                <a:latin typeface="SimHei" panose="02010609060101010101" pitchFamily="49" charset="-122"/>
                <a:ea typeface="SimHei" panose="02010609060101010101" pitchFamily="49" charset="-122"/>
              </a:defRPr>
            </a:lvl5pPr>
            <a:lvl6pPr marL="25146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6pPr>
            <a:lvl7pPr marL="29718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7pPr>
            <a:lvl8pPr marL="34290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8pPr>
            <a:lvl9pPr marL="38862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9pPr>
          </a:lstStyle>
          <a:p>
            <a:pPr marL="0" marR="0" lvl="0" indent="0" algn="just" defTabSz="843533" rtl="0" eaLnBrk="1" fontAlgn="base" latinLnBrk="0" hangingPunct="1">
              <a:lnSpc>
                <a:spcPct val="100000"/>
              </a:lnSpc>
              <a:spcBef>
                <a:spcPct val="0"/>
              </a:spcBef>
              <a:spcAft>
                <a:spcPct val="0"/>
              </a:spcAft>
              <a:buClrTx/>
              <a:buSzTx/>
              <a:buFontTx/>
              <a:buNone/>
              <a:tabLst/>
              <a:defRPr/>
            </a:pPr>
            <a:r>
              <a:rPr lang="en-US" altLang="en-US" dirty="0" err="1"/>
              <a:t>လူမှုဂေဟစနစ</a:t>
            </a:r>
            <a:r>
              <a:rPr lang="en-US" altLang="en-US" dirty="0"/>
              <a:t>်</a:t>
            </a:r>
          </a:p>
          <a:p>
            <a:pPr marL="0" marR="0" lvl="0" indent="0" algn="l" defTabSz="843533" rtl="0" eaLnBrk="1" fontAlgn="base" latinLnBrk="0" hangingPunct="1">
              <a:lnSpc>
                <a:spcPct val="90000"/>
              </a:lnSpc>
              <a:spcBef>
                <a:spcPct val="20000"/>
              </a:spcBef>
              <a:spcAft>
                <a:spcPct val="0"/>
              </a:spcAft>
              <a:buClrTx/>
              <a:buSzTx/>
              <a:buFontTx/>
              <a:buNone/>
              <a:tabLst/>
              <a:defRPr/>
            </a:pPr>
            <a:endParaRPr kumimoji="0" lang="en-US" altLang="en-US" sz="2214" b="0" i="0" u="none" strike="noStrike" kern="1200" cap="none" spc="0" normalizeH="0" baseline="0" noProof="0" dirty="0">
              <a:ln>
                <a:noFill/>
              </a:ln>
              <a:solidFill>
                <a:srgbClr val="000000"/>
              </a:solidFill>
              <a:effectLst/>
              <a:uLnTx/>
              <a:uFillTx/>
              <a:latin typeface="Calibri" panose="020F0502020204030204" pitchFamily="34" charset="0"/>
              <a:ea typeface="MS PGothic" panose="020B0600070205080204" pitchFamily="34" charset="-128"/>
              <a:cs typeface="Arial" panose="020B0604020202020204" pitchFamily="34" charset="0"/>
            </a:endParaRPr>
          </a:p>
        </p:txBody>
      </p:sp>
      <p:sp>
        <p:nvSpPr>
          <p:cNvPr id="32772" name="Rectangle 1">
            <a:extLst>
              <a:ext uri="{FF2B5EF4-FFF2-40B4-BE49-F238E27FC236}">
                <a16:creationId xmlns:a16="http://schemas.microsoft.com/office/drawing/2014/main" id="{588B3778-A870-41FE-ADFC-3395F8701889}"/>
              </a:ext>
            </a:extLst>
          </p:cNvPr>
          <p:cNvSpPr>
            <a:spLocks noChangeArrowheads="1"/>
          </p:cNvSpPr>
          <p:nvPr/>
        </p:nvSpPr>
        <p:spPr bwMode="auto">
          <a:xfrm>
            <a:off x="368010" y="2194103"/>
            <a:ext cx="3404245" cy="1900520"/>
          </a:xfrm>
          <a:prstGeom prst="rect">
            <a:avLst/>
          </a:prstGeom>
          <a:noFill/>
          <a:ln>
            <a:noFill/>
          </a:ln>
        </p:spPr>
        <p:txBody>
          <a:bodyPr>
            <a:spAutoFit/>
          </a:bodyPr>
          <a:lstStyle>
            <a:lvl1pPr>
              <a:defRPr sz="4000">
                <a:solidFill>
                  <a:srgbClr val="075109"/>
                </a:solidFill>
                <a:latin typeface="SimHei" panose="02010609060101010101" pitchFamily="49" charset="-122"/>
                <a:ea typeface="SimHei" panose="02010609060101010101" pitchFamily="49" charset="-122"/>
              </a:defRPr>
            </a:lvl1pPr>
            <a:lvl2pPr marL="742950" indent="-285750">
              <a:defRPr sz="4000">
                <a:solidFill>
                  <a:srgbClr val="075109"/>
                </a:solidFill>
                <a:latin typeface="SimHei" panose="02010609060101010101" pitchFamily="49" charset="-122"/>
                <a:ea typeface="SimHei" panose="02010609060101010101" pitchFamily="49" charset="-122"/>
              </a:defRPr>
            </a:lvl2pPr>
            <a:lvl3pPr marL="1143000" indent="-228600">
              <a:defRPr sz="4000">
                <a:solidFill>
                  <a:srgbClr val="075109"/>
                </a:solidFill>
                <a:latin typeface="SimHei" panose="02010609060101010101" pitchFamily="49" charset="-122"/>
                <a:ea typeface="SimHei" panose="02010609060101010101" pitchFamily="49" charset="-122"/>
              </a:defRPr>
            </a:lvl3pPr>
            <a:lvl4pPr marL="1600200" indent="-228600">
              <a:defRPr sz="4000">
                <a:solidFill>
                  <a:srgbClr val="075109"/>
                </a:solidFill>
                <a:latin typeface="SimHei" panose="02010609060101010101" pitchFamily="49" charset="-122"/>
                <a:ea typeface="SimHei" panose="02010609060101010101" pitchFamily="49" charset="-122"/>
              </a:defRPr>
            </a:lvl4pPr>
            <a:lvl5pPr marL="2057400" indent="-228600">
              <a:defRPr sz="4000">
                <a:solidFill>
                  <a:srgbClr val="075109"/>
                </a:solidFill>
                <a:latin typeface="SimHei" panose="02010609060101010101" pitchFamily="49" charset="-122"/>
                <a:ea typeface="SimHei" panose="02010609060101010101" pitchFamily="49" charset="-122"/>
              </a:defRPr>
            </a:lvl5pPr>
            <a:lvl6pPr marL="25146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6pPr>
            <a:lvl7pPr marL="29718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7pPr>
            <a:lvl8pPr marL="34290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8pPr>
            <a:lvl9pPr marL="3886200" indent="-228600" eaLnBrk="0" fontAlgn="base" hangingPunct="0">
              <a:spcBef>
                <a:spcPct val="0"/>
              </a:spcBef>
              <a:spcAft>
                <a:spcPct val="0"/>
              </a:spcAft>
              <a:defRPr sz="4000">
                <a:solidFill>
                  <a:srgbClr val="075109"/>
                </a:solidFill>
                <a:latin typeface="SimHei" panose="02010609060101010101" pitchFamily="49" charset="-122"/>
                <a:ea typeface="SimHei" panose="02010609060101010101" pitchFamily="49" charset="-122"/>
              </a:defRPr>
            </a:lvl9pPr>
          </a:lstStyle>
          <a:p>
            <a:pPr marL="0" marR="0" lvl="0" indent="0" algn="l" defTabSz="843533" rtl="0" eaLnBrk="1" fontAlgn="base" latinLnBrk="0" hangingPunct="1">
              <a:lnSpc>
                <a:spcPct val="150000"/>
              </a:lnSpc>
              <a:spcBef>
                <a:spcPct val="0"/>
              </a:spcBef>
              <a:spcAft>
                <a:spcPct val="0"/>
              </a:spcAft>
              <a:buClrTx/>
              <a:buSzTx/>
              <a:buFontTx/>
              <a:buNone/>
              <a:tabLst/>
              <a:defRPr/>
            </a:pP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လးသူငယ္ဖြံျဖိဳးမ</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င့္ သာယာ၀ေျပာေရး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ည</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ကေလးမ်ားအား</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ဘယ္ေတာ</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မွ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သီး</a:t>
            </a:r>
            <a:r>
              <a:rPr lang="en-US" altLang="en-US" sz="2000" dirty="0">
                <a:solidFill>
                  <a:srgbClr val="231F20"/>
                </a:solidFill>
                <a:latin typeface="Zawgyi-One" panose="020B0604030504040204" pitchFamily="34" charset="0"/>
                <a:cs typeface="Zawgyi-One" panose="020B0604030504040204" pitchFamily="34" charset="0"/>
              </a:rPr>
              <a:t>ျ</a:t>
            </a:r>
            <a:r>
              <a:rPr lang="en-US" altLang="en-US" sz="2000" dirty="0" err="1">
                <a:solidFill>
                  <a:srgbClr val="231F20"/>
                </a:solidFill>
                <a:latin typeface="Zawgyi-One" panose="020B0604030504040204" pitchFamily="34" charset="0"/>
                <a:cs typeface="Zawgyi-One" panose="020B0604030504040204" pitchFamily="34" charset="0"/>
              </a:rPr>
              <a:t>ခား</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 </a:t>
            </a:r>
            <a:r>
              <a:rPr kumimoji="0" lang="en-US" altLang="en-US" sz="2000" b="0" i="0" u="none" strike="noStrike" kern="1200" cap="none" spc="0" normalizeH="0" baseline="0" noProof="0" dirty="0" err="1">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ခြဲမထုတ္ပ</a:t>
            </a:r>
            <a:r>
              <a:rPr kumimoji="0" lang="en-US" altLang="en-US" sz="2000" b="0" i="0" u="none" strike="noStrike" kern="1200" cap="none" spc="0" normalizeH="0" baseline="0" noProof="0" dirty="0">
                <a:ln>
                  <a:noFill/>
                </a:ln>
                <a:solidFill>
                  <a:srgbClr val="231F20"/>
                </a:solidFill>
                <a:effectLst/>
                <a:uLnTx/>
                <a:uFillTx/>
                <a:latin typeface="Zawgyi-One" panose="020B0604030504040204" pitchFamily="34" charset="0"/>
                <a:ea typeface="SimHei" panose="02010609060101010101" pitchFamily="49" charset="-122"/>
                <a:cs typeface="Zawgyi-One" panose="020B0604030504040204" pitchFamily="34" charset="0"/>
              </a:rPr>
              <a:t>ါ။</a:t>
            </a:r>
            <a:endParaRPr kumimoji="0" lang="en-US" altLang="en-US" sz="2000" b="1" i="0" u="none" strike="noStrike" kern="1200" cap="none" spc="0" normalizeH="0" baseline="0" noProof="0" dirty="0">
              <a:ln>
                <a:noFill/>
              </a:ln>
              <a:solidFill>
                <a:srgbClr val="000000"/>
              </a:solidFill>
              <a:effectLst/>
              <a:uLnTx/>
              <a:uFillTx/>
              <a:latin typeface="Gill Sans Infant Std"/>
              <a:ea typeface="MS PGothic" panose="020B0600070205080204" pitchFamily="34" charset="-128"/>
              <a:cs typeface="Arial" panose="020B0604020202020204" pitchFamily="34" charset="0"/>
            </a:endParaRPr>
          </a:p>
        </p:txBody>
      </p:sp>
      <p:sp>
        <p:nvSpPr>
          <p:cNvPr id="2" name="TextBox 1">
            <a:extLst>
              <a:ext uri="{FF2B5EF4-FFF2-40B4-BE49-F238E27FC236}">
                <a16:creationId xmlns:a16="http://schemas.microsoft.com/office/drawing/2014/main" id="{B6416D9E-9A12-481F-BB46-B2C1ABB6A4F8}"/>
              </a:ext>
            </a:extLst>
          </p:cNvPr>
          <p:cNvSpPr txBox="1"/>
          <p:nvPr/>
        </p:nvSpPr>
        <p:spPr>
          <a:xfrm>
            <a:off x="4454645" y="1709800"/>
            <a:ext cx="3200400" cy="981807"/>
          </a:xfrm>
          <a:prstGeom prst="rect">
            <a:avLst/>
          </a:prstGeom>
          <a:noFill/>
        </p:spPr>
        <p:txBody>
          <a:bodyPr wrap="square" lIns="0" tIns="0" rIns="0" bIns="0" rtlCol="0">
            <a:spAutoFit/>
          </a:bodyPr>
          <a:lstStyle/>
          <a:p>
            <a:pPr algn="ctr"/>
            <a:r>
              <a:rPr lang="en-US" sz="1600" b="1" kern="1200" noProof="0" dirty="0" err="1"/>
              <a:t>လူမှုအထောက်အပံ</a:t>
            </a:r>
            <a:r>
              <a:rPr lang="en-US" sz="1600" b="1" kern="1200" noProof="0" dirty="0"/>
              <a:t>့. </a:t>
            </a:r>
            <a:r>
              <a:rPr lang="en-US" sz="1600" b="1" kern="1200" noProof="0" dirty="0" err="1"/>
              <a:t>ကျောင်း</a:t>
            </a:r>
            <a:r>
              <a:rPr lang="en-US" sz="1600" b="1" kern="1200" noProof="0" dirty="0"/>
              <a:t>၊ </a:t>
            </a:r>
            <a:r>
              <a:rPr lang="en-US" sz="1600" b="1" kern="1200" noProof="0" dirty="0" err="1"/>
              <a:t>ကျန်းမာရေးနှင</a:t>
            </a:r>
            <a:r>
              <a:rPr lang="en-US" sz="1600" b="1" kern="1200" noProof="0" dirty="0"/>
              <a:t>့် </a:t>
            </a:r>
            <a:r>
              <a:rPr lang="en-US" sz="1600" b="1" kern="1200" noProof="0" dirty="0" err="1"/>
              <a:t>ကလေးသူငယ</a:t>
            </a:r>
            <a:r>
              <a:rPr lang="en-US" sz="1600" b="1" kern="1200" noProof="0" dirty="0"/>
              <a:t>် </a:t>
            </a:r>
            <a:r>
              <a:rPr lang="en-US" sz="1600" b="1" kern="1200" noProof="0" dirty="0" err="1"/>
              <a:t>ကာကွယ်စောင</a:t>
            </a:r>
            <a:r>
              <a:rPr lang="en-US" sz="1600" b="1" kern="1200" noProof="0" dirty="0"/>
              <a:t>့်</a:t>
            </a:r>
            <a:r>
              <a:rPr lang="en-US" sz="1600" b="1" kern="1200" noProof="0" dirty="0" err="1"/>
              <a:t>ရှောက်ရေး</a:t>
            </a:r>
            <a:endParaRPr lang="en-US" sz="1600" b="1" kern="1200" noProof="0" dirty="0"/>
          </a:p>
          <a:p>
            <a:pPr algn="ctr"/>
            <a:endParaRPr lang="en-US" sz="1500" dirty="0">
              <a:latin typeface="Gill Sans Infant Std"/>
              <a:cs typeface="Gill Sans Infant Std"/>
            </a:endParaRPr>
          </a:p>
        </p:txBody>
      </p:sp>
      <p:sp>
        <p:nvSpPr>
          <p:cNvPr id="3" name="TextBox 2">
            <a:extLst>
              <a:ext uri="{FF2B5EF4-FFF2-40B4-BE49-F238E27FC236}">
                <a16:creationId xmlns:a16="http://schemas.microsoft.com/office/drawing/2014/main" id="{3BB0FA5B-354D-4C89-9F55-9CFB84E56AC5}"/>
              </a:ext>
            </a:extLst>
          </p:cNvPr>
          <p:cNvSpPr txBox="1"/>
          <p:nvPr/>
        </p:nvSpPr>
        <p:spPr>
          <a:xfrm>
            <a:off x="4717233" y="2653873"/>
            <a:ext cx="2743200" cy="830997"/>
          </a:xfrm>
          <a:prstGeom prst="rect">
            <a:avLst/>
          </a:prstGeom>
          <a:noFill/>
        </p:spPr>
        <p:txBody>
          <a:bodyPr wrap="square" lIns="0" tIns="0" rIns="0" bIns="0" rtlCol="0">
            <a:spAutoFit/>
          </a:bodyPr>
          <a:lstStyle/>
          <a:p>
            <a:pPr algn="ctr"/>
            <a:r>
              <a:rPr lang="en-US" b="1" kern="1200" noProof="0" dirty="0" err="1">
                <a:solidFill>
                  <a:schemeClr val="tx1"/>
                </a:solidFill>
              </a:rPr>
              <a:t>ဆွေမျိုးနှင</a:t>
            </a:r>
            <a:r>
              <a:rPr lang="en-US" b="1" kern="1200" noProof="0" dirty="0">
                <a:solidFill>
                  <a:schemeClr val="tx1"/>
                </a:solidFill>
              </a:rPr>
              <a:t>့် </a:t>
            </a:r>
          </a:p>
          <a:p>
            <a:pPr algn="ctr"/>
            <a:r>
              <a:rPr lang="en-US" b="1" kern="1200" noProof="0" dirty="0" err="1">
                <a:solidFill>
                  <a:schemeClr val="tx1"/>
                </a:solidFill>
              </a:rPr>
              <a:t>သူငယ်ချင်း</a:t>
            </a:r>
            <a:r>
              <a:rPr lang="en-US" b="1" kern="1200" noProof="0" dirty="0">
                <a:solidFill>
                  <a:schemeClr val="tx1"/>
                </a:solidFill>
              </a:rPr>
              <a:t> </a:t>
            </a:r>
          </a:p>
          <a:p>
            <a:pPr algn="ctr"/>
            <a:r>
              <a:rPr lang="en-US" b="1" kern="1200" noProof="0" dirty="0" err="1">
                <a:solidFill>
                  <a:schemeClr val="tx1"/>
                </a:solidFill>
              </a:rPr>
              <a:t>အပေါင်းသင်းများ</a:t>
            </a:r>
            <a:endParaRPr lang="en-US" b="1" kern="1200" noProof="0" dirty="0">
              <a:solidFill>
                <a:schemeClr val="tx1"/>
              </a:solidFill>
            </a:endParaRPr>
          </a:p>
        </p:txBody>
      </p:sp>
      <p:sp>
        <p:nvSpPr>
          <p:cNvPr id="13" name="object 6">
            <a:extLst>
              <a:ext uri="{FF2B5EF4-FFF2-40B4-BE49-F238E27FC236}">
                <a16:creationId xmlns:a16="http://schemas.microsoft.com/office/drawing/2014/main" id="{7FB615E1-F67B-4F07-9F90-7071E58D2202}"/>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 name="object 7">
            <a:extLst>
              <a:ext uri="{FF2B5EF4-FFF2-40B4-BE49-F238E27FC236}">
                <a16:creationId xmlns:a16="http://schemas.microsoft.com/office/drawing/2014/main" id="{9B171AA4-DF84-4834-ACBE-A2CF275E89FE}"/>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4</a:t>
            </a:r>
            <a:endParaRPr lang="en-US" altLang="en-US" sz="2021" dirty="0">
              <a:latin typeface="Gill Sans" pitchFamily="34" charset="0"/>
              <a:cs typeface="Gill Sans" pitchFamily="34" charset="0"/>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7A5EE-2391-49B0-B97F-84F5C533A11A}"/>
              </a:ext>
            </a:extLst>
          </p:cNvPr>
          <p:cNvSpPr>
            <a:spLocks noGrp="1"/>
          </p:cNvSpPr>
          <p:nvPr>
            <p:ph type="title"/>
          </p:nvPr>
        </p:nvSpPr>
        <p:spPr>
          <a:xfrm>
            <a:off x="664198" y="3419202"/>
            <a:ext cx="8282643" cy="1348102"/>
          </a:xfrm>
        </p:spPr>
        <p:txBody>
          <a:bodyPr/>
          <a:lstStyle/>
          <a:p>
            <a:pPr algn="ctr"/>
            <a:r>
              <a:rPr lang="en-US" dirty="0" err="1"/>
              <a:t>စိတ်ဖိစီးမှုဆိုတာဘာလဲ</a:t>
            </a:r>
            <a:endParaRPr lang="en-US" dirty="0"/>
          </a:p>
        </p:txBody>
      </p:sp>
      <p:sp>
        <p:nvSpPr>
          <p:cNvPr id="4" name="object 6">
            <a:extLst>
              <a:ext uri="{FF2B5EF4-FFF2-40B4-BE49-F238E27FC236}">
                <a16:creationId xmlns:a16="http://schemas.microsoft.com/office/drawing/2014/main" id="{4AE6CFF2-8F53-40B3-B1E0-09AFD32A8360}"/>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srgbClr val="222221"/>
              </a:solidFill>
              <a:effectLst/>
              <a:uLnTx/>
              <a:uFillTx/>
              <a:latin typeface="Gill Sans MT"/>
              <a:ea typeface="+mn-ea"/>
              <a:cs typeface="+mn-cs"/>
            </a:endParaRPr>
          </a:p>
        </p:txBody>
      </p:sp>
      <p:sp>
        <p:nvSpPr>
          <p:cNvPr id="5" name="object 7">
            <a:extLst>
              <a:ext uri="{FF2B5EF4-FFF2-40B4-BE49-F238E27FC236}">
                <a16:creationId xmlns:a16="http://schemas.microsoft.com/office/drawing/2014/main" id="{455963DB-6D84-46C0-AE6B-E9DD0184C1B4}"/>
              </a:ext>
            </a:extLst>
          </p:cNvPr>
          <p:cNvSpPr txBox="1">
            <a:spLocks noChangeArrowheads="1"/>
          </p:cNvSpPr>
          <p:nvPr/>
        </p:nvSpPr>
        <p:spPr bwMode="auto">
          <a:xfrm>
            <a:off x="8580446" y="275053"/>
            <a:ext cx="166866"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4</a:t>
            </a:r>
          </a:p>
        </p:txBody>
      </p:sp>
    </p:spTree>
    <p:extLst>
      <p:ext uri="{BB962C8B-B14F-4D97-AF65-F5344CB8AC3E}">
        <p14:creationId xmlns:p14="http://schemas.microsoft.com/office/powerpoint/2010/main" val="31244272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object 2">
            <a:extLst>
              <a:ext uri="{FF2B5EF4-FFF2-40B4-BE49-F238E27FC236}">
                <a16:creationId xmlns:a16="http://schemas.microsoft.com/office/drawing/2014/main" id="{EFC44AB2-37C0-49D9-AA35-CC8FC0BCDD14}"/>
              </a:ext>
            </a:extLst>
          </p:cNvPr>
          <p:cNvSpPr>
            <a:spLocks noChangeArrowheads="1"/>
          </p:cNvSpPr>
          <p:nvPr/>
        </p:nvSpPr>
        <p:spPr bwMode="auto">
          <a:xfrm>
            <a:off x="2445" y="-113689"/>
            <a:ext cx="9140027" cy="5854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1040"/>
          </a:p>
        </p:txBody>
      </p:sp>
      <p:sp>
        <p:nvSpPr>
          <p:cNvPr id="5123" name="object 4">
            <a:extLst>
              <a:ext uri="{FF2B5EF4-FFF2-40B4-BE49-F238E27FC236}">
                <a16:creationId xmlns:a16="http://schemas.microsoft.com/office/drawing/2014/main" id="{ED7ACFD3-86F2-49B8-A403-CD9C2D0E3AD8}"/>
              </a:ext>
            </a:extLst>
          </p:cNvPr>
          <p:cNvSpPr>
            <a:spLocks/>
          </p:cNvSpPr>
          <p:nvPr/>
        </p:nvSpPr>
        <p:spPr bwMode="auto">
          <a:xfrm>
            <a:off x="2445" y="5795377"/>
            <a:ext cx="9140027" cy="118273"/>
          </a:xfrm>
          <a:custGeom>
            <a:avLst/>
            <a:gdLst>
              <a:gd name="T0" fmla="*/ 0 w 15825596"/>
              <a:gd name="T1" fmla="*/ 0 h 204177"/>
              <a:gd name="T2" fmla="*/ 0 w 15825596"/>
              <a:gd name="T3" fmla="*/ 206628 h 204177"/>
              <a:gd name="T4" fmla="*/ 15826364 w 15825596"/>
              <a:gd name="T5" fmla="*/ 206628 h 204177"/>
              <a:gd name="T6" fmla="*/ 15826364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24" name="object 5">
            <a:extLst>
              <a:ext uri="{FF2B5EF4-FFF2-40B4-BE49-F238E27FC236}">
                <a16:creationId xmlns:a16="http://schemas.microsoft.com/office/drawing/2014/main" id="{C720A613-71C0-4074-BC8D-B6C506F38124}"/>
              </a:ext>
            </a:extLst>
          </p:cNvPr>
          <p:cNvSpPr>
            <a:spLocks/>
          </p:cNvSpPr>
          <p:nvPr/>
        </p:nvSpPr>
        <p:spPr bwMode="auto">
          <a:xfrm>
            <a:off x="2445" y="5603756"/>
            <a:ext cx="1435779"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25" name="object 6">
            <a:extLst>
              <a:ext uri="{FF2B5EF4-FFF2-40B4-BE49-F238E27FC236}">
                <a16:creationId xmlns:a16="http://schemas.microsoft.com/office/drawing/2014/main" id="{FA718669-56C8-4D74-8DD9-09FC2009C86F}"/>
              </a:ext>
            </a:extLst>
          </p:cNvPr>
          <p:cNvSpPr>
            <a:spLocks/>
          </p:cNvSpPr>
          <p:nvPr/>
        </p:nvSpPr>
        <p:spPr bwMode="auto">
          <a:xfrm>
            <a:off x="2445" y="0"/>
            <a:ext cx="9140027"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26" name="object 7">
            <a:extLst>
              <a:ext uri="{FF2B5EF4-FFF2-40B4-BE49-F238E27FC236}">
                <a16:creationId xmlns:a16="http://schemas.microsoft.com/office/drawing/2014/main" id="{5CD8D3C0-48B3-44E0-8F41-70FA48D9AEE9}"/>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27" name="object 8">
            <a:extLst>
              <a:ext uri="{FF2B5EF4-FFF2-40B4-BE49-F238E27FC236}">
                <a16:creationId xmlns:a16="http://schemas.microsoft.com/office/drawing/2014/main" id="{BB4EE63A-C890-48D6-B315-BF04EBD996EB}"/>
              </a:ext>
            </a:extLst>
          </p:cNvPr>
          <p:cNvSpPr txBox="1">
            <a:spLocks noChangeArrowheads="1"/>
          </p:cNvSpPr>
          <p:nvPr/>
        </p:nvSpPr>
        <p:spPr bwMode="auto">
          <a:xfrm>
            <a:off x="8580446" y="275053"/>
            <a:ext cx="166866"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2021">
              <a:latin typeface="Gill Sans" pitchFamily="34" charset="0"/>
              <a:cs typeface="Gill Sans" pitchFamily="34" charset="0"/>
            </a:endParaRPr>
          </a:p>
        </p:txBody>
      </p:sp>
      <p:sp>
        <p:nvSpPr>
          <p:cNvPr id="5128" name="object 9">
            <a:extLst>
              <a:ext uri="{FF2B5EF4-FFF2-40B4-BE49-F238E27FC236}">
                <a16:creationId xmlns:a16="http://schemas.microsoft.com/office/drawing/2014/main" id="{F16420A3-B79A-40E1-8AF5-5494D67968C9}"/>
              </a:ext>
            </a:extLst>
          </p:cNvPr>
          <p:cNvSpPr>
            <a:spLocks/>
          </p:cNvSpPr>
          <p:nvPr/>
        </p:nvSpPr>
        <p:spPr bwMode="auto">
          <a:xfrm>
            <a:off x="7137332" y="6343651"/>
            <a:ext cx="116440" cy="163198"/>
          </a:xfrm>
          <a:custGeom>
            <a:avLst/>
            <a:gdLst>
              <a:gd name="T0" fmla="*/ 5648 w 201527"/>
              <a:gd name="T1" fmla="*/ 197396 h 282176"/>
              <a:gd name="T2" fmla="*/ 8693 w 201527"/>
              <a:gd name="T3" fmla="*/ 258588 h 282176"/>
              <a:gd name="T4" fmla="*/ 49795 w 201527"/>
              <a:gd name="T5" fmla="*/ 276284 h 282176"/>
              <a:gd name="T6" fmla="*/ 90641 w 201527"/>
              <a:gd name="T7" fmla="*/ 283254 h 282176"/>
              <a:gd name="T8" fmla="*/ 107915 w 201527"/>
              <a:gd name="T9" fmla="*/ 283776 h 282176"/>
              <a:gd name="T10" fmla="*/ 123819 w 201527"/>
              <a:gd name="T11" fmla="*/ 282773 h 282176"/>
              <a:gd name="T12" fmla="*/ 165303 w 201527"/>
              <a:gd name="T13" fmla="*/ 270779 h 282176"/>
              <a:gd name="T14" fmla="*/ 194918 w 201527"/>
              <a:gd name="T15" fmla="*/ 245114 h 282176"/>
              <a:gd name="T16" fmla="*/ 201871 w 201527"/>
              <a:gd name="T17" fmla="*/ 232711 h 282176"/>
              <a:gd name="T18" fmla="*/ 89537 w 201527"/>
              <a:gd name="T19" fmla="*/ 232711 h 282176"/>
              <a:gd name="T20" fmla="*/ 78595 w 201527"/>
              <a:gd name="T21" fmla="*/ 231352 h 282176"/>
              <a:gd name="T22" fmla="*/ 33082 w 201527"/>
              <a:gd name="T23" fmla="*/ 214251 h 282176"/>
              <a:gd name="T24" fmla="*/ 19974 w 201527"/>
              <a:gd name="T25" fmla="*/ 206592 h 282176"/>
              <a:gd name="T26" fmla="*/ 5648 w 201527"/>
              <a:gd name="T27" fmla="*/ 197396 h 282176"/>
              <a:gd name="T28" fmla="*/ 97562 w 201527"/>
              <a:gd name="T29" fmla="*/ 0 h 282176"/>
              <a:gd name="T30" fmla="*/ 50219 w 201527"/>
              <a:gd name="T31" fmla="*/ 9555 h 282176"/>
              <a:gd name="T32" fmla="*/ 17183 w 201527"/>
              <a:gd name="T33" fmla="*/ 32599 h 282176"/>
              <a:gd name="T34" fmla="*/ 0 w 201527"/>
              <a:gd name="T35" fmla="*/ 80848 h 282176"/>
              <a:gd name="T36" fmla="*/ 1617 w 201527"/>
              <a:gd name="T37" fmla="*/ 96947 h 282176"/>
              <a:gd name="T38" fmla="*/ 20203 w 201527"/>
              <a:gd name="T39" fmla="*/ 133251 h 282176"/>
              <a:gd name="T40" fmla="*/ 52296 w 201527"/>
              <a:gd name="T41" fmla="*/ 156189 h 282176"/>
              <a:gd name="T42" fmla="*/ 100339 w 201527"/>
              <a:gd name="T43" fmla="*/ 176253 h 282176"/>
              <a:gd name="T44" fmla="*/ 111031 w 201527"/>
              <a:gd name="T45" fmla="*/ 180857 h 282176"/>
              <a:gd name="T46" fmla="*/ 139718 w 201527"/>
              <a:gd name="T47" fmla="*/ 212422 h 282176"/>
              <a:gd name="T48" fmla="*/ 135314 w 201527"/>
              <a:gd name="T49" fmla="*/ 221204 h 282176"/>
              <a:gd name="T50" fmla="*/ 125851 w 201527"/>
              <a:gd name="T51" fmla="*/ 227641 h 282176"/>
              <a:gd name="T52" fmla="*/ 110775 w 201527"/>
              <a:gd name="T53" fmla="*/ 231540 h 282176"/>
              <a:gd name="T54" fmla="*/ 89537 w 201527"/>
              <a:gd name="T55" fmla="*/ 232711 h 282176"/>
              <a:gd name="T56" fmla="*/ 201871 w 201527"/>
              <a:gd name="T57" fmla="*/ 232711 h 282176"/>
              <a:gd name="T58" fmla="*/ 206455 w 201527"/>
              <a:gd name="T59" fmla="*/ 220289 h 282176"/>
              <a:gd name="T60" fmla="*/ 209399 w 201527"/>
              <a:gd name="T61" fmla="*/ 205534 h 282176"/>
              <a:gd name="T62" fmla="*/ 210302 w 201527"/>
              <a:gd name="T63" fmla="*/ 189207 h 282176"/>
              <a:gd name="T64" fmla="*/ 207096 w 201527"/>
              <a:gd name="T65" fmla="*/ 174315 h 282176"/>
              <a:gd name="T66" fmla="*/ 184337 w 201527"/>
              <a:gd name="T67" fmla="*/ 140678 h 282176"/>
              <a:gd name="T68" fmla="*/ 149564 w 201527"/>
              <a:gd name="T69" fmla="*/ 118964 h 282176"/>
              <a:gd name="T70" fmla="*/ 112708 w 201527"/>
              <a:gd name="T71" fmla="*/ 103216 h 282176"/>
              <a:gd name="T72" fmla="*/ 101675 w 201527"/>
              <a:gd name="T73" fmla="*/ 98262 h 282176"/>
              <a:gd name="T74" fmla="*/ 72455 w 201527"/>
              <a:gd name="T75" fmla="*/ 65783 h 282176"/>
              <a:gd name="T76" fmla="*/ 80290 w 201527"/>
              <a:gd name="T77" fmla="*/ 57638 h 282176"/>
              <a:gd name="T78" fmla="*/ 93812 w 201527"/>
              <a:gd name="T79" fmla="*/ 52409 h 282176"/>
              <a:gd name="T80" fmla="*/ 112366 w 201527"/>
              <a:gd name="T81" fmla="*/ 50562 h 282176"/>
              <a:gd name="T82" fmla="*/ 197768 w 201527"/>
              <a:gd name="T83" fmla="*/ 50562 h 282176"/>
              <a:gd name="T84" fmla="*/ 197043 w 201527"/>
              <a:gd name="T85" fmla="*/ 20775 h 282176"/>
              <a:gd name="T86" fmla="*/ 160505 w 201527"/>
              <a:gd name="T87" fmla="*/ 7747 h 282176"/>
              <a:gd name="T88" fmla="*/ 111256 w 201527"/>
              <a:gd name="T89" fmla="*/ 250 h 282176"/>
              <a:gd name="T90" fmla="*/ 97562 w 201527"/>
              <a:gd name="T91" fmla="*/ 0 h 282176"/>
              <a:gd name="T92" fmla="*/ 197768 w 201527"/>
              <a:gd name="T93" fmla="*/ 50562 h 282176"/>
              <a:gd name="T94" fmla="*/ 112366 w 201527"/>
              <a:gd name="T95" fmla="*/ 50562 h 282176"/>
              <a:gd name="T96" fmla="*/ 122319 w 201527"/>
              <a:gd name="T97" fmla="*/ 51090 h 282176"/>
              <a:gd name="T98" fmla="*/ 132618 w 201527"/>
              <a:gd name="T99" fmla="*/ 52508 h 282176"/>
              <a:gd name="T100" fmla="*/ 182449 w 201527"/>
              <a:gd name="T101" fmla="*/ 68421 h 282176"/>
              <a:gd name="T102" fmla="*/ 198373 w 201527"/>
              <a:gd name="T103" fmla="*/ 75295 h 282176"/>
              <a:gd name="T104" fmla="*/ 197768 w 201527"/>
              <a:gd name="T105" fmla="*/ 50562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29" name="object 10">
            <a:extLst>
              <a:ext uri="{FF2B5EF4-FFF2-40B4-BE49-F238E27FC236}">
                <a16:creationId xmlns:a16="http://schemas.microsoft.com/office/drawing/2014/main" id="{4D0560C9-0470-407A-97DD-9C84F941FCAE}"/>
              </a:ext>
            </a:extLst>
          </p:cNvPr>
          <p:cNvSpPr>
            <a:spLocks/>
          </p:cNvSpPr>
          <p:nvPr/>
        </p:nvSpPr>
        <p:spPr bwMode="auto">
          <a:xfrm>
            <a:off x="7271192" y="6394994"/>
            <a:ext cx="115522" cy="111855"/>
          </a:xfrm>
          <a:custGeom>
            <a:avLst/>
            <a:gdLst>
              <a:gd name="T0" fmla="*/ 66160 w 200263"/>
              <a:gd name="T1" fmla="*/ 40331 h 192883"/>
              <a:gd name="T2" fmla="*/ 100019 w 200263"/>
              <a:gd name="T3" fmla="*/ 47269 h 192883"/>
              <a:gd name="T4" fmla="*/ 109478 w 200263"/>
              <a:gd name="T5" fmla="*/ 66314 h 192883"/>
              <a:gd name="T6" fmla="*/ 55182 w 200263"/>
              <a:gd name="T7" fmla="*/ 87170 h 192883"/>
              <a:gd name="T8" fmla="*/ 0 w 200263"/>
              <a:gd name="T9" fmla="*/ 139831 h 192883"/>
              <a:gd name="T10" fmla="*/ 24481 w 200263"/>
              <a:gd name="T11" fmla="*/ 188918 h 192883"/>
              <a:gd name="T12" fmla="*/ 62717 w 200263"/>
              <a:gd name="T13" fmla="*/ 195382 h 192883"/>
              <a:gd name="T14" fmla="*/ 85960 w 200263"/>
              <a:gd name="T15" fmla="*/ 189320 h 192883"/>
              <a:gd name="T16" fmla="*/ 110677 w 200263"/>
              <a:gd name="T17" fmla="*/ 175788 h 192883"/>
              <a:gd name="T18" fmla="*/ 196534 w 200263"/>
              <a:gd name="T19" fmla="*/ 159594 h 192883"/>
              <a:gd name="T20" fmla="*/ 69436 w 200263"/>
              <a:gd name="T21" fmla="*/ 157282 h 192883"/>
              <a:gd name="T22" fmla="*/ 61088 w 200263"/>
              <a:gd name="T23" fmla="*/ 136326 h 192883"/>
              <a:gd name="T24" fmla="*/ 72924 w 200263"/>
              <a:gd name="T25" fmla="*/ 118182 h 192883"/>
              <a:gd name="T26" fmla="*/ 98623 w 200263"/>
              <a:gd name="T27" fmla="*/ 105016 h 192883"/>
              <a:gd name="T28" fmla="*/ 167599 w 200263"/>
              <a:gd name="T29" fmla="*/ 57070 h 192883"/>
              <a:gd name="T30" fmla="*/ 165355 w 200263"/>
              <a:gd name="T31" fmla="*/ 40331 h 192883"/>
              <a:gd name="T32" fmla="*/ 110677 w 200263"/>
              <a:gd name="T33" fmla="*/ 175788 h 192883"/>
              <a:gd name="T34" fmla="*/ 127568 w 200263"/>
              <a:gd name="T35" fmla="*/ 193613 h 192883"/>
              <a:gd name="T36" fmla="*/ 154552 w 200263"/>
              <a:gd name="T37" fmla="*/ 195097 h 192883"/>
              <a:gd name="T38" fmla="*/ 179900 w 200263"/>
              <a:gd name="T39" fmla="*/ 188278 h 192883"/>
              <a:gd name="T40" fmla="*/ 193312 w 200263"/>
              <a:gd name="T41" fmla="*/ 175788 h 192883"/>
              <a:gd name="T42" fmla="*/ 98623 w 200263"/>
              <a:gd name="T43" fmla="*/ 105016 h 192883"/>
              <a:gd name="T44" fmla="*/ 98317 w 200263"/>
              <a:gd name="T45" fmla="*/ 154694 h 192883"/>
              <a:gd name="T46" fmla="*/ 196534 w 200263"/>
              <a:gd name="T47" fmla="*/ 159594 h 192883"/>
              <a:gd name="T48" fmla="*/ 171215 w 200263"/>
              <a:gd name="T49" fmla="*/ 156296 h 192883"/>
              <a:gd name="T50" fmla="*/ 167599 w 200263"/>
              <a:gd name="T51" fmla="*/ 105016 h 192883"/>
              <a:gd name="T52" fmla="*/ 185662 w 200263"/>
              <a:gd name="T53" fmla="*/ 155470 h 192883"/>
              <a:gd name="T54" fmla="*/ 197191 w 200263"/>
              <a:gd name="T55" fmla="*/ 156296 h 192883"/>
              <a:gd name="T56" fmla="*/ 100441 w 200263"/>
              <a:gd name="T57" fmla="*/ 0 h 192883"/>
              <a:gd name="T58" fmla="*/ 13463 w 200263"/>
              <a:gd name="T59" fmla="*/ 19943 h 192883"/>
              <a:gd name="T60" fmla="*/ 19011 w 200263"/>
              <a:gd name="T61" fmla="*/ 61883 h 192883"/>
              <a:gd name="T62" fmla="*/ 41787 w 200263"/>
              <a:gd name="T63" fmla="*/ 47806 h 192883"/>
              <a:gd name="T64" fmla="*/ 66160 w 200263"/>
              <a:gd name="T65" fmla="*/ 40331 h 192883"/>
              <a:gd name="T66" fmla="*/ 161356 w 200263"/>
              <a:gd name="T67" fmla="*/ 29561 h 192883"/>
              <a:gd name="T68" fmla="*/ 143844 w 200263"/>
              <a:gd name="T69" fmla="*/ 11526 h 192883"/>
              <a:gd name="T70" fmla="*/ 116889 w 200263"/>
              <a:gd name="T71" fmla="*/ 1941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0" name="object 11">
            <a:extLst>
              <a:ext uri="{FF2B5EF4-FFF2-40B4-BE49-F238E27FC236}">
                <a16:creationId xmlns:a16="http://schemas.microsoft.com/office/drawing/2014/main" id="{D5D2E435-3D99-42E2-85B2-4140BD5144CD}"/>
              </a:ext>
            </a:extLst>
          </p:cNvPr>
          <p:cNvSpPr>
            <a:spLocks/>
          </p:cNvSpPr>
          <p:nvPr/>
        </p:nvSpPr>
        <p:spPr bwMode="auto">
          <a:xfrm>
            <a:off x="7382130" y="6396827"/>
            <a:ext cx="118273" cy="110021"/>
          </a:xfrm>
          <a:custGeom>
            <a:avLst/>
            <a:gdLst>
              <a:gd name="T0" fmla="*/ 63382 w 204089"/>
              <a:gd name="T1" fmla="*/ 0 h 189572"/>
              <a:gd name="T2" fmla="*/ 0 w 204089"/>
              <a:gd name="T3" fmla="*/ 0 h 189572"/>
              <a:gd name="T4" fmla="*/ 87097 w 204089"/>
              <a:gd name="T5" fmla="*/ 193312 h 189572"/>
              <a:gd name="T6" fmla="*/ 120210 w 204089"/>
              <a:gd name="T7" fmla="*/ 193312 h 189572"/>
              <a:gd name="T8" fmla="*/ 160049 w 204089"/>
              <a:gd name="T9" fmla="*/ 104471 h 189572"/>
              <a:gd name="T10" fmla="*/ 103447 w 204089"/>
              <a:gd name="T11" fmla="*/ 104471 h 189572"/>
              <a:gd name="T12" fmla="*/ 63382 w 204089"/>
              <a:gd name="T13" fmla="*/ 0 h 189572"/>
              <a:gd name="T14" fmla="*/ 206895 w 204089"/>
              <a:gd name="T15" fmla="*/ 0 h 189572"/>
              <a:gd name="T16" fmla="*/ 143939 w 204089"/>
              <a:gd name="T17" fmla="*/ 0 h 189572"/>
              <a:gd name="T18" fmla="*/ 103447 w 204089"/>
              <a:gd name="T19" fmla="*/ 104471 h 189572"/>
              <a:gd name="T20" fmla="*/ 160049 w 204089"/>
              <a:gd name="T21" fmla="*/ 104471 h 189572"/>
              <a:gd name="T22" fmla="*/ 206895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1" name="object 12">
            <a:extLst>
              <a:ext uri="{FF2B5EF4-FFF2-40B4-BE49-F238E27FC236}">
                <a16:creationId xmlns:a16="http://schemas.microsoft.com/office/drawing/2014/main" id="{163B827B-EF31-4598-983F-346DDC1AFEDE}"/>
              </a:ext>
            </a:extLst>
          </p:cNvPr>
          <p:cNvSpPr>
            <a:spLocks/>
          </p:cNvSpPr>
          <p:nvPr/>
        </p:nvSpPr>
        <p:spPr bwMode="auto">
          <a:xfrm>
            <a:off x="7504988" y="6394994"/>
            <a:ext cx="111855" cy="111855"/>
          </a:xfrm>
          <a:custGeom>
            <a:avLst/>
            <a:gdLst>
              <a:gd name="T0" fmla="*/ 105323 w 193899"/>
              <a:gd name="T1" fmla="*/ 0 h 192654"/>
              <a:gd name="T2" fmla="*/ 59216 w 193899"/>
              <a:gd name="T3" fmla="*/ 8036 h 192654"/>
              <a:gd name="T4" fmla="*/ 25147 w 193899"/>
              <a:gd name="T5" fmla="*/ 30773 h 192654"/>
              <a:gd name="T6" fmla="*/ 4911 w 193899"/>
              <a:gd name="T7" fmla="*/ 65473 h 192654"/>
              <a:gd name="T8" fmla="*/ 0 w 193899"/>
              <a:gd name="T9" fmla="*/ 93900 h 192654"/>
              <a:gd name="T10" fmla="*/ 897 w 193899"/>
              <a:gd name="T11" fmla="*/ 109938 h 192654"/>
              <a:gd name="T12" fmla="*/ 14099 w 193899"/>
              <a:gd name="T13" fmla="*/ 150716 h 192654"/>
              <a:gd name="T14" fmla="*/ 41508 w 193899"/>
              <a:gd name="T15" fmla="*/ 179451 h 192654"/>
              <a:gd name="T16" fmla="*/ 81131 w 193899"/>
              <a:gd name="T17" fmla="*/ 194801 h 192654"/>
              <a:gd name="T18" fmla="*/ 106981 w 193899"/>
              <a:gd name="T19" fmla="*/ 196770 h 192654"/>
              <a:gd name="T20" fmla="*/ 118137 w 193899"/>
              <a:gd name="T21" fmla="*/ 196460 h 192654"/>
              <a:gd name="T22" fmla="*/ 168425 w 193899"/>
              <a:gd name="T23" fmla="*/ 184789 h 192654"/>
              <a:gd name="T24" fmla="*/ 184734 w 193899"/>
              <a:gd name="T25" fmla="*/ 161176 h 192654"/>
              <a:gd name="T26" fmla="*/ 130737 w 193899"/>
              <a:gd name="T27" fmla="*/ 161176 h 192654"/>
              <a:gd name="T28" fmla="*/ 112327 w 193899"/>
              <a:gd name="T29" fmla="*/ 160133 h 192654"/>
              <a:gd name="T30" fmla="*/ 74066 w 193899"/>
              <a:gd name="T31" fmla="*/ 143115 h 192654"/>
              <a:gd name="T32" fmla="*/ 60116 w 193899"/>
              <a:gd name="T33" fmla="*/ 108068 h 192654"/>
              <a:gd name="T34" fmla="*/ 193005 w 193899"/>
              <a:gd name="T35" fmla="*/ 108068 h 192654"/>
              <a:gd name="T36" fmla="*/ 192698 w 193899"/>
              <a:gd name="T37" fmla="*/ 90798 h 192654"/>
              <a:gd name="T38" fmla="*/ 190679 w 193899"/>
              <a:gd name="T39" fmla="*/ 76753 h 192654"/>
              <a:gd name="T40" fmla="*/ 61319 w 193899"/>
              <a:gd name="T41" fmla="*/ 76753 h 192654"/>
              <a:gd name="T42" fmla="*/ 64705 w 193899"/>
              <a:gd name="T43" fmla="*/ 60917 h 192654"/>
              <a:gd name="T44" fmla="*/ 71464 w 193899"/>
              <a:gd name="T45" fmla="*/ 48620 h 192654"/>
              <a:gd name="T46" fmla="*/ 81314 w 193899"/>
              <a:gd name="T47" fmla="*/ 40133 h 192654"/>
              <a:gd name="T48" fmla="*/ 93964 w 193899"/>
              <a:gd name="T49" fmla="*/ 35728 h 192654"/>
              <a:gd name="T50" fmla="*/ 101468 w 193899"/>
              <a:gd name="T51" fmla="*/ 35140 h 192654"/>
              <a:gd name="T52" fmla="*/ 172513 w 193899"/>
              <a:gd name="T53" fmla="*/ 35140 h 192654"/>
              <a:gd name="T54" fmla="*/ 164473 w 193899"/>
              <a:gd name="T55" fmla="*/ 25911 h 192654"/>
              <a:gd name="T56" fmla="*/ 154525 w 193899"/>
              <a:gd name="T57" fmla="*/ 17470 h 192654"/>
              <a:gd name="T58" fmla="*/ 143488 w 193899"/>
              <a:gd name="T59" fmla="*/ 10623 h 192654"/>
              <a:gd name="T60" fmla="*/ 131511 w 193899"/>
              <a:gd name="T61" fmla="*/ 5405 h 192654"/>
              <a:gd name="T62" fmla="*/ 118739 w 193899"/>
              <a:gd name="T63" fmla="*/ 1854 h 192654"/>
              <a:gd name="T64" fmla="*/ 105323 w 193899"/>
              <a:gd name="T65" fmla="*/ 0 h 192654"/>
              <a:gd name="T66" fmla="*/ 189806 w 193899"/>
              <a:gd name="T67" fmla="*/ 134424 h 192654"/>
              <a:gd name="T68" fmla="*/ 152978 w 193899"/>
              <a:gd name="T69" fmla="*/ 155971 h 192654"/>
              <a:gd name="T70" fmla="*/ 130737 w 193899"/>
              <a:gd name="T71" fmla="*/ 161176 h 192654"/>
              <a:gd name="T72" fmla="*/ 184734 w 193899"/>
              <a:gd name="T73" fmla="*/ 161176 h 192654"/>
              <a:gd name="T74" fmla="*/ 189806 w 193899"/>
              <a:gd name="T75" fmla="*/ 134424 h 192654"/>
              <a:gd name="T76" fmla="*/ 172513 w 193899"/>
              <a:gd name="T77" fmla="*/ 35140 h 192654"/>
              <a:gd name="T78" fmla="*/ 101468 w 193899"/>
              <a:gd name="T79" fmla="*/ 35140 h 192654"/>
              <a:gd name="T80" fmla="*/ 115288 w 193899"/>
              <a:gd name="T81" fmla="*/ 37388 h 192654"/>
              <a:gd name="T82" fmla="*/ 126611 w 193899"/>
              <a:gd name="T83" fmla="*/ 43895 h 192654"/>
              <a:gd name="T84" fmla="*/ 135073 w 193899"/>
              <a:gd name="T85" fmla="*/ 54313 h 192654"/>
              <a:gd name="T86" fmla="*/ 140304 w 193899"/>
              <a:gd name="T87" fmla="*/ 68292 h 192654"/>
              <a:gd name="T88" fmla="*/ 61319 w 193899"/>
              <a:gd name="T89" fmla="*/ 76753 h 192654"/>
              <a:gd name="T90" fmla="*/ 190679 w 193899"/>
              <a:gd name="T91" fmla="*/ 76753 h 192654"/>
              <a:gd name="T92" fmla="*/ 190415 w 193899"/>
              <a:gd name="T93" fmla="*/ 74914 h 192654"/>
              <a:gd name="T94" fmla="*/ 186302 w 193899"/>
              <a:gd name="T95" fmla="*/ 60447 h 192654"/>
              <a:gd name="T96" fmla="*/ 180510 w 193899"/>
              <a:gd name="T97" fmla="*/ 47434 h 192654"/>
              <a:gd name="T98" fmla="*/ 173183 w 193899"/>
              <a:gd name="T99" fmla="*/ 35909 h 192654"/>
              <a:gd name="T100" fmla="*/ 172513 w 193899"/>
              <a:gd name="T101" fmla="*/ 35140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2" name="object 13">
            <a:extLst>
              <a:ext uri="{FF2B5EF4-FFF2-40B4-BE49-F238E27FC236}">
                <a16:creationId xmlns:a16="http://schemas.microsoft.com/office/drawing/2014/main" id="{593ED017-BD61-4B45-A5D1-40F591AC3FAD}"/>
              </a:ext>
            </a:extLst>
          </p:cNvPr>
          <p:cNvSpPr>
            <a:spLocks/>
          </p:cNvSpPr>
          <p:nvPr/>
        </p:nvSpPr>
        <p:spPr bwMode="auto">
          <a:xfrm>
            <a:off x="7682855" y="6362904"/>
            <a:ext cx="88017" cy="143945"/>
          </a:xfrm>
          <a:custGeom>
            <a:avLst/>
            <a:gdLst>
              <a:gd name="T0" fmla="*/ 84075 w 152869"/>
              <a:gd name="T1" fmla="*/ 100399 h 248003"/>
              <a:gd name="T2" fmla="*/ 26294 w 152869"/>
              <a:gd name="T3" fmla="*/ 100399 h 248003"/>
              <a:gd name="T4" fmla="*/ 26332 w 152869"/>
              <a:gd name="T5" fmla="*/ 184975 h 248003"/>
              <a:gd name="T6" fmla="*/ 39811 w 152869"/>
              <a:gd name="T7" fmla="*/ 228777 h 248003"/>
              <a:gd name="T8" fmla="*/ 72699 w 152869"/>
              <a:gd name="T9" fmla="*/ 249507 h 248003"/>
              <a:gd name="T10" fmla="*/ 101939 w 152869"/>
              <a:gd name="T11" fmla="*/ 252980 h 248003"/>
              <a:gd name="T12" fmla="*/ 113774 w 152869"/>
              <a:gd name="T13" fmla="*/ 252026 h 248003"/>
              <a:gd name="T14" fmla="*/ 125508 w 152869"/>
              <a:gd name="T15" fmla="*/ 249829 h 248003"/>
              <a:gd name="T16" fmla="*/ 137725 w 152869"/>
              <a:gd name="T17" fmla="*/ 246235 h 248003"/>
              <a:gd name="T18" fmla="*/ 151001 w 152869"/>
              <a:gd name="T19" fmla="*/ 241103 h 248003"/>
              <a:gd name="T20" fmla="*/ 145656 w 152869"/>
              <a:gd name="T21" fmla="*/ 208794 h 248003"/>
              <a:gd name="T22" fmla="*/ 108262 w 152869"/>
              <a:gd name="T23" fmla="*/ 208794 h 248003"/>
              <a:gd name="T24" fmla="*/ 95145 w 152869"/>
              <a:gd name="T25" fmla="*/ 203994 h 248003"/>
              <a:gd name="T26" fmla="*/ 86923 w 152869"/>
              <a:gd name="T27" fmla="*/ 193608 h 248003"/>
              <a:gd name="T28" fmla="*/ 84075 w 152869"/>
              <a:gd name="T29" fmla="*/ 178569 h 248003"/>
              <a:gd name="T30" fmla="*/ 84075 w 152869"/>
              <a:gd name="T31" fmla="*/ 100399 h 248003"/>
              <a:gd name="T32" fmla="*/ 144399 w 152869"/>
              <a:gd name="T33" fmla="*/ 201200 h 248003"/>
              <a:gd name="T34" fmla="*/ 132589 w 152869"/>
              <a:gd name="T35" fmla="*/ 205750 h 248003"/>
              <a:gd name="T36" fmla="*/ 120968 w 152869"/>
              <a:gd name="T37" fmla="*/ 208178 h 248003"/>
              <a:gd name="T38" fmla="*/ 108262 w 152869"/>
              <a:gd name="T39" fmla="*/ 208794 h 248003"/>
              <a:gd name="T40" fmla="*/ 145656 w 152869"/>
              <a:gd name="T41" fmla="*/ 208794 h 248003"/>
              <a:gd name="T42" fmla="*/ 144399 w 152869"/>
              <a:gd name="T43" fmla="*/ 201200 h 248003"/>
              <a:gd name="T44" fmla="*/ 84075 w 152869"/>
              <a:gd name="T45" fmla="*/ 0 h 248003"/>
              <a:gd name="T46" fmla="*/ 76887 w 152869"/>
              <a:gd name="T47" fmla="*/ 0 h 248003"/>
              <a:gd name="T48" fmla="*/ 0 w 152869"/>
              <a:gd name="T49" fmla="*/ 88882 h 248003"/>
              <a:gd name="T50" fmla="*/ 0 w 152869"/>
              <a:gd name="T51" fmla="*/ 100399 h 248003"/>
              <a:gd name="T52" fmla="*/ 151001 w 152869"/>
              <a:gd name="T53" fmla="*/ 100399 h 248003"/>
              <a:gd name="T54" fmla="*/ 151001 w 152869"/>
              <a:gd name="T55" fmla="*/ 59670 h 248003"/>
              <a:gd name="T56" fmla="*/ 84075 w 152869"/>
              <a:gd name="T57" fmla="*/ 59670 h 248003"/>
              <a:gd name="T58" fmla="*/ 84075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3" name="object 14">
            <a:extLst>
              <a:ext uri="{FF2B5EF4-FFF2-40B4-BE49-F238E27FC236}">
                <a16:creationId xmlns:a16="http://schemas.microsoft.com/office/drawing/2014/main" id="{44A29136-EF91-472A-9B4B-7A0BD003EAE8}"/>
              </a:ext>
            </a:extLst>
          </p:cNvPr>
          <p:cNvSpPr>
            <a:spLocks/>
          </p:cNvSpPr>
          <p:nvPr/>
        </p:nvSpPr>
        <p:spPr bwMode="auto">
          <a:xfrm>
            <a:off x="7784625"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3 w 186347"/>
              <a:gd name="T19" fmla="*/ 124103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41 h 275069"/>
              <a:gd name="T44" fmla="*/ 179969 w 186347"/>
              <a:gd name="T45" fmla="*/ 129799 h 275069"/>
              <a:gd name="T46" fmla="*/ 113530 w 186347"/>
              <a:gd name="T47" fmla="*/ 85035 h 275069"/>
              <a:gd name="T48" fmla="*/ 68326 w 186347"/>
              <a:gd name="T49" fmla="*/ 104929 h 275069"/>
              <a:gd name="T50" fmla="*/ 58524 w 186347"/>
              <a:gd name="T51" fmla="*/ 115830 h 275069"/>
              <a:gd name="T52" fmla="*/ 173896 w 186347"/>
              <a:gd name="T53" fmla="*/ 115830 h 275069"/>
              <a:gd name="T54" fmla="*/ 140184 w 186347"/>
              <a:gd name="T55" fmla="*/ 89049 h 275069"/>
              <a:gd name="T56" fmla="*/ 113530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4" name="object 15">
            <a:extLst>
              <a:ext uri="{FF2B5EF4-FFF2-40B4-BE49-F238E27FC236}">
                <a16:creationId xmlns:a16="http://schemas.microsoft.com/office/drawing/2014/main" id="{26234AAF-3D10-40B0-810F-E0870E9C2A45}"/>
              </a:ext>
            </a:extLst>
          </p:cNvPr>
          <p:cNvSpPr>
            <a:spLocks/>
          </p:cNvSpPr>
          <p:nvPr/>
        </p:nvSpPr>
        <p:spPr bwMode="auto">
          <a:xfrm>
            <a:off x="7909316" y="6394994"/>
            <a:ext cx="111855" cy="111855"/>
          </a:xfrm>
          <a:custGeom>
            <a:avLst/>
            <a:gdLst>
              <a:gd name="T0" fmla="*/ 105302 w 193899"/>
              <a:gd name="T1" fmla="*/ 0 h 192656"/>
              <a:gd name="T2" fmla="*/ 59204 w 193899"/>
              <a:gd name="T3" fmla="*/ 8039 h 192656"/>
              <a:gd name="T4" fmla="*/ 25139 w 193899"/>
              <a:gd name="T5" fmla="*/ 30778 h 192656"/>
              <a:gd name="T6" fmla="*/ 4907 w 193899"/>
              <a:gd name="T7" fmla="*/ 65485 h 192656"/>
              <a:gd name="T8" fmla="*/ 0 w 193899"/>
              <a:gd name="T9" fmla="*/ 93916 h 192656"/>
              <a:gd name="T10" fmla="*/ 898 w 193899"/>
              <a:gd name="T11" fmla="*/ 109949 h 192656"/>
              <a:gd name="T12" fmla="*/ 14100 w 193899"/>
              <a:gd name="T13" fmla="*/ 150724 h 192656"/>
              <a:gd name="T14" fmla="*/ 41512 w 193899"/>
              <a:gd name="T15" fmla="*/ 179453 h 192656"/>
              <a:gd name="T16" fmla="*/ 81142 w 193899"/>
              <a:gd name="T17" fmla="*/ 194798 h 192656"/>
              <a:gd name="T18" fmla="*/ 106991 w 193899"/>
              <a:gd name="T19" fmla="*/ 196764 h 192656"/>
              <a:gd name="T20" fmla="*/ 118144 w 193899"/>
              <a:gd name="T21" fmla="*/ 196453 h 192656"/>
              <a:gd name="T22" fmla="*/ 168440 w 193899"/>
              <a:gd name="T23" fmla="*/ 184772 h 192656"/>
              <a:gd name="T24" fmla="*/ 184738 w 193899"/>
              <a:gd name="T25" fmla="*/ 161171 h 192656"/>
              <a:gd name="T26" fmla="*/ 130724 w 193899"/>
              <a:gd name="T27" fmla="*/ 161171 h 192656"/>
              <a:gd name="T28" fmla="*/ 112313 w 193899"/>
              <a:gd name="T29" fmla="*/ 160127 h 192656"/>
              <a:gd name="T30" fmla="*/ 74058 w 193899"/>
              <a:gd name="T31" fmla="*/ 143105 h 192656"/>
              <a:gd name="T32" fmla="*/ 60117 w 193899"/>
              <a:gd name="T33" fmla="*/ 108064 h 192656"/>
              <a:gd name="T34" fmla="*/ 193005 w 193899"/>
              <a:gd name="T35" fmla="*/ 108064 h 192656"/>
              <a:gd name="T36" fmla="*/ 192695 w 193899"/>
              <a:gd name="T37" fmla="*/ 90794 h 192656"/>
              <a:gd name="T38" fmla="*/ 190674 w 193899"/>
              <a:gd name="T39" fmla="*/ 76752 h 192656"/>
              <a:gd name="T40" fmla="*/ 61320 w 193899"/>
              <a:gd name="T41" fmla="*/ 76752 h 192656"/>
              <a:gd name="T42" fmla="*/ 64703 w 193899"/>
              <a:gd name="T43" fmla="*/ 60912 h 192656"/>
              <a:gd name="T44" fmla="*/ 71465 w 193899"/>
              <a:gd name="T45" fmla="*/ 48615 h 192656"/>
              <a:gd name="T46" fmla="*/ 81319 w 193899"/>
              <a:gd name="T47" fmla="*/ 40130 h 192656"/>
              <a:gd name="T48" fmla="*/ 93967 w 193899"/>
              <a:gd name="T49" fmla="*/ 35727 h 192656"/>
              <a:gd name="T50" fmla="*/ 101456 w 193899"/>
              <a:gd name="T51" fmla="*/ 35141 h 192656"/>
              <a:gd name="T52" fmla="*/ 172504 w 193899"/>
              <a:gd name="T53" fmla="*/ 35141 h 192656"/>
              <a:gd name="T54" fmla="*/ 164459 w 193899"/>
              <a:gd name="T55" fmla="*/ 25907 h 192656"/>
              <a:gd name="T56" fmla="*/ 154509 w 193899"/>
              <a:gd name="T57" fmla="*/ 17466 h 192656"/>
              <a:gd name="T58" fmla="*/ 143471 w 193899"/>
              <a:gd name="T59" fmla="*/ 10621 h 192656"/>
              <a:gd name="T60" fmla="*/ 131492 w 193899"/>
              <a:gd name="T61" fmla="*/ 5403 h 192656"/>
              <a:gd name="T62" fmla="*/ 118720 w 193899"/>
              <a:gd name="T63" fmla="*/ 1853 h 192656"/>
              <a:gd name="T64" fmla="*/ 105302 w 193899"/>
              <a:gd name="T65" fmla="*/ 0 h 192656"/>
              <a:gd name="T66" fmla="*/ 189794 w 193899"/>
              <a:gd name="T67" fmla="*/ 134420 h 192656"/>
              <a:gd name="T68" fmla="*/ 152963 w 193899"/>
              <a:gd name="T69" fmla="*/ 155968 h 192656"/>
              <a:gd name="T70" fmla="*/ 130724 w 193899"/>
              <a:gd name="T71" fmla="*/ 161171 h 192656"/>
              <a:gd name="T72" fmla="*/ 184738 w 193899"/>
              <a:gd name="T73" fmla="*/ 161171 h 192656"/>
              <a:gd name="T74" fmla="*/ 189794 w 193899"/>
              <a:gd name="T75" fmla="*/ 134420 h 192656"/>
              <a:gd name="T76" fmla="*/ 172504 w 193899"/>
              <a:gd name="T77" fmla="*/ 35141 h 192656"/>
              <a:gd name="T78" fmla="*/ 101456 w 193899"/>
              <a:gd name="T79" fmla="*/ 35141 h 192656"/>
              <a:gd name="T80" fmla="*/ 115276 w 193899"/>
              <a:gd name="T81" fmla="*/ 37389 h 192656"/>
              <a:gd name="T82" fmla="*/ 126599 w 193899"/>
              <a:gd name="T83" fmla="*/ 43895 h 192656"/>
              <a:gd name="T84" fmla="*/ 135061 w 193899"/>
              <a:gd name="T85" fmla="*/ 54311 h 192656"/>
              <a:gd name="T86" fmla="*/ 140292 w 193899"/>
              <a:gd name="T87" fmla="*/ 68290 h 192656"/>
              <a:gd name="T88" fmla="*/ 61320 w 193899"/>
              <a:gd name="T89" fmla="*/ 76752 h 192656"/>
              <a:gd name="T90" fmla="*/ 190674 w 193899"/>
              <a:gd name="T91" fmla="*/ 76752 h 192656"/>
              <a:gd name="T92" fmla="*/ 190410 w 193899"/>
              <a:gd name="T93" fmla="*/ 74909 h 192656"/>
              <a:gd name="T94" fmla="*/ 186295 w 193899"/>
              <a:gd name="T95" fmla="*/ 60442 h 192656"/>
              <a:gd name="T96" fmla="*/ 180500 w 193899"/>
              <a:gd name="T97" fmla="*/ 47430 h 192656"/>
              <a:gd name="T98" fmla="*/ 173171 w 193899"/>
              <a:gd name="T99" fmla="*/ 35907 h 192656"/>
              <a:gd name="T100" fmla="*/ 172504 w 193899"/>
              <a:gd name="T101" fmla="*/ 35141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5" name="object 16">
            <a:extLst>
              <a:ext uri="{FF2B5EF4-FFF2-40B4-BE49-F238E27FC236}">
                <a16:creationId xmlns:a16="http://schemas.microsoft.com/office/drawing/2014/main" id="{1E963201-A024-4993-BD7D-E2EC3E37FBAC}"/>
              </a:ext>
            </a:extLst>
          </p:cNvPr>
          <p:cNvSpPr>
            <a:spLocks/>
          </p:cNvSpPr>
          <p:nvPr/>
        </p:nvSpPr>
        <p:spPr bwMode="auto">
          <a:xfrm>
            <a:off x="8095435" y="6343651"/>
            <a:ext cx="154947" cy="163198"/>
          </a:xfrm>
          <a:custGeom>
            <a:avLst/>
            <a:gdLst>
              <a:gd name="T0" fmla="*/ 157946 w 268134"/>
              <a:gd name="T1" fmla="*/ 0 h 282037"/>
              <a:gd name="T2" fmla="*/ 108748 w 268134"/>
              <a:gd name="T3" fmla="*/ 7448 h 282037"/>
              <a:gd name="T4" fmla="*/ 68128 w 268134"/>
              <a:gd name="T5" fmla="*/ 25114 h 282037"/>
              <a:gd name="T6" fmla="*/ 36545 w 268134"/>
              <a:gd name="T7" fmla="*/ 51183 h 282037"/>
              <a:gd name="T8" fmla="*/ 14457 w 268134"/>
              <a:gd name="T9" fmla="*/ 83850 h 282037"/>
              <a:gd name="T10" fmla="*/ 2327 w 268134"/>
              <a:gd name="T11" fmla="*/ 121301 h 282037"/>
              <a:gd name="T12" fmla="*/ 0 w 268134"/>
              <a:gd name="T13" fmla="*/ 148032 h 282037"/>
              <a:gd name="T14" fmla="*/ 971 w 268134"/>
              <a:gd name="T15" fmla="*/ 160290 h 282037"/>
              <a:gd name="T16" fmla="*/ 15708 w 268134"/>
              <a:gd name="T17" fmla="*/ 207124 h 282037"/>
              <a:gd name="T18" fmla="*/ 48430 w 268134"/>
              <a:gd name="T19" fmla="*/ 246707 h 282037"/>
              <a:gd name="T20" fmla="*/ 85255 w 268134"/>
              <a:gd name="T21" fmla="*/ 268638 h 282037"/>
              <a:gd name="T22" fmla="*/ 132989 w 268134"/>
              <a:gd name="T23" fmla="*/ 281589 h 282037"/>
              <a:gd name="T24" fmla="*/ 171038 w 268134"/>
              <a:gd name="T25" fmla="*/ 284195 h 282037"/>
              <a:gd name="T26" fmla="*/ 183981 w 268134"/>
              <a:gd name="T27" fmla="*/ 283392 h 282037"/>
              <a:gd name="T28" fmla="*/ 231803 w 268134"/>
              <a:gd name="T29" fmla="*/ 273065 h 282037"/>
              <a:gd name="T30" fmla="*/ 268746 w 268134"/>
              <a:gd name="T31" fmla="*/ 256740 h 282037"/>
              <a:gd name="T32" fmla="*/ 267463 w 268134"/>
              <a:gd name="T33" fmla="*/ 226038 h 282037"/>
              <a:gd name="T34" fmla="*/ 155891 w 268134"/>
              <a:gd name="T35" fmla="*/ 226038 h 282037"/>
              <a:gd name="T36" fmla="*/ 141242 w 268134"/>
              <a:gd name="T37" fmla="*/ 223664 h 282037"/>
              <a:gd name="T38" fmla="*/ 104152 w 268134"/>
              <a:gd name="T39" fmla="*/ 206379 h 282037"/>
              <a:gd name="T40" fmla="*/ 79829 w 268134"/>
              <a:gd name="T41" fmla="*/ 174793 h 282037"/>
              <a:gd name="T42" fmla="*/ 71457 w 268134"/>
              <a:gd name="T43" fmla="*/ 130115 h 282037"/>
              <a:gd name="T44" fmla="*/ 74271 w 268134"/>
              <a:gd name="T45" fmla="*/ 117644 h 282037"/>
              <a:gd name="T46" fmla="*/ 104622 w 268134"/>
              <a:gd name="T47" fmla="*/ 77798 h 282037"/>
              <a:gd name="T48" fmla="*/ 145633 w 268134"/>
              <a:gd name="T49" fmla="*/ 61205 h 282037"/>
              <a:gd name="T50" fmla="*/ 180713 w 268134"/>
              <a:gd name="T51" fmla="*/ 57946 h 282037"/>
              <a:gd name="T52" fmla="*/ 262776 w 268134"/>
              <a:gd name="T53" fmla="*/ 57946 h 282037"/>
              <a:gd name="T54" fmla="*/ 259145 w 268134"/>
              <a:gd name="T55" fmla="*/ 20665 h 282037"/>
              <a:gd name="T56" fmla="*/ 214731 w 268134"/>
              <a:gd name="T57" fmla="*/ 5092 h 282037"/>
              <a:gd name="T58" fmla="*/ 173449 w 268134"/>
              <a:gd name="T59" fmla="*/ 288 h 282037"/>
              <a:gd name="T60" fmla="*/ 157946 w 268134"/>
              <a:gd name="T61" fmla="*/ 0 h 282037"/>
              <a:gd name="T62" fmla="*/ 266267 w 268134"/>
              <a:gd name="T63" fmla="*/ 197379 h 282037"/>
              <a:gd name="T64" fmla="*/ 231339 w 268134"/>
              <a:gd name="T65" fmla="*/ 213116 h 282037"/>
              <a:gd name="T66" fmla="*/ 184758 w 268134"/>
              <a:gd name="T67" fmla="*/ 224788 h 282037"/>
              <a:gd name="T68" fmla="*/ 155891 w 268134"/>
              <a:gd name="T69" fmla="*/ 226038 h 282037"/>
              <a:gd name="T70" fmla="*/ 267463 w 268134"/>
              <a:gd name="T71" fmla="*/ 226038 h 282037"/>
              <a:gd name="T72" fmla="*/ 266267 w 268134"/>
              <a:gd name="T73" fmla="*/ 197379 h 282037"/>
              <a:gd name="T74" fmla="*/ 262776 w 268134"/>
              <a:gd name="T75" fmla="*/ 57946 h 282037"/>
              <a:gd name="T76" fmla="*/ 180713 w 268134"/>
              <a:gd name="T77" fmla="*/ 57946 h 282037"/>
              <a:gd name="T78" fmla="*/ 193411 w 268134"/>
              <a:gd name="T79" fmla="*/ 59334 h 282037"/>
              <a:gd name="T80" fmla="*/ 205856 w 268134"/>
              <a:gd name="T81" fmla="*/ 61717 h 282037"/>
              <a:gd name="T82" fmla="*/ 242024 w 268134"/>
              <a:gd name="T83" fmla="*/ 74122 h 282037"/>
              <a:gd name="T84" fmla="*/ 265512 w 268134"/>
              <a:gd name="T85" fmla="*/ 86052 h 282037"/>
              <a:gd name="T86" fmla="*/ 262776 w 268134"/>
              <a:gd name="T87" fmla="*/ 5794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6" name="object 17">
            <a:extLst>
              <a:ext uri="{FF2B5EF4-FFF2-40B4-BE49-F238E27FC236}">
                <a16:creationId xmlns:a16="http://schemas.microsoft.com/office/drawing/2014/main" id="{8C49F1C7-9C8F-4AB3-B513-0A6B9750C1B0}"/>
              </a:ext>
            </a:extLst>
          </p:cNvPr>
          <p:cNvSpPr>
            <a:spLocks/>
          </p:cNvSpPr>
          <p:nvPr/>
        </p:nvSpPr>
        <p:spPr bwMode="auto">
          <a:xfrm>
            <a:off x="8274220"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2 w 186347"/>
              <a:gd name="T19" fmla="*/ 124102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39 h 275069"/>
              <a:gd name="T44" fmla="*/ 179969 w 186347"/>
              <a:gd name="T45" fmla="*/ 129799 h 275069"/>
              <a:gd name="T46" fmla="*/ 113529 w 186347"/>
              <a:gd name="T47" fmla="*/ 85035 h 275069"/>
              <a:gd name="T48" fmla="*/ 68325 w 186347"/>
              <a:gd name="T49" fmla="*/ 104929 h 275069"/>
              <a:gd name="T50" fmla="*/ 58524 w 186347"/>
              <a:gd name="T51" fmla="*/ 115830 h 275069"/>
              <a:gd name="T52" fmla="*/ 173896 w 186347"/>
              <a:gd name="T53" fmla="*/ 115830 h 275069"/>
              <a:gd name="T54" fmla="*/ 140183 w 186347"/>
              <a:gd name="T55" fmla="*/ 89049 h 275069"/>
              <a:gd name="T56" fmla="*/ 113529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7" name="object 18">
            <a:extLst>
              <a:ext uri="{FF2B5EF4-FFF2-40B4-BE49-F238E27FC236}">
                <a16:creationId xmlns:a16="http://schemas.microsoft.com/office/drawing/2014/main" id="{4BEB732C-AFA0-4E6E-8175-4A2A8207EE41}"/>
              </a:ext>
            </a:extLst>
          </p:cNvPr>
          <p:cNvSpPr>
            <a:spLocks/>
          </p:cNvSpPr>
          <p:nvPr/>
        </p:nvSpPr>
        <p:spPr bwMode="auto">
          <a:xfrm>
            <a:off x="8405329" y="6396827"/>
            <a:ext cx="33923" cy="107271"/>
          </a:xfrm>
          <a:custGeom>
            <a:avLst/>
            <a:gdLst>
              <a:gd name="T0" fmla="*/ 59505 w 58483"/>
              <a:gd name="T1" fmla="*/ 185129 h 185940"/>
              <a:gd name="T2" fmla="*/ 0 w 58483"/>
              <a:gd name="T3" fmla="*/ 185129 h 185940"/>
              <a:gd name="T4" fmla="*/ 0 w 58483"/>
              <a:gd name="T5" fmla="*/ 0 h 185940"/>
              <a:gd name="T6" fmla="*/ 59505 w 58483"/>
              <a:gd name="T7" fmla="*/ 0 h 185940"/>
              <a:gd name="T8" fmla="*/ 59505 w 58483"/>
              <a:gd name="T9" fmla="*/ 185129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8" name="object 19">
            <a:extLst>
              <a:ext uri="{FF2B5EF4-FFF2-40B4-BE49-F238E27FC236}">
                <a16:creationId xmlns:a16="http://schemas.microsoft.com/office/drawing/2014/main" id="{E71F5E72-E273-4B00-84BA-CFCD51C6F532}"/>
              </a:ext>
            </a:extLst>
          </p:cNvPr>
          <p:cNvSpPr>
            <a:spLocks/>
          </p:cNvSpPr>
          <p:nvPr/>
        </p:nvSpPr>
        <p:spPr bwMode="auto">
          <a:xfrm>
            <a:off x="8403496" y="6344567"/>
            <a:ext cx="37590" cy="35757"/>
          </a:xfrm>
          <a:custGeom>
            <a:avLst/>
            <a:gdLst>
              <a:gd name="T0" fmla="*/ 23399 w 64473"/>
              <a:gd name="T1" fmla="*/ 0 h 61899"/>
              <a:gd name="T2" fmla="*/ 11296 w 64473"/>
              <a:gd name="T3" fmla="*/ 6800 h 61899"/>
              <a:gd name="T4" fmla="*/ 3032 w 64473"/>
              <a:gd name="T5" fmla="*/ 18063 h 61899"/>
              <a:gd name="T6" fmla="*/ 0 w 64473"/>
              <a:gd name="T7" fmla="*/ 32683 h 61899"/>
              <a:gd name="T8" fmla="*/ 3347 w 64473"/>
              <a:gd name="T9" fmla="*/ 44535 h 61899"/>
              <a:gd name="T10" fmla="*/ 11667 w 64473"/>
              <a:gd name="T11" fmla="*/ 54062 h 61899"/>
              <a:gd name="T12" fmla="*/ 24719 w 64473"/>
              <a:gd name="T13" fmla="*/ 60220 h 61899"/>
              <a:gd name="T14" fmla="*/ 42255 w 64473"/>
              <a:gd name="T15" fmla="*/ 61955 h 61899"/>
              <a:gd name="T16" fmla="*/ 54972 w 64473"/>
              <a:gd name="T17" fmla="*/ 55506 h 61899"/>
              <a:gd name="T18" fmla="*/ 63712 w 64473"/>
              <a:gd name="T19" fmla="*/ 44628 h 61899"/>
              <a:gd name="T20" fmla="*/ 66965 w 64473"/>
              <a:gd name="T21" fmla="*/ 30792 h 61899"/>
              <a:gd name="T22" fmla="*/ 66819 w 64473"/>
              <a:gd name="T23" fmla="*/ 27801 h 61899"/>
              <a:gd name="T24" fmla="*/ 63135 w 64473"/>
              <a:gd name="T25" fmla="*/ 16350 h 61899"/>
              <a:gd name="T26" fmla="*/ 54582 w 64473"/>
              <a:gd name="T27" fmla="*/ 7227 h 61899"/>
              <a:gd name="T28" fmla="*/ 41294 w 64473"/>
              <a:gd name="T29" fmla="*/ 1439 h 61899"/>
              <a:gd name="T30" fmla="*/ 2339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39" name="object 20">
            <a:extLst>
              <a:ext uri="{FF2B5EF4-FFF2-40B4-BE49-F238E27FC236}">
                <a16:creationId xmlns:a16="http://schemas.microsoft.com/office/drawing/2014/main" id="{36BB226C-2BBA-473B-B494-931D52DE4516}"/>
              </a:ext>
            </a:extLst>
          </p:cNvPr>
          <p:cNvSpPr>
            <a:spLocks/>
          </p:cNvSpPr>
          <p:nvPr/>
        </p:nvSpPr>
        <p:spPr bwMode="auto">
          <a:xfrm>
            <a:off x="8464007" y="6345484"/>
            <a:ext cx="33923" cy="158614"/>
          </a:xfrm>
          <a:custGeom>
            <a:avLst/>
            <a:gdLst>
              <a:gd name="T0" fmla="*/ 59505 w 58483"/>
              <a:gd name="T1" fmla="*/ 273345 h 275069"/>
              <a:gd name="T2" fmla="*/ 0 w 58483"/>
              <a:gd name="T3" fmla="*/ 273345 h 275069"/>
              <a:gd name="T4" fmla="*/ 0 w 58483"/>
              <a:gd name="T5" fmla="*/ 0 h 275069"/>
              <a:gd name="T6" fmla="*/ 59505 w 58483"/>
              <a:gd name="T7" fmla="*/ 0 h 275069"/>
              <a:gd name="T8" fmla="*/ 59505 w 58483"/>
              <a:gd name="T9" fmla="*/ 273345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40" name="object 21">
            <a:extLst>
              <a:ext uri="{FF2B5EF4-FFF2-40B4-BE49-F238E27FC236}">
                <a16:creationId xmlns:a16="http://schemas.microsoft.com/office/drawing/2014/main" id="{6C28A76C-2160-4F57-B63C-CC380F8A70BE}"/>
              </a:ext>
            </a:extLst>
          </p:cNvPr>
          <p:cNvSpPr>
            <a:spLocks/>
          </p:cNvSpPr>
          <p:nvPr/>
        </p:nvSpPr>
        <p:spPr bwMode="auto">
          <a:xfrm>
            <a:off x="8516267" y="6345484"/>
            <a:ext cx="113689" cy="161365"/>
          </a:xfrm>
          <a:custGeom>
            <a:avLst/>
            <a:gdLst>
              <a:gd name="T0" fmla="*/ 101290 w 197236"/>
              <a:gd name="T1" fmla="*/ 87186 h 278582"/>
              <a:gd name="T2" fmla="*/ 55223 w 197236"/>
              <a:gd name="T3" fmla="*/ 95109 h 278582"/>
              <a:gd name="T4" fmla="*/ 22383 w 197236"/>
              <a:gd name="T5" fmla="*/ 118136 h 278582"/>
              <a:gd name="T6" fmla="*/ 3857 w 197236"/>
              <a:gd name="T7" fmla="*/ 153521 h 278582"/>
              <a:gd name="T8" fmla="*/ 0 w 197236"/>
              <a:gd name="T9" fmla="*/ 182625 h 278582"/>
              <a:gd name="T10" fmla="*/ 1009 w 197236"/>
              <a:gd name="T11" fmla="*/ 198905 h 278582"/>
              <a:gd name="T12" fmla="*/ 15138 w 197236"/>
              <a:gd name="T13" fmla="*/ 240935 h 278582"/>
              <a:gd name="T14" fmla="*/ 43178 w 197236"/>
              <a:gd name="T15" fmla="*/ 269838 h 278582"/>
              <a:gd name="T16" fmla="*/ 81606 w 197236"/>
              <a:gd name="T17" fmla="*/ 281868 h 278582"/>
              <a:gd name="T18" fmla="*/ 96097 w 197236"/>
              <a:gd name="T19" fmla="*/ 281184 h 278582"/>
              <a:gd name="T20" fmla="*/ 108670 w 197236"/>
              <a:gd name="T21" fmla="*/ 278853 h 278582"/>
              <a:gd name="T22" fmla="*/ 119935 w 197236"/>
              <a:gd name="T23" fmla="*/ 274719 h 278582"/>
              <a:gd name="T24" fmla="*/ 130504 w 197236"/>
              <a:gd name="T25" fmla="*/ 268621 h 278582"/>
              <a:gd name="T26" fmla="*/ 195697 w 197236"/>
              <a:gd name="T27" fmla="*/ 268621 h 278582"/>
              <a:gd name="T28" fmla="*/ 195697 w 197236"/>
              <a:gd name="T29" fmla="*/ 240870 h 278582"/>
              <a:gd name="T30" fmla="*/ 114903 w 197236"/>
              <a:gd name="T31" fmla="*/ 240870 h 278582"/>
              <a:gd name="T32" fmla="*/ 98197 w 197236"/>
              <a:gd name="T33" fmla="*/ 239845 h 278582"/>
              <a:gd name="T34" fmla="*/ 66226 w 197236"/>
              <a:gd name="T35" fmla="*/ 218168 h 278582"/>
              <a:gd name="T36" fmla="*/ 59006 w 197236"/>
              <a:gd name="T37" fmla="*/ 191222 h 278582"/>
              <a:gd name="T38" fmla="*/ 60223 w 197236"/>
              <a:gd name="T39" fmla="*/ 172090 h 278582"/>
              <a:gd name="T40" fmla="*/ 78476 w 197236"/>
              <a:gd name="T41" fmla="*/ 134639 h 278582"/>
              <a:gd name="T42" fmla="*/ 101498 w 197236"/>
              <a:gd name="T43" fmla="*/ 126230 h 278582"/>
              <a:gd name="T44" fmla="*/ 195697 w 197236"/>
              <a:gd name="T45" fmla="*/ 126230 h 278582"/>
              <a:gd name="T46" fmla="*/ 195697 w 197236"/>
              <a:gd name="T47" fmla="*/ 98351 h 278582"/>
              <a:gd name="T48" fmla="*/ 137656 w 197236"/>
              <a:gd name="T49" fmla="*/ 98351 h 278582"/>
              <a:gd name="T50" fmla="*/ 125696 w 197236"/>
              <a:gd name="T51" fmla="*/ 93138 h 278582"/>
              <a:gd name="T52" fmla="*/ 113612 w 197236"/>
              <a:gd name="T53" fmla="*/ 89403 h 278582"/>
              <a:gd name="T54" fmla="*/ 101290 w 197236"/>
              <a:gd name="T55" fmla="*/ 87186 h 278582"/>
              <a:gd name="T56" fmla="*/ 195697 w 197236"/>
              <a:gd name="T57" fmla="*/ 268621 h 278582"/>
              <a:gd name="T58" fmla="*/ 130504 w 197236"/>
              <a:gd name="T59" fmla="*/ 268621 h 278582"/>
              <a:gd name="T60" fmla="*/ 137656 w 197236"/>
              <a:gd name="T61" fmla="*/ 278326 h 278582"/>
              <a:gd name="T62" fmla="*/ 195697 w 197236"/>
              <a:gd name="T63" fmla="*/ 278326 h 278582"/>
              <a:gd name="T64" fmla="*/ 195697 w 197236"/>
              <a:gd name="T65" fmla="*/ 268621 h 278582"/>
              <a:gd name="T66" fmla="*/ 195697 w 197236"/>
              <a:gd name="T67" fmla="*/ 126230 h 278582"/>
              <a:gd name="T68" fmla="*/ 101498 w 197236"/>
              <a:gd name="T69" fmla="*/ 126230 h 278582"/>
              <a:gd name="T70" fmla="*/ 115302 w 197236"/>
              <a:gd name="T71" fmla="*/ 127643 h 278582"/>
              <a:gd name="T72" fmla="*/ 127709 w 197236"/>
              <a:gd name="T73" fmla="*/ 131559 h 278582"/>
              <a:gd name="T74" fmla="*/ 137656 w 197236"/>
              <a:gd name="T75" fmla="*/ 226900 h 278582"/>
              <a:gd name="T76" fmla="*/ 126106 w 197236"/>
              <a:gd name="T77" fmla="*/ 235854 h 278582"/>
              <a:gd name="T78" fmla="*/ 114903 w 197236"/>
              <a:gd name="T79" fmla="*/ 240870 h 278582"/>
              <a:gd name="T80" fmla="*/ 195697 w 197236"/>
              <a:gd name="T81" fmla="*/ 240870 h 278582"/>
              <a:gd name="T82" fmla="*/ 195697 w 197236"/>
              <a:gd name="T83" fmla="*/ 126230 h 278582"/>
              <a:gd name="T84" fmla="*/ 195697 w 197236"/>
              <a:gd name="T85" fmla="*/ 0 h 278582"/>
              <a:gd name="T86" fmla="*/ 137656 w 197236"/>
              <a:gd name="T87" fmla="*/ 0 h 278582"/>
              <a:gd name="T88" fmla="*/ 137656 w 197236"/>
              <a:gd name="T89" fmla="*/ 98351 h 278582"/>
              <a:gd name="T90" fmla="*/ 195697 w 197236"/>
              <a:gd name="T91" fmla="*/ 98351 h 278582"/>
              <a:gd name="T92" fmla="*/ 195697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41" name="object 22">
            <a:extLst>
              <a:ext uri="{FF2B5EF4-FFF2-40B4-BE49-F238E27FC236}">
                <a16:creationId xmlns:a16="http://schemas.microsoft.com/office/drawing/2014/main" id="{41B8DB30-5F4B-4C5A-9C7A-765061A92A39}"/>
              </a:ext>
            </a:extLst>
          </p:cNvPr>
          <p:cNvSpPr>
            <a:spLocks/>
          </p:cNvSpPr>
          <p:nvPr/>
        </p:nvSpPr>
        <p:spPr bwMode="auto">
          <a:xfrm>
            <a:off x="8653794" y="6394994"/>
            <a:ext cx="86183" cy="109104"/>
          </a:xfrm>
          <a:custGeom>
            <a:avLst/>
            <a:gdLst>
              <a:gd name="T0" fmla="*/ 59751 w 148435"/>
              <a:gd name="T1" fmla="*/ 3317 h 189286"/>
              <a:gd name="T2" fmla="*/ 0 w 148435"/>
              <a:gd name="T3" fmla="*/ 3317 h 189286"/>
              <a:gd name="T4" fmla="*/ 0 w 148435"/>
              <a:gd name="T5" fmla="*/ 187794 h 189286"/>
              <a:gd name="T6" fmla="*/ 59751 w 148435"/>
              <a:gd name="T7" fmla="*/ 187794 h 189286"/>
              <a:gd name="T8" fmla="*/ 61596 w 148435"/>
              <a:gd name="T9" fmla="*/ 103511 h 189286"/>
              <a:gd name="T10" fmla="*/ 68120 w 148435"/>
              <a:gd name="T11" fmla="*/ 89037 h 189286"/>
              <a:gd name="T12" fmla="*/ 104560 w 148435"/>
              <a:gd name="T13" fmla="*/ 56384 h 189286"/>
              <a:gd name="T14" fmla="*/ 108023 w 148435"/>
              <a:gd name="T15" fmla="*/ 56137 h 189286"/>
              <a:gd name="T16" fmla="*/ 59751 w 148435"/>
              <a:gd name="T17" fmla="*/ 56137 h 189286"/>
              <a:gd name="T18" fmla="*/ 59751 w 148435"/>
              <a:gd name="T19" fmla="*/ 3317 h 189286"/>
              <a:gd name="T20" fmla="*/ 145798 w 148435"/>
              <a:gd name="T21" fmla="*/ 55409 h 189286"/>
              <a:gd name="T22" fmla="*/ 118243 w 148435"/>
              <a:gd name="T23" fmla="*/ 55409 h 189286"/>
              <a:gd name="T24" fmla="*/ 129895 w 148435"/>
              <a:gd name="T25" fmla="*/ 59818 h 189286"/>
              <a:gd name="T26" fmla="*/ 144201 w 148435"/>
              <a:gd name="T27" fmla="*/ 67742 h 189286"/>
              <a:gd name="T28" fmla="*/ 145798 w 148435"/>
              <a:gd name="T29" fmla="*/ 55409 h 189286"/>
              <a:gd name="T30" fmla="*/ 116162 w 148435"/>
              <a:gd name="T31" fmla="*/ 0 h 189286"/>
              <a:gd name="T32" fmla="*/ 77630 w 148435"/>
              <a:gd name="T33" fmla="*/ 26287 h 189286"/>
              <a:gd name="T34" fmla="*/ 60569 w 148435"/>
              <a:gd name="T35" fmla="*/ 56137 h 189286"/>
              <a:gd name="T36" fmla="*/ 108023 w 148435"/>
              <a:gd name="T37" fmla="*/ 56137 h 189286"/>
              <a:gd name="T38" fmla="*/ 118243 w 148435"/>
              <a:gd name="T39" fmla="*/ 55409 h 189286"/>
              <a:gd name="T40" fmla="*/ 145798 w 148435"/>
              <a:gd name="T41" fmla="*/ 55409 h 189286"/>
              <a:gd name="T42" fmla="*/ 151620 w 148435"/>
              <a:gd name="T43" fmla="*/ 10373 h 189286"/>
              <a:gd name="T44" fmla="*/ 140006 w 148435"/>
              <a:gd name="T45" fmla="*/ 4193 h 189286"/>
              <a:gd name="T46" fmla="*/ 128731 w 148435"/>
              <a:gd name="T47" fmla="*/ 865 h 189286"/>
              <a:gd name="T48" fmla="*/ 116162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42" name="object 23">
            <a:extLst>
              <a:ext uri="{FF2B5EF4-FFF2-40B4-BE49-F238E27FC236}">
                <a16:creationId xmlns:a16="http://schemas.microsoft.com/office/drawing/2014/main" id="{C9078EEC-9F94-465F-A0B9-15E43EDE3703}"/>
              </a:ext>
            </a:extLst>
          </p:cNvPr>
          <p:cNvSpPr>
            <a:spLocks/>
          </p:cNvSpPr>
          <p:nvPr/>
        </p:nvSpPr>
        <p:spPr bwMode="auto">
          <a:xfrm>
            <a:off x="8747312" y="6394994"/>
            <a:ext cx="111855" cy="111855"/>
          </a:xfrm>
          <a:custGeom>
            <a:avLst/>
            <a:gdLst>
              <a:gd name="T0" fmla="*/ 105303 w 193899"/>
              <a:gd name="T1" fmla="*/ 0 h 192655"/>
              <a:gd name="T2" fmla="*/ 59205 w 193899"/>
              <a:gd name="T3" fmla="*/ 8038 h 192655"/>
              <a:gd name="T4" fmla="*/ 25139 w 193899"/>
              <a:gd name="T5" fmla="*/ 30779 h 192655"/>
              <a:gd name="T6" fmla="*/ 4907 w 193899"/>
              <a:gd name="T7" fmla="*/ 65484 h 192655"/>
              <a:gd name="T8" fmla="*/ 0 w 193899"/>
              <a:gd name="T9" fmla="*/ 93917 h 192655"/>
              <a:gd name="T10" fmla="*/ 897 w 193899"/>
              <a:gd name="T11" fmla="*/ 109951 h 192655"/>
              <a:gd name="T12" fmla="*/ 14099 w 193899"/>
              <a:gd name="T13" fmla="*/ 150722 h 192655"/>
              <a:gd name="T14" fmla="*/ 41510 w 193899"/>
              <a:gd name="T15" fmla="*/ 179453 h 192655"/>
              <a:gd name="T16" fmla="*/ 81140 w 193899"/>
              <a:gd name="T17" fmla="*/ 194800 h 192655"/>
              <a:gd name="T18" fmla="*/ 106989 w 193899"/>
              <a:gd name="T19" fmla="*/ 196767 h 192655"/>
              <a:gd name="T20" fmla="*/ 118141 w 193899"/>
              <a:gd name="T21" fmla="*/ 196456 h 192655"/>
              <a:gd name="T22" fmla="*/ 168434 w 193899"/>
              <a:gd name="T23" fmla="*/ 184777 h 192655"/>
              <a:gd name="T24" fmla="*/ 184735 w 193899"/>
              <a:gd name="T25" fmla="*/ 161173 h 192655"/>
              <a:gd name="T26" fmla="*/ 130724 w 193899"/>
              <a:gd name="T27" fmla="*/ 161173 h 192655"/>
              <a:gd name="T28" fmla="*/ 112313 w 193899"/>
              <a:gd name="T29" fmla="*/ 160130 h 192655"/>
              <a:gd name="T30" fmla="*/ 74052 w 193899"/>
              <a:gd name="T31" fmla="*/ 143109 h 192655"/>
              <a:gd name="T32" fmla="*/ 60117 w 193899"/>
              <a:gd name="T33" fmla="*/ 108064 h 192655"/>
              <a:gd name="T34" fmla="*/ 193005 w 193899"/>
              <a:gd name="T35" fmla="*/ 108064 h 192655"/>
              <a:gd name="T36" fmla="*/ 192695 w 193899"/>
              <a:gd name="T37" fmla="*/ 90796 h 192655"/>
              <a:gd name="T38" fmla="*/ 190675 w 193899"/>
              <a:gd name="T39" fmla="*/ 76753 h 192655"/>
              <a:gd name="T40" fmla="*/ 61319 w 193899"/>
              <a:gd name="T41" fmla="*/ 76753 h 192655"/>
              <a:gd name="T42" fmla="*/ 64703 w 193899"/>
              <a:gd name="T43" fmla="*/ 60914 h 192655"/>
              <a:gd name="T44" fmla="*/ 71465 w 193899"/>
              <a:gd name="T45" fmla="*/ 48616 h 192655"/>
              <a:gd name="T46" fmla="*/ 81319 w 193899"/>
              <a:gd name="T47" fmla="*/ 40130 h 192655"/>
              <a:gd name="T48" fmla="*/ 93967 w 193899"/>
              <a:gd name="T49" fmla="*/ 35727 h 192655"/>
              <a:gd name="T50" fmla="*/ 101456 w 193899"/>
              <a:gd name="T51" fmla="*/ 35141 h 192655"/>
              <a:gd name="T52" fmla="*/ 172508 w 193899"/>
              <a:gd name="T53" fmla="*/ 35141 h 192655"/>
              <a:gd name="T54" fmla="*/ 164464 w 193899"/>
              <a:gd name="T55" fmla="*/ 25907 h 192655"/>
              <a:gd name="T56" fmla="*/ 154515 w 193899"/>
              <a:gd name="T57" fmla="*/ 17468 h 192655"/>
              <a:gd name="T58" fmla="*/ 143476 w 193899"/>
              <a:gd name="T59" fmla="*/ 10621 h 192655"/>
              <a:gd name="T60" fmla="*/ 131497 w 193899"/>
              <a:gd name="T61" fmla="*/ 5403 h 192655"/>
              <a:gd name="T62" fmla="*/ 118723 w 193899"/>
              <a:gd name="T63" fmla="*/ 1853 h 192655"/>
              <a:gd name="T64" fmla="*/ 105303 w 193899"/>
              <a:gd name="T65" fmla="*/ 0 h 192655"/>
              <a:gd name="T66" fmla="*/ 189794 w 193899"/>
              <a:gd name="T67" fmla="*/ 134423 h 192655"/>
              <a:gd name="T68" fmla="*/ 152962 w 193899"/>
              <a:gd name="T69" fmla="*/ 155971 h 192655"/>
              <a:gd name="T70" fmla="*/ 130724 w 193899"/>
              <a:gd name="T71" fmla="*/ 161173 h 192655"/>
              <a:gd name="T72" fmla="*/ 184735 w 193899"/>
              <a:gd name="T73" fmla="*/ 161173 h 192655"/>
              <a:gd name="T74" fmla="*/ 189794 w 193899"/>
              <a:gd name="T75" fmla="*/ 134423 h 192655"/>
              <a:gd name="T76" fmla="*/ 172508 w 193899"/>
              <a:gd name="T77" fmla="*/ 35141 h 192655"/>
              <a:gd name="T78" fmla="*/ 101456 w 193899"/>
              <a:gd name="T79" fmla="*/ 35141 h 192655"/>
              <a:gd name="T80" fmla="*/ 115276 w 193899"/>
              <a:gd name="T81" fmla="*/ 37389 h 192655"/>
              <a:gd name="T82" fmla="*/ 126599 w 193899"/>
              <a:gd name="T83" fmla="*/ 43896 h 192655"/>
              <a:gd name="T84" fmla="*/ 135061 w 193899"/>
              <a:gd name="T85" fmla="*/ 54313 h 192655"/>
              <a:gd name="T86" fmla="*/ 140292 w 193899"/>
              <a:gd name="T87" fmla="*/ 68292 h 192655"/>
              <a:gd name="T88" fmla="*/ 61319 w 193899"/>
              <a:gd name="T89" fmla="*/ 76753 h 192655"/>
              <a:gd name="T90" fmla="*/ 190675 w 193899"/>
              <a:gd name="T91" fmla="*/ 76753 h 192655"/>
              <a:gd name="T92" fmla="*/ 190410 w 193899"/>
              <a:gd name="T93" fmla="*/ 74910 h 192655"/>
              <a:gd name="T94" fmla="*/ 186297 w 193899"/>
              <a:gd name="T95" fmla="*/ 60443 h 192655"/>
              <a:gd name="T96" fmla="*/ 180503 w 193899"/>
              <a:gd name="T97" fmla="*/ 47430 h 192655"/>
              <a:gd name="T98" fmla="*/ 173175 w 193899"/>
              <a:gd name="T99" fmla="*/ 35907 h 192655"/>
              <a:gd name="T100" fmla="*/ 172508 w 193899"/>
              <a:gd name="T101" fmla="*/ 35141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43" name="object 24">
            <a:extLst>
              <a:ext uri="{FF2B5EF4-FFF2-40B4-BE49-F238E27FC236}">
                <a16:creationId xmlns:a16="http://schemas.microsoft.com/office/drawing/2014/main" id="{53D5F26D-7946-4450-B41F-4A0ADD738BED}"/>
              </a:ext>
            </a:extLst>
          </p:cNvPr>
          <p:cNvSpPr>
            <a:spLocks/>
          </p:cNvSpPr>
          <p:nvPr/>
        </p:nvSpPr>
        <p:spPr bwMode="auto">
          <a:xfrm>
            <a:off x="8876587" y="6394994"/>
            <a:ext cx="108188" cy="109104"/>
          </a:xfrm>
          <a:custGeom>
            <a:avLst/>
            <a:gdLst>
              <a:gd name="T0" fmla="*/ 59216 w 186753"/>
              <a:gd name="T1" fmla="*/ 3491 h 189472"/>
              <a:gd name="T2" fmla="*/ 0 w 186753"/>
              <a:gd name="T3" fmla="*/ 3491 h 189472"/>
              <a:gd name="T4" fmla="*/ 0 w 186753"/>
              <a:gd name="T5" fmla="*/ 187242 h 189472"/>
              <a:gd name="T6" fmla="*/ 59216 w 186753"/>
              <a:gd name="T7" fmla="*/ 187242 h 189472"/>
              <a:gd name="T8" fmla="*/ 65512 w 186753"/>
              <a:gd name="T9" fmla="*/ 60200 h 189472"/>
              <a:gd name="T10" fmla="*/ 74811 w 186753"/>
              <a:gd name="T11" fmla="*/ 50113 h 189472"/>
              <a:gd name="T12" fmla="*/ 84563 w 186753"/>
              <a:gd name="T13" fmla="*/ 43599 h 189472"/>
              <a:gd name="T14" fmla="*/ 95799 w 186753"/>
              <a:gd name="T15" fmla="*/ 40282 h 189472"/>
              <a:gd name="T16" fmla="*/ 109545 w 186753"/>
              <a:gd name="T17" fmla="*/ 39782 h 189472"/>
              <a:gd name="T18" fmla="*/ 183434 w 186753"/>
              <a:gd name="T19" fmla="*/ 39782 h 189472"/>
              <a:gd name="T20" fmla="*/ 182427 w 186753"/>
              <a:gd name="T21" fmla="*/ 36627 h 189472"/>
              <a:gd name="T22" fmla="*/ 178236 w 186753"/>
              <a:gd name="T23" fmla="*/ 29795 h 189472"/>
              <a:gd name="T24" fmla="*/ 59216 w 186753"/>
              <a:gd name="T25" fmla="*/ 29795 h 189472"/>
              <a:gd name="T26" fmla="*/ 59216 w 186753"/>
              <a:gd name="T27" fmla="*/ 3491 h 189472"/>
              <a:gd name="T28" fmla="*/ 183434 w 186753"/>
              <a:gd name="T29" fmla="*/ 39782 h 189472"/>
              <a:gd name="T30" fmla="*/ 109545 w 186753"/>
              <a:gd name="T31" fmla="*/ 39782 h 189472"/>
              <a:gd name="T32" fmla="*/ 120149 w 186753"/>
              <a:gd name="T33" fmla="*/ 45859 h 189472"/>
              <a:gd name="T34" fmla="*/ 127246 w 186753"/>
              <a:gd name="T35" fmla="*/ 57508 h 189472"/>
              <a:gd name="T36" fmla="*/ 129835 w 186753"/>
              <a:gd name="T37" fmla="*/ 75241 h 189472"/>
              <a:gd name="T38" fmla="*/ 129835 w 186753"/>
              <a:gd name="T39" fmla="*/ 187242 h 189472"/>
              <a:gd name="T40" fmla="*/ 189052 w 186753"/>
              <a:gd name="T41" fmla="*/ 187242 h 189472"/>
              <a:gd name="T42" fmla="*/ 187319 w 186753"/>
              <a:gd name="T43" fmla="*/ 51956 h 189472"/>
              <a:gd name="T44" fmla="*/ 183434 w 186753"/>
              <a:gd name="T45" fmla="*/ 39782 h 189472"/>
              <a:gd name="T46" fmla="*/ 116094 w 186753"/>
              <a:gd name="T47" fmla="*/ 0 h 189472"/>
              <a:gd name="T48" fmla="*/ 69786 w 186753"/>
              <a:gd name="T49" fmla="*/ 19181 h 189472"/>
              <a:gd name="T50" fmla="*/ 59216 w 186753"/>
              <a:gd name="T51" fmla="*/ 29795 h 189472"/>
              <a:gd name="T52" fmla="*/ 178236 w 186753"/>
              <a:gd name="T53" fmla="*/ 29795 h 189472"/>
              <a:gd name="T54" fmla="*/ 141752 w 186753"/>
              <a:gd name="T55" fmla="*/ 3348 h 189472"/>
              <a:gd name="T56" fmla="*/ 116094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44" name="object 25">
            <a:extLst>
              <a:ext uri="{FF2B5EF4-FFF2-40B4-BE49-F238E27FC236}">
                <a16:creationId xmlns:a16="http://schemas.microsoft.com/office/drawing/2014/main" id="{3A804910-6667-4D26-B1F3-60C06B661659}"/>
              </a:ext>
            </a:extLst>
          </p:cNvPr>
          <p:cNvSpPr>
            <a:spLocks/>
          </p:cNvSpPr>
          <p:nvPr/>
        </p:nvSpPr>
        <p:spPr bwMode="auto">
          <a:xfrm>
            <a:off x="6621149" y="6108938"/>
            <a:ext cx="456589" cy="477676"/>
          </a:xfrm>
          <a:custGeom>
            <a:avLst/>
            <a:gdLst>
              <a:gd name="T0" fmla="*/ 66601 w 790525"/>
              <a:gd name="T1" fmla="*/ 162808 h 826770"/>
              <a:gd name="T2" fmla="*/ 78818 w 790525"/>
              <a:gd name="T3" fmla="*/ 207326 h 826770"/>
              <a:gd name="T4" fmla="*/ 31287 w 790525"/>
              <a:gd name="T5" fmla="*/ 292548 h 826770"/>
              <a:gd name="T6" fmla="*/ 426 w 790525"/>
              <a:gd name="T7" fmla="*/ 466806 h 826770"/>
              <a:gd name="T8" fmla="*/ 43649 w 790525"/>
              <a:gd name="T9" fmla="*/ 625800 h 826770"/>
              <a:gd name="T10" fmla="*/ 81030 w 790525"/>
              <a:gd name="T11" fmla="*/ 683037 h 826770"/>
              <a:gd name="T12" fmla="*/ 157264 w 790525"/>
              <a:gd name="T13" fmla="*/ 755537 h 826770"/>
              <a:gd name="T14" fmla="*/ 207251 w 790525"/>
              <a:gd name="T15" fmla="*/ 784793 h 826770"/>
              <a:gd name="T16" fmla="*/ 315829 w 790525"/>
              <a:gd name="T17" fmla="*/ 822950 h 826770"/>
              <a:gd name="T18" fmla="*/ 514399 w 790525"/>
              <a:gd name="T19" fmla="*/ 820406 h 826770"/>
              <a:gd name="T20" fmla="*/ 609484 w 790525"/>
              <a:gd name="T21" fmla="*/ 787337 h 826770"/>
              <a:gd name="T22" fmla="*/ 616428 w 790525"/>
              <a:gd name="T23" fmla="*/ 745362 h 826770"/>
              <a:gd name="T24" fmla="*/ 201678 w 790525"/>
              <a:gd name="T25" fmla="*/ 716106 h 826770"/>
              <a:gd name="T26" fmla="*/ 134187 w 790525"/>
              <a:gd name="T27" fmla="*/ 655054 h 826770"/>
              <a:gd name="T28" fmla="*/ 66507 w 790525"/>
              <a:gd name="T29" fmla="*/ 544394 h 826770"/>
              <a:gd name="T30" fmla="*/ 42329 w 790525"/>
              <a:gd name="T31" fmla="*/ 401936 h 826770"/>
              <a:gd name="T32" fmla="*/ 83765 w 790525"/>
              <a:gd name="T33" fmla="*/ 248030 h 826770"/>
              <a:gd name="T34" fmla="*/ 191944 w 790525"/>
              <a:gd name="T35" fmla="*/ 212414 h 826770"/>
              <a:gd name="T36" fmla="*/ 154523 w 790525"/>
              <a:gd name="T37" fmla="*/ 174258 h 826770"/>
              <a:gd name="T38" fmla="*/ 119452 w 790525"/>
              <a:gd name="T39" fmla="*/ 148818 h 826770"/>
              <a:gd name="T40" fmla="*/ 119288 w 790525"/>
              <a:gd name="T41" fmla="*/ 255662 h 826770"/>
              <a:gd name="T42" fmla="*/ 184014 w 790525"/>
              <a:gd name="T43" fmla="*/ 330708 h 826770"/>
              <a:gd name="T44" fmla="*/ 225246 w 790525"/>
              <a:gd name="T45" fmla="*/ 381584 h 826770"/>
              <a:gd name="T46" fmla="*/ 254375 w 790525"/>
              <a:gd name="T47" fmla="*/ 426102 h 826770"/>
              <a:gd name="T48" fmla="*/ 253878 w 790525"/>
              <a:gd name="T49" fmla="*/ 483340 h 826770"/>
              <a:gd name="T50" fmla="*/ 237200 w 790525"/>
              <a:gd name="T51" fmla="*/ 555842 h 826770"/>
              <a:gd name="T52" fmla="*/ 222850 w 790525"/>
              <a:gd name="T53" fmla="*/ 719924 h 826770"/>
              <a:gd name="T54" fmla="*/ 592803 w 790525"/>
              <a:gd name="T55" fmla="*/ 670318 h 826770"/>
              <a:gd name="T56" fmla="*/ 577688 w 790525"/>
              <a:gd name="T57" fmla="*/ 483340 h 826770"/>
              <a:gd name="T58" fmla="*/ 626540 w 790525"/>
              <a:gd name="T59" fmla="*/ 357418 h 826770"/>
              <a:gd name="T60" fmla="*/ 405916 w 790525"/>
              <a:gd name="T61" fmla="*/ 321802 h 826770"/>
              <a:gd name="T62" fmla="*/ 286633 w 790525"/>
              <a:gd name="T63" fmla="*/ 284916 h 826770"/>
              <a:gd name="T64" fmla="*/ 210579 w 790525"/>
              <a:gd name="T65" fmla="*/ 228952 h 826770"/>
              <a:gd name="T66" fmla="*/ 728729 w 790525"/>
              <a:gd name="T67" fmla="*/ 339610 h 826770"/>
              <a:gd name="T68" fmla="*/ 738887 w 790525"/>
              <a:gd name="T69" fmla="*/ 504963 h 826770"/>
              <a:gd name="T70" fmla="*/ 662252 w 790525"/>
              <a:gd name="T71" fmla="*/ 666500 h 826770"/>
              <a:gd name="T72" fmla="*/ 666443 w 790525"/>
              <a:gd name="T73" fmla="*/ 685581 h 826770"/>
              <a:gd name="T74" fmla="*/ 710503 w 790525"/>
              <a:gd name="T75" fmla="*/ 646150 h 826770"/>
              <a:gd name="T76" fmla="*/ 785928 w 790525"/>
              <a:gd name="T77" fmla="*/ 415926 h 826770"/>
              <a:gd name="T78" fmla="*/ 759425 w 790525"/>
              <a:gd name="T79" fmla="*/ 269652 h 826770"/>
              <a:gd name="T80" fmla="*/ 584089 w 790525"/>
              <a:gd name="T81" fmla="*/ 142460 h 826770"/>
              <a:gd name="T82" fmla="*/ 578400 w 790525"/>
              <a:gd name="T83" fmla="*/ 264564 h 826770"/>
              <a:gd name="T84" fmla="*/ 653240 w 790525"/>
              <a:gd name="T85" fmla="*/ 321802 h 826770"/>
              <a:gd name="T86" fmla="*/ 759425 w 790525"/>
              <a:gd name="T87" fmla="*/ 269652 h 826770"/>
              <a:gd name="T88" fmla="*/ 790185 w 790525"/>
              <a:gd name="T89" fmla="*/ 166626 h 826770"/>
              <a:gd name="T90" fmla="*/ 660945 w 790525"/>
              <a:gd name="T91" fmla="*/ 128466 h 826770"/>
              <a:gd name="T92" fmla="*/ 300718 w 790525"/>
              <a:gd name="T93" fmla="*/ 85222 h 826770"/>
              <a:gd name="T94" fmla="*/ 291988 w 790525"/>
              <a:gd name="T95" fmla="*/ 138642 h 826770"/>
              <a:gd name="T96" fmla="*/ 385277 w 790525"/>
              <a:gd name="T97" fmla="*/ 283646 h 826770"/>
              <a:gd name="T98" fmla="*/ 523363 w 790525"/>
              <a:gd name="T99" fmla="*/ 206056 h 826770"/>
              <a:gd name="T100" fmla="*/ 630222 w 790525"/>
              <a:gd name="T101" fmla="*/ 104300 h 826770"/>
              <a:gd name="T102" fmla="*/ 718389 w 790525"/>
              <a:gd name="T103" fmla="*/ 146274 h 826770"/>
              <a:gd name="T104" fmla="*/ 776563 w 790525"/>
              <a:gd name="T105" fmla="*/ 143730 h 826770"/>
              <a:gd name="T106" fmla="*/ 401575 w 790525"/>
              <a:gd name="T107" fmla="*/ 0 h 826770"/>
              <a:gd name="T108" fmla="*/ 238893 w 790525"/>
              <a:gd name="T109" fmla="*/ 73772 h 826770"/>
              <a:gd name="T110" fmla="*/ 152960 w 790525"/>
              <a:gd name="T111" fmla="*/ 129740 h 826770"/>
              <a:gd name="T112" fmla="*/ 177034 w 790525"/>
              <a:gd name="T113" fmla="*/ 142460 h 826770"/>
              <a:gd name="T114" fmla="*/ 231973 w 790525"/>
              <a:gd name="T115" fmla="*/ 109388 h 826770"/>
              <a:gd name="T116" fmla="*/ 575162 w 790525"/>
              <a:gd name="T117" fmla="*/ 72502 h 826770"/>
              <a:gd name="T118" fmla="*/ 503502 w 790525"/>
              <a:gd name="T119" fmla="*/ 47062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147" name="Title 1">
            <a:extLst>
              <a:ext uri="{FF2B5EF4-FFF2-40B4-BE49-F238E27FC236}">
                <a16:creationId xmlns:a16="http://schemas.microsoft.com/office/drawing/2014/main" id="{473EFE80-615A-4B07-BD8B-00E0B10D81E0}"/>
              </a:ext>
            </a:extLst>
          </p:cNvPr>
          <p:cNvSpPr>
            <a:spLocks noGrp="1"/>
          </p:cNvSpPr>
          <p:nvPr>
            <p:ph type="title"/>
          </p:nvPr>
        </p:nvSpPr>
        <p:spPr>
          <a:xfrm>
            <a:off x="327009" y="163198"/>
            <a:ext cx="8076487" cy="1067207"/>
          </a:xfrm>
        </p:spPr>
        <p:txBody>
          <a:bodyPr/>
          <a:lstStyle/>
          <a:p>
            <a:pPr algn="ctr" eaLnBrk="1" hangingPunct="1"/>
            <a:r>
              <a:rPr lang="en-US" altLang="en-US" dirty="0" err="1"/>
              <a:t>စိတ်ဖိစီးမှု</a:t>
            </a:r>
            <a:r>
              <a:rPr lang="en-US" altLang="en-US" dirty="0"/>
              <a:t> </a:t>
            </a:r>
            <a:r>
              <a:rPr lang="en-US" altLang="en-US" dirty="0" err="1"/>
              <a:t>ပုံစံ</a:t>
            </a:r>
            <a:endParaRPr lang="en-US" altLang="en-US" dirty="0"/>
          </a:p>
        </p:txBody>
      </p:sp>
      <p:sp>
        <p:nvSpPr>
          <p:cNvPr id="35" name="object 35">
            <a:extLst>
              <a:ext uri="{FF2B5EF4-FFF2-40B4-BE49-F238E27FC236}">
                <a16:creationId xmlns:a16="http://schemas.microsoft.com/office/drawing/2014/main" id="{4EE35C5D-994C-47AA-98C7-B0472A053D74}"/>
              </a:ext>
            </a:extLst>
          </p:cNvPr>
          <p:cNvSpPr>
            <a:spLocks noGrp="1"/>
          </p:cNvSpPr>
          <p:nvPr>
            <p:ph type="ftr" sz="quarter" idx="11"/>
          </p:nvPr>
        </p:nvSpPr>
        <p:spPr/>
        <p:txBody>
          <a:bodyPr vert="horz" rtlCol="0"/>
          <a:lstStyle/>
          <a:p>
            <a:pPr>
              <a:defRPr/>
            </a:pPr>
            <a:r>
              <a:t>Se</a:t>
            </a:r>
            <a:r>
              <a:rPr spc="9"/>
              <a:t>c</a:t>
            </a:r>
            <a:r>
              <a:rPr spc="12"/>
              <a:t>t</a:t>
            </a:r>
            <a:r>
              <a:rPr spc="-6"/>
              <a:t>i</a:t>
            </a:r>
            <a:r>
              <a:t>on</a:t>
            </a:r>
            <a:r>
              <a:rPr spc="3"/>
              <a:t> </a:t>
            </a:r>
            <a:r>
              <a:rPr spc="17"/>
              <a:t>C</a:t>
            </a:r>
            <a:r>
              <a:t>:</a:t>
            </a:r>
          </a:p>
        </p:txBody>
      </p:sp>
      <p:sp>
        <p:nvSpPr>
          <p:cNvPr id="34" name="object 34">
            <a:extLst>
              <a:ext uri="{FF2B5EF4-FFF2-40B4-BE49-F238E27FC236}">
                <a16:creationId xmlns:a16="http://schemas.microsoft.com/office/drawing/2014/main" id="{401BD6B7-D02F-4549-8534-F1D96BC96340}"/>
              </a:ext>
            </a:extLst>
          </p:cNvPr>
          <p:cNvSpPr txBox="1"/>
          <p:nvPr/>
        </p:nvSpPr>
        <p:spPr>
          <a:xfrm>
            <a:off x="9056779" y="5308143"/>
            <a:ext cx="69313" cy="453288"/>
          </a:xfrm>
          <a:prstGeom prst="rect">
            <a:avLst/>
          </a:prstGeom>
        </p:spPr>
        <p:txBody>
          <a:bodyPr vert="vert270" lIns="0" tIns="0" rIns="0" bIns="0"/>
          <a:lstStyle/>
          <a:p>
            <a:pPr marL="7334">
              <a:defRPr/>
            </a:pPr>
            <a:r>
              <a:rPr sz="404" dirty="0">
                <a:solidFill>
                  <a:srgbClr val="FFFFFF"/>
                </a:solidFill>
                <a:latin typeface="Gill Sans"/>
                <a:cs typeface="Gill Sans"/>
              </a:rPr>
              <a:t>Sten G</a:t>
            </a:r>
            <a:r>
              <a:rPr sz="404" spc="-12" dirty="0">
                <a:solidFill>
                  <a:srgbClr val="FFFFFF"/>
                </a:solidFill>
                <a:latin typeface="Gill Sans"/>
                <a:cs typeface="Gill Sans"/>
              </a:rPr>
              <a:t>r</a:t>
            </a:r>
            <a:r>
              <a:rPr sz="404" spc="-6" dirty="0">
                <a:solidFill>
                  <a:srgbClr val="FFFFFF"/>
                </a:solidFill>
                <a:latin typeface="Gill Sans"/>
                <a:cs typeface="Gill Sans"/>
              </a:rPr>
              <a:t>o</a:t>
            </a:r>
            <a:r>
              <a:rPr sz="404" spc="-9" dirty="0">
                <a:solidFill>
                  <a:srgbClr val="FFFFFF"/>
                </a:solidFill>
                <a:latin typeface="Gill Sans"/>
                <a:cs typeface="Gill Sans"/>
              </a:rPr>
              <a:t>v</a:t>
            </a:r>
            <a:r>
              <a:rPr sz="404" dirty="0">
                <a:solidFill>
                  <a:srgbClr val="FFFFFF"/>
                </a:solidFill>
                <a:latin typeface="Gill Sans"/>
                <a:cs typeface="Gill Sans"/>
              </a:rPr>
              <a:t>e</a:t>
            </a:r>
            <a:r>
              <a:rPr sz="404" spc="-52" dirty="0">
                <a:solidFill>
                  <a:srgbClr val="FFFFFF"/>
                </a:solidFill>
                <a:latin typeface="Gill Sans"/>
                <a:cs typeface="Gill Sans"/>
              </a:rPr>
              <a:t> </a:t>
            </a:r>
            <a:r>
              <a:rPr sz="404" dirty="0">
                <a:solidFill>
                  <a:srgbClr val="FFFFFF"/>
                </a:solidFill>
                <a:latin typeface="Gill Sans"/>
                <a:cs typeface="Gill Sans"/>
              </a:rPr>
              <a:t>Thomsen</a:t>
            </a:r>
            <a:endParaRPr sz="404">
              <a:latin typeface="Gill Sans"/>
              <a:cs typeface="Gill Sans"/>
            </a:endParaRPr>
          </a:p>
        </p:txBody>
      </p:sp>
      <p:graphicFrame>
        <p:nvGraphicFramePr>
          <p:cNvPr id="2" name="Diagram 1">
            <a:extLst>
              <a:ext uri="{FF2B5EF4-FFF2-40B4-BE49-F238E27FC236}">
                <a16:creationId xmlns:a16="http://schemas.microsoft.com/office/drawing/2014/main" id="{2CFB87C0-F683-477F-AB27-03BEA7CE9578}"/>
              </a:ext>
            </a:extLst>
          </p:cNvPr>
          <p:cNvGraphicFramePr/>
          <p:nvPr>
            <p:extLst>
              <p:ext uri="{D42A27DB-BD31-4B8C-83A1-F6EECF244321}">
                <p14:modId xmlns:p14="http://schemas.microsoft.com/office/powerpoint/2010/main" val="2427257539"/>
              </p:ext>
            </p:extLst>
          </p:nvPr>
        </p:nvGraphicFramePr>
        <p:xfrm>
          <a:off x="-753035" y="1103882"/>
          <a:ext cx="9737810" cy="40746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 name="object 6">
            <a:extLst>
              <a:ext uri="{FF2B5EF4-FFF2-40B4-BE49-F238E27FC236}">
                <a16:creationId xmlns:a16="http://schemas.microsoft.com/office/drawing/2014/main" id="{366E332C-7FBE-45B8-AC56-BCDB42E62EF4}"/>
              </a:ext>
            </a:extLst>
          </p:cNvPr>
          <p:cNvSpPr>
            <a:spLocks/>
          </p:cNvSpPr>
          <p:nvPr/>
        </p:nvSpPr>
        <p:spPr bwMode="auto">
          <a:xfrm>
            <a:off x="8578816" y="4164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srgbClr val="222221"/>
              </a:solidFill>
              <a:effectLst/>
              <a:uLnTx/>
              <a:uFillTx/>
              <a:latin typeface="Gill Sans MT"/>
              <a:ea typeface="+mn-ea"/>
              <a:cs typeface="+mn-cs"/>
            </a:endParaRPr>
          </a:p>
        </p:txBody>
      </p:sp>
      <p:sp>
        <p:nvSpPr>
          <p:cNvPr id="30" name="object 7">
            <a:extLst>
              <a:ext uri="{FF2B5EF4-FFF2-40B4-BE49-F238E27FC236}">
                <a16:creationId xmlns:a16="http://schemas.microsoft.com/office/drawing/2014/main" id="{D9871C85-217C-460C-9F21-FAC5568B3DD6}"/>
              </a:ext>
            </a:extLst>
          </p:cNvPr>
          <p:cNvSpPr txBox="1">
            <a:spLocks noChangeArrowheads="1"/>
          </p:cNvSpPr>
          <p:nvPr/>
        </p:nvSpPr>
        <p:spPr bwMode="auto">
          <a:xfrm>
            <a:off x="8732846" y="427453"/>
            <a:ext cx="166866"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5</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027E63FF-0589-40D4-AA3D-614A7DB43256}"/>
              </a:ext>
            </a:extLst>
          </p:cNvPr>
          <p:cNvGraphicFramePr>
            <a:graphicFrameLocks noGrp="1"/>
          </p:cNvGraphicFramePr>
          <p:nvPr>
            <p:ph idx="1"/>
            <p:extLst>
              <p:ext uri="{D42A27DB-BD31-4B8C-83A1-F6EECF244321}">
                <p14:modId xmlns:p14="http://schemas.microsoft.com/office/powerpoint/2010/main" val="4258416945"/>
              </p:ext>
            </p:extLst>
          </p:nvPr>
        </p:nvGraphicFramePr>
        <p:xfrm>
          <a:off x="-268941" y="1430278"/>
          <a:ext cx="9159281" cy="5167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147" name="object 26">
            <a:extLst>
              <a:ext uri="{FF2B5EF4-FFF2-40B4-BE49-F238E27FC236}">
                <a16:creationId xmlns:a16="http://schemas.microsoft.com/office/drawing/2014/main" id="{998385A0-AB2A-4A1E-918E-A516DC5CE332}"/>
              </a:ext>
            </a:extLst>
          </p:cNvPr>
          <p:cNvSpPr>
            <a:spLocks noGrp="1" noChangeArrowheads="1"/>
          </p:cNvSpPr>
          <p:nvPr>
            <p:ph type="title"/>
          </p:nvPr>
        </p:nvSpPr>
        <p:spPr>
          <a:xfrm>
            <a:off x="479204" y="93518"/>
            <a:ext cx="7883033" cy="897082"/>
          </a:xfrm>
        </p:spPr>
        <p:txBody>
          <a:bodyPr vert="horz" lIns="0" tIns="437666" rIns="0" bIns="0" rtlCol="0" anchor="ctr">
            <a:noAutofit/>
          </a:bodyPr>
          <a:lstStyle/>
          <a:p>
            <a:pPr marL="7334"/>
            <a:r>
              <a:rPr lang="en-US" altLang="en-US" sz="3200" dirty="0" err="1"/>
              <a:t>စိတ်ဖိစီးမှုဖြစ်စေသော</a:t>
            </a:r>
            <a:r>
              <a:rPr lang="en-US" altLang="en-US" sz="3200" dirty="0"/>
              <a:t> </a:t>
            </a:r>
            <a:r>
              <a:rPr lang="en-US" altLang="en-US" sz="3200" dirty="0" err="1"/>
              <a:t>အကြောင်းအရင်းများ</a:t>
            </a:r>
            <a:r>
              <a:rPr lang="en-US" altLang="en-US" sz="3200" dirty="0"/>
              <a:t>?</a:t>
            </a:r>
          </a:p>
        </p:txBody>
      </p:sp>
      <p:sp>
        <p:nvSpPr>
          <p:cNvPr id="4" name="object 6">
            <a:extLst>
              <a:ext uri="{FF2B5EF4-FFF2-40B4-BE49-F238E27FC236}">
                <a16:creationId xmlns:a16="http://schemas.microsoft.com/office/drawing/2014/main" id="{FCFF56CA-211F-473C-92A9-ED15F697ABD2}"/>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srgbClr val="222221"/>
              </a:solidFill>
              <a:effectLst/>
              <a:uLnTx/>
              <a:uFillTx/>
              <a:latin typeface="Gill Sans MT"/>
              <a:ea typeface="+mn-ea"/>
              <a:cs typeface="+mn-cs"/>
            </a:endParaRPr>
          </a:p>
        </p:txBody>
      </p:sp>
      <p:sp>
        <p:nvSpPr>
          <p:cNvPr id="6" name="object 7">
            <a:extLst>
              <a:ext uri="{FF2B5EF4-FFF2-40B4-BE49-F238E27FC236}">
                <a16:creationId xmlns:a16="http://schemas.microsoft.com/office/drawing/2014/main" id="{1D87519B-4CFA-4603-A16A-D1A3A83E433C}"/>
              </a:ext>
            </a:extLst>
          </p:cNvPr>
          <p:cNvSpPr txBox="1">
            <a:spLocks noChangeArrowheads="1"/>
          </p:cNvSpPr>
          <p:nvPr/>
        </p:nvSpPr>
        <p:spPr bwMode="auto">
          <a:xfrm>
            <a:off x="8580446" y="275053"/>
            <a:ext cx="166866"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lang="en-US" altLang="en-US" sz="2021" b="1" dirty="0">
                <a:solidFill>
                  <a:srgbClr val="ED1C24"/>
                </a:solidFill>
                <a:latin typeface="Gill Sans" pitchFamily="34" charset="0"/>
                <a:cs typeface="Gill Sans" pitchFamily="34" charset="0"/>
              </a:rPr>
              <a:t>6</a:t>
            </a:r>
            <a:endPar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object 2">
            <a:extLst>
              <a:ext uri="{FF2B5EF4-FFF2-40B4-BE49-F238E27FC236}">
                <a16:creationId xmlns:a16="http://schemas.microsoft.com/office/drawing/2014/main" id="{CACB6BCA-F05B-4F76-B488-F74681AB04D9}"/>
              </a:ext>
            </a:extLst>
          </p:cNvPr>
          <p:cNvSpPr>
            <a:spLocks/>
          </p:cNvSpPr>
          <p:nvPr/>
        </p:nvSpPr>
        <p:spPr bwMode="auto">
          <a:xfrm>
            <a:off x="2445" y="5795377"/>
            <a:ext cx="9140027" cy="118273"/>
          </a:xfrm>
          <a:custGeom>
            <a:avLst/>
            <a:gdLst>
              <a:gd name="T0" fmla="*/ 0 w 15825596"/>
              <a:gd name="T1" fmla="*/ 0 h 204177"/>
              <a:gd name="T2" fmla="*/ 0 w 15825596"/>
              <a:gd name="T3" fmla="*/ 206628 h 204177"/>
              <a:gd name="T4" fmla="*/ 15826364 w 15825596"/>
              <a:gd name="T5" fmla="*/ 206628 h 204177"/>
              <a:gd name="T6" fmla="*/ 15826364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195" name="object 3">
            <a:extLst>
              <a:ext uri="{FF2B5EF4-FFF2-40B4-BE49-F238E27FC236}">
                <a16:creationId xmlns:a16="http://schemas.microsoft.com/office/drawing/2014/main" id="{3B79E62B-F5B0-43E8-AF76-A3080F5FD802}"/>
              </a:ext>
            </a:extLst>
          </p:cNvPr>
          <p:cNvSpPr>
            <a:spLocks/>
          </p:cNvSpPr>
          <p:nvPr/>
        </p:nvSpPr>
        <p:spPr bwMode="auto">
          <a:xfrm>
            <a:off x="2445" y="5603756"/>
            <a:ext cx="1435779"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196" name="object 4">
            <a:extLst>
              <a:ext uri="{FF2B5EF4-FFF2-40B4-BE49-F238E27FC236}">
                <a16:creationId xmlns:a16="http://schemas.microsoft.com/office/drawing/2014/main" id="{C9134121-3963-4282-A60A-6973FC02D95A}"/>
              </a:ext>
            </a:extLst>
          </p:cNvPr>
          <p:cNvSpPr>
            <a:spLocks/>
          </p:cNvSpPr>
          <p:nvPr/>
        </p:nvSpPr>
        <p:spPr bwMode="auto">
          <a:xfrm>
            <a:off x="2445" y="0"/>
            <a:ext cx="9140027"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197" name="object 5">
            <a:extLst>
              <a:ext uri="{FF2B5EF4-FFF2-40B4-BE49-F238E27FC236}">
                <a16:creationId xmlns:a16="http://schemas.microsoft.com/office/drawing/2014/main" id="{2D8F2F0B-1FC8-4504-AC45-B50CCD7DA49E}"/>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198" name="object 6">
            <a:extLst>
              <a:ext uri="{FF2B5EF4-FFF2-40B4-BE49-F238E27FC236}">
                <a16:creationId xmlns:a16="http://schemas.microsoft.com/office/drawing/2014/main" id="{2390822A-380C-4915-AE18-80A545C0EA4A}"/>
              </a:ext>
            </a:extLst>
          </p:cNvPr>
          <p:cNvSpPr txBox="1">
            <a:spLocks noChangeArrowheads="1"/>
          </p:cNvSpPr>
          <p:nvPr/>
        </p:nvSpPr>
        <p:spPr bwMode="auto">
          <a:xfrm>
            <a:off x="8580446" y="275053"/>
            <a:ext cx="166866"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7</a:t>
            </a:r>
            <a:endParaRPr lang="en-US" altLang="en-US" sz="2021" dirty="0">
              <a:latin typeface="Gill Sans" pitchFamily="34" charset="0"/>
              <a:cs typeface="Gill Sans" pitchFamily="34" charset="0"/>
            </a:endParaRPr>
          </a:p>
        </p:txBody>
      </p:sp>
      <p:sp>
        <p:nvSpPr>
          <p:cNvPr id="8216" name="object 24">
            <a:extLst>
              <a:ext uri="{FF2B5EF4-FFF2-40B4-BE49-F238E27FC236}">
                <a16:creationId xmlns:a16="http://schemas.microsoft.com/office/drawing/2014/main" id="{FF30D856-6FAD-46D2-93B3-7ECDE8B4BA20}"/>
              </a:ext>
            </a:extLst>
          </p:cNvPr>
          <p:cNvSpPr txBox="1">
            <a:spLocks noChangeArrowheads="1"/>
          </p:cNvSpPr>
          <p:nvPr/>
        </p:nvSpPr>
        <p:spPr bwMode="auto">
          <a:xfrm>
            <a:off x="367438" y="322671"/>
            <a:ext cx="7347173" cy="1532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50000"/>
              </a:lnSpc>
              <a:spcBef>
                <a:spcPct val="0"/>
              </a:spcBef>
              <a:buFontTx/>
              <a:buNone/>
            </a:pPr>
            <a:r>
              <a:rPr lang="en-US" altLang="en-US" sz="3292" dirty="0" err="1">
                <a:solidFill>
                  <a:schemeClr val="bg1"/>
                </a:solidFill>
                <a:latin typeface="Gill Sans" pitchFamily="34" charset="0"/>
                <a:ea typeface="Gill Sans Light"/>
                <a:cs typeface="Gill Sans Light"/>
              </a:rPr>
              <a:t>စိတ်ဖိစီးမှုနဲ</a:t>
            </a:r>
            <a:r>
              <a:rPr lang="en-US" altLang="en-US" sz="3292" dirty="0">
                <a:solidFill>
                  <a:schemeClr val="bg1"/>
                </a:solidFill>
                <a:latin typeface="Gill Sans" pitchFamily="34" charset="0"/>
                <a:ea typeface="Gill Sans Light"/>
                <a:cs typeface="Gill Sans Light"/>
              </a:rPr>
              <a:t>့ </a:t>
            </a:r>
            <a:r>
              <a:rPr lang="en-US" altLang="en-US" sz="3292" dirty="0" err="1">
                <a:solidFill>
                  <a:schemeClr val="bg1"/>
                </a:solidFill>
                <a:latin typeface="Gill Sans" pitchFamily="34" charset="0"/>
                <a:ea typeface="Gill Sans Light"/>
                <a:cs typeface="Gill Sans Light"/>
              </a:rPr>
              <a:t>သက်သာအောင်လုပ်တဲ</a:t>
            </a:r>
            <a:r>
              <a:rPr lang="en-US" altLang="en-US" sz="3292" dirty="0">
                <a:solidFill>
                  <a:schemeClr val="bg1"/>
                </a:solidFill>
                <a:latin typeface="Gill Sans" pitchFamily="34" charset="0"/>
                <a:ea typeface="Gill Sans Light"/>
                <a:cs typeface="Gill Sans Light"/>
              </a:rPr>
              <a:t>့ </a:t>
            </a:r>
            <a:r>
              <a:rPr lang="en-US" altLang="en-US" sz="3292" dirty="0" err="1">
                <a:latin typeface="Gill Sans" pitchFamily="34" charset="0"/>
                <a:ea typeface="Gill Sans Light"/>
                <a:cs typeface="Gill Sans Light"/>
              </a:rPr>
              <a:t>နည်းလမ်း</a:t>
            </a:r>
            <a:r>
              <a:rPr lang="en-US" altLang="en-US" sz="3292" dirty="0">
                <a:latin typeface="Gill Sans" pitchFamily="34" charset="0"/>
                <a:ea typeface="Gill Sans Light"/>
                <a:cs typeface="Gill Sans Light"/>
              </a:rPr>
              <a:t> </a:t>
            </a:r>
            <a:r>
              <a:rPr lang="en-US" altLang="en-US" sz="3292" dirty="0" err="1">
                <a:latin typeface="Gill Sans" pitchFamily="34" charset="0"/>
                <a:ea typeface="Gill Sans Light"/>
                <a:cs typeface="Gill Sans Light"/>
              </a:rPr>
              <a:t>မမ</a:t>
            </a:r>
            <a:r>
              <a:rPr lang="en-US" altLang="en-US" sz="3292" dirty="0">
                <a:latin typeface="Gill Sans" pitchFamily="34" charset="0"/>
                <a:ea typeface="Gill Sans Light"/>
                <a:cs typeface="Gill Sans Light"/>
              </a:rPr>
              <a:t>ျှ</a:t>
            </a:r>
            <a:r>
              <a:rPr lang="en-US" altLang="en-US" sz="3292" dirty="0" err="1">
                <a:latin typeface="Gill Sans" pitchFamily="34" charset="0"/>
                <a:ea typeface="Gill Sans Light"/>
                <a:cs typeface="Gill Sans Light"/>
              </a:rPr>
              <a:t>တသောအခ</a:t>
            </a:r>
            <a:r>
              <a:rPr lang="en-US" altLang="en-US" sz="3292" dirty="0">
                <a:latin typeface="Gill Sans" pitchFamily="34" charset="0"/>
                <a:ea typeface="Gill Sans Light"/>
                <a:cs typeface="Gill Sans Light"/>
              </a:rPr>
              <a:t>ါ</a:t>
            </a:r>
            <a:endParaRPr lang="en-US" altLang="en-US" sz="3292" dirty="0">
              <a:latin typeface="Gill Sans Light"/>
              <a:ea typeface="Gill Sans Light"/>
              <a:cs typeface="Gill Sans Light"/>
            </a:endParaRPr>
          </a:p>
        </p:txBody>
      </p:sp>
      <p:sp>
        <p:nvSpPr>
          <p:cNvPr id="8217" name="object 26">
            <a:extLst>
              <a:ext uri="{FF2B5EF4-FFF2-40B4-BE49-F238E27FC236}">
                <a16:creationId xmlns:a16="http://schemas.microsoft.com/office/drawing/2014/main" id="{202D2723-B02C-413A-83DB-6DF79565D239}"/>
              </a:ext>
            </a:extLst>
          </p:cNvPr>
          <p:cNvSpPr>
            <a:spLocks/>
          </p:cNvSpPr>
          <p:nvPr/>
        </p:nvSpPr>
        <p:spPr bwMode="auto">
          <a:xfrm>
            <a:off x="4876393" y="2515822"/>
            <a:ext cx="1389020" cy="2171089"/>
          </a:xfrm>
          <a:custGeom>
            <a:avLst/>
            <a:gdLst>
              <a:gd name="T0" fmla="*/ 2333479 w 2405138"/>
              <a:gd name="T1" fmla="*/ 3759200 h 3759200"/>
              <a:gd name="T2" fmla="*/ 115223 w 2405138"/>
              <a:gd name="T3" fmla="*/ 3746500 h 3759200"/>
              <a:gd name="T4" fmla="*/ 62445 w 2405138"/>
              <a:gd name="T5" fmla="*/ 3429000 h 3759200"/>
              <a:gd name="T6" fmla="*/ 2790 w 2405138"/>
              <a:gd name="T7" fmla="*/ 3543300 h 3759200"/>
              <a:gd name="T8" fmla="*/ 10870 w 2405138"/>
              <a:gd name="T9" fmla="*/ 3632200 h 3759200"/>
              <a:gd name="T10" fmla="*/ 2392001 w 2405138"/>
              <a:gd name="T11" fmla="*/ 3733800 h 3759200"/>
              <a:gd name="T12" fmla="*/ 2479290 w 2405138"/>
              <a:gd name="T13" fmla="*/ 3568700 h 3759200"/>
              <a:gd name="T14" fmla="*/ 2468420 w 2405138"/>
              <a:gd name="T15" fmla="*/ 3505200 h 3759200"/>
              <a:gd name="T16" fmla="*/ 2378396 w 2405138"/>
              <a:gd name="T17" fmla="*/ 3403600 h 3759200"/>
              <a:gd name="T18" fmla="*/ 2404838 w 2405138"/>
              <a:gd name="T19" fmla="*/ 3429000 h 3759200"/>
              <a:gd name="T20" fmla="*/ 130216 w 2405138"/>
              <a:gd name="T21" fmla="*/ 3390900 h 3759200"/>
              <a:gd name="T22" fmla="*/ 2317328 w 2405138"/>
              <a:gd name="T23" fmla="*/ 3378200 h 3759200"/>
              <a:gd name="T24" fmla="*/ 2317328 w 2405138"/>
              <a:gd name="T25" fmla="*/ 3378200 h 3759200"/>
              <a:gd name="T26" fmla="*/ 446621 w 2405138"/>
              <a:gd name="T27" fmla="*/ 3162300 h 3759200"/>
              <a:gd name="T28" fmla="*/ 405673 w 2405138"/>
              <a:gd name="T29" fmla="*/ 3263900 h 3759200"/>
              <a:gd name="T30" fmla="*/ 444084 w 2405138"/>
              <a:gd name="T31" fmla="*/ 3352800 h 3759200"/>
              <a:gd name="T32" fmla="*/ 2020193 w 2405138"/>
              <a:gd name="T33" fmla="*/ 3365500 h 3759200"/>
              <a:gd name="T34" fmla="*/ 2054380 w 2405138"/>
              <a:gd name="T35" fmla="*/ 3327400 h 3759200"/>
              <a:gd name="T36" fmla="*/ 2072706 w 2405138"/>
              <a:gd name="T37" fmla="*/ 3276600 h 3759200"/>
              <a:gd name="T38" fmla="*/ 2025960 w 2405138"/>
              <a:gd name="T39" fmla="*/ 3149600 h 3759200"/>
              <a:gd name="T40" fmla="*/ 479726 w 2405138"/>
              <a:gd name="T41" fmla="*/ 3136900 h 3759200"/>
              <a:gd name="T42" fmla="*/ 519252 w 2405138"/>
              <a:gd name="T43" fmla="*/ 3111500 h 3759200"/>
              <a:gd name="T44" fmla="*/ 1347721 w 2405138"/>
              <a:gd name="T45" fmla="*/ 2095500 h 3759200"/>
              <a:gd name="T46" fmla="*/ 1121488 w 2405138"/>
              <a:gd name="T47" fmla="*/ 2171700 h 3759200"/>
              <a:gd name="T48" fmla="*/ 1104985 w 2405138"/>
              <a:gd name="T49" fmla="*/ 2209800 h 3759200"/>
              <a:gd name="T50" fmla="*/ 1097953 w 2405138"/>
              <a:gd name="T51" fmla="*/ 2247900 h 3759200"/>
              <a:gd name="T52" fmla="*/ 1105874 w 2405138"/>
              <a:gd name="T53" fmla="*/ 2298700 h 3759200"/>
              <a:gd name="T54" fmla="*/ 1110015 w 2405138"/>
              <a:gd name="T55" fmla="*/ 2362200 h 3759200"/>
              <a:gd name="T56" fmla="*/ 1088818 w 2405138"/>
              <a:gd name="T57" fmla="*/ 2438400 h 3759200"/>
              <a:gd name="T58" fmla="*/ 1060871 w 2405138"/>
              <a:gd name="T59" fmla="*/ 2527300 h 3759200"/>
              <a:gd name="T60" fmla="*/ 996686 w 2405138"/>
              <a:gd name="T61" fmla="*/ 2705100 h 3759200"/>
              <a:gd name="T62" fmla="*/ 966152 w 2405138"/>
              <a:gd name="T63" fmla="*/ 2819400 h 3759200"/>
              <a:gd name="T64" fmla="*/ 962197 w 2405138"/>
              <a:gd name="T65" fmla="*/ 2908300 h 3759200"/>
              <a:gd name="T66" fmla="*/ 971535 w 2405138"/>
              <a:gd name="T67" fmla="*/ 2984500 h 3759200"/>
              <a:gd name="T68" fmla="*/ 1008454 w 2405138"/>
              <a:gd name="T69" fmla="*/ 3098800 h 3759200"/>
              <a:gd name="T70" fmla="*/ 1475710 w 2405138"/>
              <a:gd name="T71" fmla="*/ 3086100 h 3759200"/>
              <a:gd name="T72" fmla="*/ 1511053 w 2405138"/>
              <a:gd name="T73" fmla="*/ 2959100 h 3759200"/>
              <a:gd name="T74" fmla="*/ 1517574 w 2405138"/>
              <a:gd name="T75" fmla="*/ 2882900 h 3759200"/>
              <a:gd name="T76" fmla="*/ 1509451 w 2405138"/>
              <a:gd name="T77" fmla="*/ 2794000 h 3759200"/>
              <a:gd name="T78" fmla="*/ 1474570 w 2405138"/>
              <a:gd name="T79" fmla="*/ 2679700 h 3759200"/>
              <a:gd name="T80" fmla="*/ 1425673 w 2405138"/>
              <a:gd name="T81" fmla="*/ 2540000 h 3759200"/>
              <a:gd name="T82" fmla="*/ 1388789 w 2405138"/>
              <a:gd name="T83" fmla="*/ 2438400 h 3759200"/>
              <a:gd name="T84" fmla="*/ 1365679 w 2405138"/>
              <a:gd name="T85" fmla="*/ 2374900 h 3759200"/>
              <a:gd name="T86" fmla="*/ 1370314 w 2405138"/>
              <a:gd name="T87" fmla="*/ 2311400 h 3759200"/>
              <a:gd name="T88" fmla="*/ 1381220 w 2405138"/>
              <a:gd name="T89" fmla="*/ 2260600 h 3759200"/>
              <a:gd name="T90" fmla="*/ 1376272 w 2405138"/>
              <a:gd name="T91" fmla="*/ 2209800 h 3759200"/>
              <a:gd name="T92" fmla="*/ 1360951 w 2405138"/>
              <a:gd name="T93" fmla="*/ 2171700 h 3759200"/>
              <a:gd name="T94" fmla="*/ 1348521 w 2405138"/>
              <a:gd name="T95" fmla="*/ 0 h 3759200"/>
              <a:gd name="T96" fmla="*/ 1348521 w 2405138"/>
              <a:gd name="T97" fmla="*/ 0 h 37592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05138" h="3759200">
                <a:moveTo>
                  <a:pt x="2349371" y="3746500"/>
                </a:moveTo>
                <a:lnTo>
                  <a:pt x="130232" y="3746500"/>
                </a:lnTo>
                <a:lnTo>
                  <a:pt x="145834" y="3759200"/>
                </a:lnTo>
                <a:lnTo>
                  <a:pt x="2333771" y="3759200"/>
                </a:lnTo>
                <a:lnTo>
                  <a:pt x="2349371" y="3746500"/>
                </a:lnTo>
                <a:close/>
              </a:path>
              <a:path w="2405138" h="3759200">
                <a:moveTo>
                  <a:pt x="2378692" y="3733800"/>
                </a:moveTo>
                <a:lnTo>
                  <a:pt x="100910" y="3733800"/>
                </a:lnTo>
                <a:lnTo>
                  <a:pt x="115239" y="3746500"/>
                </a:lnTo>
                <a:lnTo>
                  <a:pt x="2364363" y="3746500"/>
                </a:lnTo>
                <a:lnTo>
                  <a:pt x="2378692" y="3733800"/>
                </a:lnTo>
                <a:close/>
              </a:path>
              <a:path w="2405138" h="3759200">
                <a:moveTo>
                  <a:pt x="2417146" y="3429000"/>
                </a:moveTo>
                <a:lnTo>
                  <a:pt x="62453" y="3429000"/>
                </a:lnTo>
                <a:lnTo>
                  <a:pt x="51328" y="3441700"/>
                </a:lnTo>
                <a:lnTo>
                  <a:pt x="23800" y="3479800"/>
                </a:lnTo>
                <a:lnTo>
                  <a:pt x="6197" y="3530600"/>
                </a:lnTo>
                <a:lnTo>
                  <a:pt x="2790" y="3543300"/>
                </a:lnTo>
                <a:lnTo>
                  <a:pt x="706" y="3556000"/>
                </a:lnTo>
                <a:lnTo>
                  <a:pt x="0" y="3568700"/>
                </a:lnTo>
                <a:lnTo>
                  <a:pt x="706" y="3594100"/>
                </a:lnTo>
                <a:lnTo>
                  <a:pt x="10870" y="3632200"/>
                </a:lnTo>
                <a:lnTo>
                  <a:pt x="31946" y="3670300"/>
                </a:lnTo>
                <a:lnTo>
                  <a:pt x="62453" y="3708400"/>
                </a:lnTo>
                <a:lnTo>
                  <a:pt x="87299" y="3733800"/>
                </a:lnTo>
                <a:lnTo>
                  <a:pt x="2392301" y="3733800"/>
                </a:lnTo>
                <a:lnTo>
                  <a:pt x="2428271" y="3695700"/>
                </a:lnTo>
                <a:lnTo>
                  <a:pt x="2455798" y="3657600"/>
                </a:lnTo>
                <a:lnTo>
                  <a:pt x="2473401" y="3619500"/>
                </a:lnTo>
                <a:lnTo>
                  <a:pt x="2479598" y="3568700"/>
                </a:lnTo>
                <a:lnTo>
                  <a:pt x="2478891" y="3556000"/>
                </a:lnTo>
                <a:lnTo>
                  <a:pt x="2476808" y="3543300"/>
                </a:lnTo>
                <a:lnTo>
                  <a:pt x="2473401" y="3530600"/>
                </a:lnTo>
                <a:lnTo>
                  <a:pt x="2468728" y="3505200"/>
                </a:lnTo>
                <a:lnTo>
                  <a:pt x="2447652" y="3467100"/>
                </a:lnTo>
                <a:lnTo>
                  <a:pt x="2428271" y="3441700"/>
                </a:lnTo>
                <a:lnTo>
                  <a:pt x="2417146" y="3429000"/>
                </a:lnTo>
                <a:close/>
              </a:path>
              <a:path w="2405138" h="3759200">
                <a:moveTo>
                  <a:pt x="2378692" y="3403600"/>
                </a:moveTo>
                <a:lnTo>
                  <a:pt x="100910" y="3403600"/>
                </a:lnTo>
                <a:lnTo>
                  <a:pt x="87299" y="3416300"/>
                </a:lnTo>
                <a:lnTo>
                  <a:pt x="74462" y="3429000"/>
                </a:lnTo>
                <a:lnTo>
                  <a:pt x="2405138" y="3429000"/>
                </a:lnTo>
                <a:lnTo>
                  <a:pt x="2392301" y="3416300"/>
                </a:lnTo>
                <a:lnTo>
                  <a:pt x="2378692" y="3403600"/>
                </a:lnTo>
                <a:close/>
              </a:path>
              <a:path w="2405138" h="3759200">
                <a:moveTo>
                  <a:pt x="2349371" y="3390900"/>
                </a:moveTo>
                <a:lnTo>
                  <a:pt x="130232" y="3390900"/>
                </a:lnTo>
                <a:lnTo>
                  <a:pt x="115239" y="3403600"/>
                </a:lnTo>
                <a:lnTo>
                  <a:pt x="2364363" y="3403600"/>
                </a:lnTo>
                <a:lnTo>
                  <a:pt x="2349371" y="3390900"/>
                </a:lnTo>
                <a:close/>
              </a:path>
              <a:path w="2405138" h="3759200">
                <a:moveTo>
                  <a:pt x="2317616" y="3378200"/>
                </a:moveTo>
                <a:lnTo>
                  <a:pt x="161990" y="3378200"/>
                </a:lnTo>
                <a:lnTo>
                  <a:pt x="145834" y="3390900"/>
                </a:lnTo>
                <a:lnTo>
                  <a:pt x="2333771" y="3390900"/>
                </a:lnTo>
                <a:lnTo>
                  <a:pt x="2317616" y="3378200"/>
                </a:lnTo>
                <a:close/>
              </a:path>
              <a:path w="2405138" h="3759200">
                <a:moveTo>
                  <a:pt x="2015863" y="3136900"/>
                </a:moveTo>
                <a:lnTo>
                  <a:pt x="467940" y="3136900"/>
                </a:lnTo>
                <a:lnTo>
                  <a:pt x="456880" y="3149600"/>
                </a:lnTo>
                <a:lnTo>
                  <a:pt x="446677" y="3162300"/>
                </a:lnTo>
                <a:lnTo>
                  <a:pt x="437404" y="3162300"/>
                </a:lnTo>
                <a:lnTo>
                  <a:pt x="415889" y="3200400"/>
                </a:lnTo>
                <a:lnTo>
                  <a:pt x="405347" y="3238500"/>
                </a:lnTo>
                <a:lnTo>
                  <a:pt x="405725" y="3263900"/>
                </a:lnTo>
                <a:lnTo>
                  <a:pt x="413244" y="3302000"/>
                </a:lnTo>
                <a:lnTo>
                  <a:pt x="429320" y="3340100"/>
                </a:lnTo>
                <a:lnTo>
                  <a:pt x="436352" y="3352800"/>
                </a:lnTo>
                <a:lnTo>
                  <a:pt x="444140" y="3352800"/>
                </a:lnTo>
                <a:lnTo>
                  <a:pt x="452634" y="3365500"/>
                </a:lnTo>
                <a:lnTo>
                  <a:pt x="461786" y="3378200"/>
                </a:lnTo>
                <a:lnTo>
                  <a:pt x="2009876" y="3378200"/>
                </a:lnTo>
                <a:lnTo>
                  <a:pt x="2020445" y="3365500"/>
                </a:lnTo>
                <a:lnTo>
                  <a:pt x="2030266" y="3365500"/>
                </a:lnTo>
                <a:lnTo>
                  <a:pt x="2039279" y="3352800"/>
                </a:lnTo>
                <a:lnTo>
                  <a:pt x="2047423" y="3340100"/>
                </a:lnTo>
                <a:lnTo>
                  <a:pt x="2054636" y="3327400"/>
                </a:lnTo>
                <a:lnTo>
                  <a:pt x="2060858" y="3314700"/>
                </a:lnTo>
                <a:lnTo>
                  <a:pt x="2066028" y="3314700"/>
                </a:lnTo>
                <a:lnTo>
                  <a:pt x="2070084" y="3302000"/>
                </a:lnTo>
                <a:lnTo>
                  <a:pt x="2072966" y="3276600"/>
                </a:lnTo>
                <a:lnTo>
                  <a:pt x="2074613" y="3263900"/>
                </a:lnTo>
                <a:lnTo>
                  <a:pt x="2068791" y="3225800"/>
                </a:lnTo>
                <a:lnTo>
                  <a:pt x="2052073" y="3187700"/>
                </a:lnTo>
                <a:lnTo>
                  <a:pt x="2026212" y="3149600"/>
                </a:lnTo>
                <a:lnTo>
                  <a:pt x="2015863" y="3136900"/>
                </a:lnTo>
                <a:close/>
              </a:path>
              <a:path w="2405138" h="3759200">
                <a:moveTo>
                  <a:pt x="1992962" y="3124200"/>
                </a:moveTo>
                <a:lnTo>
                  <a:pt x="492346" y="3124200"/>
                </a:lnTo>
                <a:lnTo>
                  <a:pt x="479786" y="3136900"/>
                </a:lnTo>
                <a:lnTo>
                  <a:pt x="2004758" y="3136900"/>
                </a:lnTo>
                <a:lnTo>
                  <a:pt x="1992962" y="3124200"/>
                </a:lnTo>
                <a:close/>
              </a:path>
              <a:path w="2405138" h="3759200">
                <a:moveTo>
                  <a:pt x="1954076" y="3111500"/>
                </a:moveTo>
                <a:lnTo>
                  <a:pt x="519316" y="3111500"/>
                </a:lnTo>
                <a:lnTo>
                  <a:pt x="505546" y="3124200"/>
                </a:lnTo>
                <a:lnTo>
                  <a:pt x="1967556" y="3124200"/>
                </a:lnTo>
                <a:lnTo>
                  <a:pt x="1954076" y="3111500"/>
                </a:lnTo>
                <a:close/>
              </a:path>
              <a:path w="2405138" h="3759200">
                <a:moveTo>
                  <a:pt x="1347889" y="2095500"/>
                </a:moveTo>
                <a:lnTo>
                  <a:pt x="1131722" y="2095500"/>
                </a:lnTo>
                <a:lnTo>
                  <a:pt x="1131722" y="2159000"/>
                </a:lnTo>
                <a:lnTo>
                  <a:pt x="1126593" y="2159000"/>
                </a:lnTo>
                <a:lnTo>
                  <a:pt x="1121628" y="2171700"/>
                </a:lnTo>
                <a:lnTo>
                  <a:pt x="1116912" y="2184400"/>
                </a:lnTo>
                <a:lnTo>
                  <a:pt x="1112532" y="2184400"/>
                </a:lnTo>
                <a:lnTo>
                  <a:pt x="1108573" y="2197100"/>
                </a:lnTo>
                <a:lnTo>
                  <a:pt x="1105121" y="2209800"/>
                </a:lnTo>
                <a:lnTo>
                  <a:pt x="1102260" y="2209800"/>
                </a:lnTo>
                <a:lnTo>
                  <a:pt x="1100078" y="2222500"/>
                </a:lnTo>
                <a:lnTo>
                  <a:pt x="1098659" y="2235200"/>
                </a:lnTo>
                <a:lnTo>
                  <a:pt x="1098089" y="2247900"/>
                </a:lnTo>
                <a:lnTo>
                  <a:pt x="1098453" y="2260600"/>
                </a:lnTo>
                <a:lnTo>
                  <a:pt x="1099838" y="2273300"/>
                </a:lnTo>
                <a:lnTo>
                  <a:pt x="1102328" y="2286000"/>
                </a:lnTo>
                <a:lnTo>
                  <a:pt x="1106010" y="2298700"/>
                </a:lnTo>
                <a:lnTo>
                  <a:pt x="1110969" y="2324100"/>
                </a:lnTo>
                <a:lnTo>
                  <a:pt x="1117291" y="2336800"/>
                </a:lnTo>
                <a:lnTo>
                  <a:pt x="1114051" y="2349500"/>
                </a:lnTo>
                <a:lnTo>
                  <a:pt x="1110155" y="2362200"/>
                </a:lnTo>
                <a:lnTo>
                  <a:pt x="1105651" y="2387600"/>
                </a:lnTo>
                <a:lnTo>
                  <a:pt x="1100585" y="2400300"/>
                </a:lnTo>
                <a:lnTo>
                  <a:pt x="1095004" y="2425700"/>
                </a:lnTo>
                <a:lnTo>
                  <a:pt x="1088954" y="2438400"/>
                </a:lnTo>
                <a:lnTo>
                  <a:pt x="1082482" y="2463800"/>
                </a:lnTo>
                <a:lnTo>
                  <a:pt x="1075635" y="2476500"/>
                </a:lnTo>
                <a:lnTo>
                  <a:pt x="1068460" y="2501900"/>
                </a:lnTo>
                <a:lnTo>
                  <a:pt x="1061003" y="2527300"/>
                </a:lnTo>
                <a:lnTo>
                  <a:pt x="1053311" y="2540000"/>
                </a:lnTo>
                <a:lnTo>
                  <a:pt x="1037409" y="2590800"/>
                </a:lnTo>
                <a:lnTo>
                  <a:pt x="1012961" y="2654300"/>
                </a:lnTo>
                <a:lnTo>
                  <a:pt x="996810" y="2705100"/>
                </a:lnTo>
                <a:lnTo>
                  <a:pt x="981214" y="2755900"/>
                </a:lnTo>
                <a:lnTo>
                  <a:pt x="974924" y="2768600"/>
                </a:lnTo>
                <a:lnTo>
                  <a:pt x="969971" y="2794000"/>
                </a:lnTo>
                <a:lnTo>
                  <a:pt x="966272" y="2819400"/>
                </a:lnTo>
                <a:lnTo>
                  <a:pt x="963741" y="2844800"/>
                </a:lnTo>
                <a:lnTo>
                  <a:pt x="962295" y="2857500"/>
                </a:lnTo>
                <a:lnTo>
                  <a:pt x="961848" y="2882900"/>
                </a:lnTo>
                <a:lnTo>
                  <a:pt x="962317" y="2908300"/>
                </a:lnTo>
                <a:lnTo>
                  <a:pt x="963616" y="2921000"/>
                </a:lnTo>
                <a:lnTo>
                  <a:pt x="965662" y="2946400"/>
                </a:lnTo>
                <a:lnTo>
                  <a:pt x="968370" y="2959100"/>
                </a:lnTo>
                <a:lnTo>
                  <a:pt x="971655" y="2984500"/>
                </a:lnTo>
                <a:lnTo>
                  <a:pt x="975432" y="2997200"/>
                </a:lnTo>
                <a:lnTo>
                  <a:pt x="984128" y="3035300"/>
                </a:lnTo>
                <a:lnTo>
                  <a:pt x="1003716" y="3086100"/>
                </a:lnTo>
                <a:lnTo>
                  <a:pt x="1008578" y="3098800"/>
                </a:lnTo>
                <a:lnTo>
                  <a:pt x="1013256" y="3111500"/>
                </a:lnTo>
                <a:lnTo>
                  <a:pt x="1466354" y="3111500"/>
                </a:lnTo>
                <a:lnTo>
                  <a:pt x="1471033" y="3098800"/>
                </a:lnTo>
                <a:lnTo>
                  <a:pt x="1475894" y="3086100"/>
                </a:lnTo>
                <a:lnTo>
                  <a:pt x="1490733" y="3048000"/>
                </a:lnTo>
                <a:lnTo>
                  <a:pt x="1504178" y="2997200"/>
                </a:lnTo>
                <a:lnTo>
                  <a:pt x="1507956" y="2984500"/>
                </a:lnTo>
                <a:lnTo>
                  <a:pt x="1511241" y="2959100"/>
                </a:lnTo>
                <a:lnTo>
                  <a:pt x="1513948" y="2946400"/>
                </a:lnTo>
                <a:lnTo>
                  <a:pt x="1515994" y="2921000"/>
                </a:lnTo>
                <a:lnTo>
                  <a:pt x="1517294" y="2908300"/>
                </a:lnTo>
                <a:lnTo>
                  <a:pt x="1517762" y="2882900"/>
                </a:lnTo>
                <a:lnTo>
                  <a:pt x="1517316" y="2857500"/>
                </a:lnTo>
                <a:lnTo>
                  <a:pt x="1515870" y="2844800"/>
                </a:lnTo>
                <a:lnTo>
                  <a:pt x="1513339" y="2819400"/>
                </a:lnTo>
                <a:lnTo>
                  <a:pt x="1509639" y="2794000"/>
                </a:lnTo>
                <a:lnTo>
                  <a:pt x="1504687" y="2768600"/>
                </a:lnTo>
                <a:lnTo>
                  <a:pt x="1498396" y="2755900"/>
                </a:lnTo>
                <a:lnTo>
                  <a:pt x="1490690" y="2730500"/>
                </a:lnTo>
                <a:lnTo>
                  <a:pt x="1474754" y="2679700"/>
                </a:lnTo>
                <a:lnTo>
                  <a:pt x="1450185" y="2603500"/>
                </a:lnTo>
                <a:lnTo>
                  <a:pt x="1441990" y="2590800"/>
                </a:lnTo>
                <a:lnTo>
                  <a:pt x="1433863" y="2565400"/>
                </a:lnTo>
                <a:lnTo>
                  <a:pt x="1425849" y="2540000"/>
                </a:lnTo>
                <a:lnTo>
                  <a:pt x="1410328" y="2501900"/>
                </a:lnTo>
                <a:lnTo>
                  <a:pt x="1402907" y="2476500"/>
                </a:lnTo>
                <a:lnTo>
                  <a:pt x="1395771" y="2463800"/>
                </a:lnTo>
                <a:lnTo>
                  <a:pt x="1388961" y="2438400"/>
                </a:lnTo>
                <a:lnTo>
                  <a:pt x="1382521" y="2425700"/>
                </a:lnTo>
                <a:lnTo>
                  <a:pt x="1376494" y="2413000"/>
                </a:lnTo>
                <a:lnTo>
                  <a:pt x="1370923" y="2387600"/>
                </a:lnTo>
                <a:lnTo>
                  <a:pt x="1365851" y="2374900"/>
                </a:lnTo>
                <a:lnTo>
                  <a:pt x="1361321" y="2362200"/>
                </a:lnTo>
                <a:lnTo>
                  <a:pt x="1357376" y="2349500"/>
                </a:lnTo>
                <a:lnTo>
                  <a:pt x="1364640" y="2324100"/>
                </a:lnTo>
                <a:lnTo>
                  <a:pt x="1370486" y="2311400"/>
                </a:lnTo>
                <a:lnTo>
                  <a:pt x="1374999" y="2298700"/>
                </a:lnTo>
                <a:lnTo>
                  <a:pt x="1378264" y="2286000"/>
                </a:lnTo>
                <a:lnTo>
                  <a:pt x="1380366" y="2273300"/>
                </a:lnTo>
                <a:lnTo>
                  <a:pt x="1381392" y="2260600"/>
                </a:lnTo>
                <a:lnTo>
                  <a:pt x="1381428" y="2247900"/>
                </a:lnTo>
                <a:lnTo>
                  <a:pt x="1380558" y="2235200"/>
                </a:lnTo>
                <a:lnTo>
                  <a:pt x="1378868" y="2222500"/>
                </a:lnTo>
                <a:lnTo>
                  <a:pt x="1376444" y="2209800"/>
                </a:lnTo>
                <a:lnTo>
                  <a:pt x="1373371" y="2197100"/>
                </a:lnTo>
                <a:lnTo>
                  <a:pt x="1369736" y="2197100"/>
                </a:lnTo>
                <a:lnTo>
                  <a:pt x="1365623" y="2184400"/>
                </a:lnTo>
                <a:lnTo>
                  <a:pt x="1361119" y="2171700"/>
                </a:lnTo>
                <a:lnTo>
                  <a:pt x="1356309" y="2171700"/>
                </a:lnTo>
                <a:lnTo>
                  <a:pt x="1351278" y="2159000"/>
                </a:lnTo>
                <a:lnTo>
                  <a:pt x="1347889" y="2095500"/>
                </a:lnTo>
                <a:close/>
              </a:path>
              <a:path w="2405138" h="3759200">
                <a:moveTo>
                  <a:pt x="1348689" y="0"/>
                </a:moveTo>
                <a:lnTo>
                  <a:pt x="1130922" y="0"/>
                </a:lnTo>
                <a:lnTo>
                  <a:pt x="1130922" y="2095500"/>
                </a:lnTo>
                <a:lnTo>
                  <a:pt x="1348689" y="2095500"/>
                </a:lnTo>
                <a:lnTo>
                  <a:pt x="1348689"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18" name="object 27">
            <a:extLst>
              <a:ext uri="{FF2B5EF4-FFF2-40B4-BE49-F238E27FC236}">
                <a16:creationId xmlns:a16="http://schemas.microsoft.com/office/drawing/2014/main" id="{85ED798D-D80F-47D1-9175-4AD3A7F0EAF9}"/>
              </a:ext>
            </a:extLst>
          </p:cNvPr>
          <p:cNvSpPr>
            <a:spLocks/>
          </p:cNvSpPr>
          <p:nvPr/>
        </p:nvSpPr>
        <p:spPr bwMode="auto">
          <a:xfrm>
            <a:off x="5438419" y="1168060"/>
            <a:ext cx="308060" cy="1405524"/>
          </a:xfrm>
          <a:custGeom>
            <a:avLst/>
            <a:gdLst>
              <a:gd name="T0" fmla="*/ 176500 w 533982"/>
              <a:gd name="T1" fmla="*/ 205903 h 2433376"/>
              <a:gd name="T2" fmla="*/ 131994 w 533982"/>
              <a:gd name="T3" fmla="*/ 309975 h 2433376"/>
              <a:gd name="T4" fmla="*/ 97902 w 533982"/>
              <a:gd name="T5" fmla="*/ 392204 h 2433376"/>
              <a:gd name="T6" fmla="*/ 55419 w 533982"/>
              <a:gd name="T7" fmla="*/ 507284 h 2433376"/>
              <a:gd name="T8" fmla="*/ 36175 w 533982"/>
              <a:gd name="T9" fmla="*/ 600198 h 2433376"/>
              <a:gd name="T10" fmla="*/ 34323 w 533982"/>
              <a:gd name="T11" fmla="*/ 673159 h 2433376"/>
              <a:gd name="T12" fmla="*/ 37838 w 533982"/>
              <a:gd name="T13" fmla="*/ 744289 h 2433376"/>
              <a:gd name="T14" fmla="*/ 64627 w 533982"/>
              <a:gd name="T15" fmla="*/ 825440 h 2433376"/>
              <a:gd name="T16" fmla="*/ 150086 w 533982"/>
              <a:gd name="T17" fmla="*/ 919558 h 2433376"/>
              <a:gd name="T18" fmla="*/ 97209 w 533982"/>
              <a:gd name="T19" fmla="*/ 959479 h 2433376"/>
              <a:gd name="T20" fmla="*/ 69452 w 533982"/>
              <a:gd name="T21" fmla="*/ 1043146 h 2433376"/>
              <a:gd name="T22" fmla="*/ 69915 w 533982"/>
              <a:gd name="T23" fmla="*/ 1078853 h 2433376"/>
              <a:gd name="T24" fmla="*/ 91426 w 533982"/>
              <a:gd name="T25" fmla="*/ 1169786 h 2433376"/>
              <a:gd name="T26" fmla="*/ 134683 w 533982"/>
              <a:gd name="T27" fmla="*/ 1241262 h 2433376"/>
              <a:gd name="T28" fmla="*/ 149097 w 533982"/>
              <a:gd name="T29" fmla="*/ 1260375 h 2433376"/>
              <a:gd name="T30" fmla="*/ 111578 w 533982"/>
              <a:gd name="T31" fmla="*/ 1345494 h 2433376"/>
              <a:gd name="T32" fmla="*/ 73563 w 533982"/>
              <a:gd name="T33" fmla="*/ 1410630 h 2433376"/>
              <a:gd name="T34" fmla="*/ 24903 w 533982"/>
              <a:gd name="T35" fmla="*/ 1509543 h 2433376"/>
              <a:gd name="T36" fmla="*/ 0 w 533982"/>
              <a:gd name="T37" fmla="*/ 1610826 h 2433376"/>
              <a:gd name="T38" fmla="*/ 9530 w 533982"/>
              <a:gd name="T39" fmla="*/ 1683644 h 2433376"/>
              <a:gd name="T40" fmla="*/ 42469 w 533982"/>
              <a:gd name="T41" fmla="*/ 1813290 h 2433376"/>
              <a:gd name="T42" fmla="*/ 72816 w 533982"/>
              <a:gd name="T43" fmla="*/ 1929904 h 2433376"/>
              <a:gd name="T44" fmla="*/ 93528 w 533982"/>
              <a:gd name="T45" fmla="*/ 2010877 h 2433376"/>
              <a:gd name="T46" fmla="*/ 113187 w 533982"/>
              <a:gd name="T47" fmla="*/ 2090490 h 2433376"/>
              <a:gd name="T48" fmla="*/ 138057 w 533982"/>
              <a:gd name="T49" fmla="*/ 2200095 h 2433376"/>
              <a:gd name="T50" fmla="*/ 156241 w 533982"/>
              <a:gd name="T51" fmla="*/ 2310497 h 2433376"/>
              <a:gd name="T52" fmla="*/ 159121 w 533982"/>
              <a:gd name="T53" fmla="*/ 2353122 h 2433376"/>
              <a:gd name="T54" fmla="*/ 209056 w 533982"/>
              <a:gd name="T55" fmla="*/ 2420564 h 2433376"/>
              <a:gd name="T56" fmla="*/ 265555 w 533982"/>
              <a:gd name="T57" fmla="*/ 2433081 h 2433376"/>
              <a:gd name="T58" fmla="*/ 310306 w 533982"/>
              <a:gd name="T59" fmla="*/ 2434424 h 2433376"/>
              <a:gd name="T60" fmla="*/ 340747 w 533982"/>
              <a:gd name="T61" fmla="*/ 2432448 h 2433376"/>
              <a:gd name="T62" fmla="*/ 374551 w 533982"/>
              <a:gd name="T63" fmla="*/ 2338650 h 2433376"/>
              <a:gd name="T64" fmla="*/ 381864 w 533982"/>
              <a:gd name="T65" fmla="*/ 2267738 h 2433376"/>
              <a:gd name="T66" fmla="*/ 409416 w 533982"/>
              <a:gd name="T67" fmla="*/ 2131410 h 2433376"/>
              <a:gd name="T68" fmla="*/ 428097 w 533982"/>
              <a:gd name="T69" fmla="*/ 2052676 h 2433376"/>
              <a:gd name="T70" fmla="*/ 448436 w 533982"/>
              <a:gd name="T71" fmla="*/ 1971237 h 2433376"/>
              <a:gd name="T72" fmla="*/ 469326 w 533982"/>
              <a:gd name="T73" fmla="*/ 1889938 h 2433376"/>
              <a:gd name="T74" fmla="*/ 498599 w 533982"/>
              <a:gd name="T75" fmla="*/ 1777128 h 2433376"/>
              <a:gd name="T76" fmla="*/ 527986 w 533982"/>
              <a:gd name="T77" fmla="*/ 1658713 h 2433376"/>
              <a:gd name="T78" fmla="*/ 528903 w 533982"/>
              <a:gd name="T79" fmla="*/ 1585895 h 2433376"/>
              <a:gd name="T80" fmla="*/ 495624 w 533982"/>
              <a:gd name="T81" fmla="*/ 1484019 h 2433376"/>
              <a:gd name="T82" fmla="*/ 444313 w 533982"/>
              <a:gd name="T83" fmla="*/ 1388427 h 2433376"/>
              <a:gd name="T84" fmla="*/ 407696 w 533982"/>
              <a:gd name="T85" fmla="*/ 1327900 h 2433376"/>
              <a:gd name="T86" fmla="*/ 379171 w 533982"/>
              <a:gd name="T87" fmla="*/ 1263883 h 2433376"/>
              <a:gd name="T88" fmla="*/ 386953 w 533982"/>
              <a:gd name="T89" fmla="*/ 1252748 h 2433376"/>
              <a:gd name="T90" fmla="*/ 418713 w 533982"/>
              <a:gd name="T91" fmla="*/ 1211472 h 2433376"/>
              <a:gd name="T92" fmla="*/ 452948 w 533982"/>
              <a:gd name="T93" fmla="*/ 1136021 h 2433376"/>
              <a:gd name="T94" fmla="*/ 462285 w 533982"/>
              <a:gd name="T95" fmla="*/ 1072579 h 2433376"/>
              <a:gd name="T96" fmla="*/ 445529 w 533982"/>
              <a:gd name="T97" fmla="*/ 998670 h 2433376"/>
              <a:gd name="T98" fmla="*/ 389452 w 533982"/>
              <a:gd name="T99" fmla="*/ 925822 h 2433376"/>
              <a:gd name="T100" fmla="*/ 417800 w 533982"/>
              <a:gd name="T101" fmla="*/ 883877 h 2433376"/>
              <a:gd name="T102" fmla="*/ 472848 w 533982"/>
              <a:gd name="T103" fmla="*/ 815695 h 2433376"/>
              <a:gd name="T104" fmla="*/ 495400 w 533982"/>
              <a:gd name="T105" fmla="*/ 728786 h 2433376"/>
              <a:gd name="T106" fmla="*/ 495657 w 533982"/>
              <a:gd name="T107" fmla="*/ 649221 h 2433376"/>
              <a:gd name="T108" fmla="*/ 473259 w 533982"/>
              <a:gd name="T109" fmla="*/ 549088 h 2433376"/>
              <a:gd name="T110" fmla="*/ 447331 w 533982"/>
              <a:gd name="T111" fmla="*/ 465669 h 2433376"/>
              <a:gd name="T112" fmla="*/ 415847 w 533982"/>
              <a:gd name="T113" fmla="*/ 375385 h 2433376"/>
              <a:gd name="T114" fmla="*/ 381586 w 533982"/>
              <a:gd name="T115" fmla="*/ 283786 h 2433376"/>
              <a:gd name="T116" fmla="*/ 347324 w 533982"/>
              <a:gd name="T117" fmla="*/ 196404 h 2433376"/>
              <a:gd name="T118" fmla="*/ 315839 w 533982"/>
              <a:gd name="T119" fmla="*/ 118794 h 2433376"/>
              <a:gd name="T120" fmla="*/ 272318 w 533982"/>
              <a:gd name="T121" fmla="*/ 15048 h 24333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33982" h="2433376">
                <a:moveTo>
                  <a:pt x="266998" y="0"/>
                </a:moveTo>
                <a:lnTo>
                  <a:pt x="177272" y="205815"/>
                </a:lnTo>
                <a:lnTo>
                  <a:pt x="153526" y="260811"/>
                </a:lnTo>
                <a:lnTo>
                  <a:pt x="132570" y="309843"/>
                </a:lnTo>
                <a:lnTo>
                  <a:pt x="114229" y="353417"/>
                </a:lnTo>
                <a:lnTo>
                  <a:pt x="98330" y="392036"/>
                </a:lnTo>
                <a:lnTo>
                  <a:pt x="73160" y="456431"/>
                </a:lnTo>
                <a:lnTo>
                  <a:pt x="55662" y="507064"/>
                </a:lnTo>
                <a:lnTo>
                  <a:pt x="44443" y="547974"/>
                </a:lnTo>
                <a:lnTo>
                  <a:pt x="36334" y="599938"/>
                </a:lnTo>
                <a:lnTo>
                  <a:pt x="34544" y="648941"/>
                </a:lnTo>
                <a:lnTo>
                  <a:pt x="34473" y="672871"/>
                </a:lnTo>
                <a:lnTo>
                  <a:pt x="34681" y="693074"/>
                </a:lnTo>
                <a:lnTo>
                  <a:pt x="38002" y="743969"/>
                </a:lnTo>
                <a:lnTo>
                  <a:pt x="45929" y="783407"/>
                </a:lnTo>
                <a:lnTo>
                  <a:pt x="64911" y="825084"/>
                </a:lnTo>
                <a:lnTo>
                  <a:pt x="94942" y="862837"/>
                </a:lnTo>
                <a:lnTo>
                  <a:pt x="150742" y="919162"/>
                </a:lnTo>
                <a:lnTo>
                  <a:pt x="133903" y="931073"/>
                </a:lnTo>
                <a:lnTo>
                  <a:pt x="97633" y="959067"/>
                </a:lnTo>
                <a:lnTo>
                  <a:pt x="74958" y="992278"/>
                </a:lnTo>
                <a:lnTo>
                  <a:pt x="69756" y="1042698"/>
                </a:lnTo>
                <a:lnTo>
                  <a:pt x="69667" y="1060793"/>
                </a:lnTo>
                <a:lnTo>
                  <a:pt x="70220" y="1078389"/>
                </a:lnTo>
                <a:lnTo>
                  <a:pt x="77708" y="1127060"/>
                </a:lnTo>
                <a:lnTo>
                  <a:pt x="91826" y="1169282"/>
                </a:lnTo>
                <a:lnTo>
                  <a:pt x="109854" y="1204700"/>
                </a:lnTo>
                <a:lnTo>
                  <a:pt x="135271" y="1240726"/>
                </a:lnTo>
                <a:lnTo>
                  <a:pt x="146758" y="1253704"/>
                </a:lnTo>
                <a:lnTo>
                  <a:pt x="149749" y="1259831"/>
                </a:lnTo>
                <a:lnTo>
                  <a:pt x="132790" y="1308608"/>
                </a:lnTo>
                <a:lnTo>
                  <a:pt x="112066" y="1344914"/>
                </a:lnTo>
                <a:lnTo>
                  <a:pt x="87071" y="1387151"/>
                </a:lnTo>
                <a:lnTo>
                  <a:pt x="73884" y="1410022"/>
                </a:lnTo>
                <a:lnTo>
                  <a:pt x="47829" y="1458586"/>
                </a:lnTo>
                <a:lnTo>
                  <a:pt x="25011" y="1508894"/>
                </a:lnTo>
                <a:lnTo>
                  <a:pt x="8086" y="1559921"/>
                </a:lnTo>
                <a:lnTo>
                  <a:pt x="0" y="1610134"/>
                </a:lnTo>
                <a:lnTo>
                  <a:pt x="189" y="1634455"/>
                </a:lnTo>
                <a:lnTo>
                  <a:pt x="9570" y="1682920"/>
                </a:lnTo>
                <a:lnTo>
                  <a:pt x="24500" y="1742550"/>
                </a:lnTo>
                <a:lnTo>
                  <a:pt x="42653" y="1812510"/>
                </a:lnTo>
                <a:lnTo>
                  <a:pt x="62827" y="1889542"/>
                </a:lnTo>
                <a:lnTo>
                  <a:pt x="73135" y="1929072"/>
                </a:lnTo>
                <a:lnTo>
                  <a:pt x="83592" y="1969505"/>
                </a:lnTo>
                <a:lnTo>
                  <a:pt x="93936" y="2010013"/>
                </a:lnTo>
                <a:lnTo>
                  <a:pt x="104017" y="2050179"/>
                </a:lnTo>
                <a:lnTo>
                  <a:pt x="113682" y="2089590"/>
                </a:lnTo>
                <a:lnTo>
                  <a:pt x="122779" y="2127832"/>
                </a:lnTo>
                <a:lnTo>
                  <a:pt x="138661" y="2199147"/>
                </a:lnTo>
                <a:lnTo>
                  <a:pt x="150448" y="2260809"/>
                </a:lnTo>
                <a:lnTo>
                  <a:pt x="156924" y="2309501"/>
                </a:lnTo>
                <a:lnTo>
                  <a:pt x="157790" y="2327948"/>
                </a:lnTo>
                <a:lnTo>
                  <a:pt x="159817" y="2352110"/>
                </a:lnTo>
                <a:lnTo>
                  <a:pt x="173954" y="2388639"/>
                </a:lnTo>
                <a:lnTo>
                  <a:pt x="209970" y="2419520"/>
                </a:lnTo>
                <a:lnTo>
                  <a:pt x="247127" y="2430636"/>
                </a:lnTo>
                <a:lnTo>
                  <a:pt x="266716" y="2432033"/>
                </a:lnTo>
                <a:lnTo>
                  <a:pt x="291159" y="2432955"/>
                </a:lnTo>
                <a:lnTo>
                  <a:pt x="311663" y="2433376"/>
                </a:lnTo>
                <a:lnTo>
                  <a:pt x="328683" y="2432955"/>
                </a:lnTo>
                <a:lnTo>
                  <a:pt x="342237" y="2431400"/>
                </a:lnTo>
                <a:lnTo>
                  <a:pt x="373964" y="2394658"/>
                </a:lnTo>
                <a:lnTo>
                  <a:pt x="376189" y="2337642"/>
                </a:lnTo>
                <a:lnTo>
                  <a:pt x="377056" y="2317813"/>
                </a:lnTo>
                <a:lnTo>
                  <a:pt x="383534" y="2266762"/>
                </a:lnTo>
                <a:lnTo>
                  <a:pt x="395322" y="2203237"/>
                </a:lnTo>
                <a:lnTo>
                  <a:pt x="411206" y="2130494"/>
                </a:lnTo>
                <a:lnTo>
                  <a:pt x="420304" y="2091684"/>
                </a:lnTo>
                <a:lnTo>
                  <a:pt x="429969" y="2051792"/>
                </a:lnTo>
                <a:lnTo>
                  <a:pt x="440051" y="2011224"/>
                </a:lnTo>
                <a:lnTo>
                  <a:pt x="450396" y="1970389"/>
                </a:lnTo>
                <a:lnTo>
                  <a:pt x="460853" y="1929692"/>
                </a:lnTo>
                <a:lnTo>
                  <a:pt x="471378" y="1889126"/>
                </a:lnTo>
                <a:lnTo>
                  <a:pt x="491414" y="1812358"/>
                </a:lnTo>
                <a:lnTo>
                  <a:pt x="500779" y="1776364"/>
                </a:lnTo>
                <a:lnTo>
                  <a:pt x="517433" y="1711230"/>
                </a:lnTo>
                <a:lnTo>
                  <a:pt x="530294" y="1657997"/>
                </a:lnTo>
                <a:lnTo>
                  <a:pt x="533982" y="1610130"/>
                </a:lnTo>
                <a:lnTo>
                  <a:pt x="531215" y="1585211"/>
                </a:lnTo>
                <a:lnTo>
                  <a:pt x="518256" y="1534349"/>
                </a:lnTo>
                <a:lnTo>
                  <a:pt x="497791" y="1483379"/>
                </a:lnTo>
                <a:lnTo>
                  <a:pt x="472903" y="1434182"/>
                </a:lnTo>
                <a:lnTo>
                  <a:pt x="446255" y="1387831"/>
                </a:lnTo>
                <a:lnTo>
                  <a:pt x="420829" y="1346037"/>
                </a:lnTo>
                <a:lnTo>
                  <a:pt x="409478" y="1327328"/>
                </a:lnTo>
                <a:lnTo>
                  <a:pt x="385220" y="1282256"/>
                </a:lnTo>
                <a:lnTo>
                  <a:pt x="380829" y="1263339"/>
                </a:lnTo>
                <a:lnTo>
                  <a:pt x="383254" y="1257795"/>
                </a:lnTo>
                <a:lnTo>
                  <a:pt x="388645" y="1252208"/>
                </a:lnTo>
                <a:lnTo>
                  <a:pt x="394515" y="1245699"/>
                </a:lnTo>
                <a:lnTo>
                  <a:pt x="420543" y="1210952"/>
                </a:lnTo>
                <a:lnTo>
                  <a:pt x="439609" y="1176468"/>
                </a:lnTo>
                <a:lnTo>
                  <a:pt x="454928" y="1135533"/>
                </a:lnTo>
                <a:lnTo>
                  <a:pt x="463480" y="1088842"/>
                </a:lnTo>
                <a:lnTo>
                  <a:pt x="464306" y="1072119"/>
                </a:lnTo>
                <a:lnTo>
                  <a:pt x="463066" y="1051669"/>
                </a:lnTo>
                <a:lnTo>
                  <a:pt x="447477" y="998240"/>
                </a:lnTo>
                <a:lnTo>
                  <a:pt x="422149" y="957618"/>
                </a:lnTo>
                <a:lnTo>
                  <a:pt x="391154" y="925422"/>
                </a:lnTo>
                <a:lnTo>
                  <a:pt x="383760" y="919529"/>
                </a:lnTo>
                <a:lnTo>
                  <a:pt x="419626" y="883497"/>
                </a:lnTo>
                <a:lnTo>
                  <a:pt x="447977" y="853224"/>
                </a:lnTo>
                <a:lnTo>
                  <a:pt x="474915" y="815343"/>
                </a:lnTo>
                <a:lnTo>
                  <a:pt x="491271" y="771277"/>
                </a:lnTo>
                <a:lnTo>
                  <a:pt x="497566" y="728474"/>
                </a:lnTo>
                <a:lnTo>
                  <a:pt x="499509" y="672871"/>
                </a:lnTo>
                <a:lnTo>
                  <a:pt x="497824" y="648941"/>
                </a:lnTo>
                <a:lnTo>
                  <a:pt x="485384" y="586240"/>
                </a:lnTo>
                <a:lnTo>
                  <a:pt x="475328" y="548852"/>
                </a:lnTo>
                <a:lnTo>
                  <a:pt x="463179" y="508365"/>
                </a:lnTo>
                <a:lnTo>
                  <a:pt x="449287" y="465469"/>
                </a:lnTo>
                <a:lnTo>
                  <a:pt x="433999" y="420859"/>
                </a:lnTo>
                <a:lnTo>
                  <a:pt x="417665" y="375225"/>
                </a:lnTo>
                <a:lnTo>
                  <a:pt x="400634" y="329262"/>
                </a:lnTo>
                <a:lnTo>
                  <a:pt x="383254" y="283662"/>
                </a:lnTo>
                <a:lnTo>
                  <a:pt x="365873" y="239117"/>
                </a:lnTo>
                <a:lnTo>
                  <a:pt x="348842" y="196320"/>
                </a:lnTo>
                <a:lnTo>
                  <a:pt x="332508" y="155964"/>
                </a:lnTo>
                <a:lnTo>
                  <a:pt x="317220" y="118742"/>
                </a:lnTo>
                <a:lnTo>
                  <a:pt x="291179" y="56468"/>
                </a:lnTo>
                <a:lnTo>
                  <a:pt x="273508" y="15040"/>
                </a:lnTo>
                <a:lnTo>
                  <a:pt x="26699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19" name="object 28">
            <a:extLst>
              <a:ext uri="{FF2B5EF4-FFF2-40B4-BE49-F238E27FC236}">
                <a16:creationId xmlns:a16="http://schemas.microsoft.com/office/drawing/2014/main" id="{FD8298EE-D7E4-469B-87FF-C5965741BE8E}"/>
              </a:ext>
            </a:extLst>
          </p:cNvPr>
          <p:cNvSpPr>
            <a:spLocks/>
          </p:cNvSpPr>
          <p:nvPr/>
        </p:nvSpPr>
        <p:spPr bwMode="auto">
          <a:xfrm>
            <a:off x="4252022" y="1801601"/>
            <a:ext cx="2828466" cy="902175"/>
          </a:xfrm>
          <a:custGeom>
            <a:avLst/>
            <a:gdLst>
              <a:gd name="T0" fmla="*/ 286952 w 4897344"/>
              <a:gd name="T1" fmla="*/ 1549399 h 1562100"/>
              <a:gd name="T2" fmla="*/ 63406 w 4897344"/>
              <a:gd name="T3" fmla="*/ 1219199 h 1562100"/>
              <a:gd name="T4" fmla="*/ 18023 w 4897344"/>
              <a:gd name="T5" fmla="*/ 1282699 h 1562100"/>
              <a:gd name="T6" fmla="*/ 4441 w 4897344"/>
              <a:gd name="T7" fmla="*/ 1409699 h 1562100"/>
              <a:gd name="T8" fmla="*/ 36962 w 4897344"/>
              <a:gd name="T9" fmla="*/ 1485899 h 1562100"/>
              <a:gd name="T10" fmla="*/ 93784 w 4897344"/>
              <a:gd name="T11" fmla="*/ 1536699 h 1562100"/>
              <a:gd name="T12" fmla="*/ 331362 w 4897344"/>
              <a:gd name="T13" fmla="*/ 1523999 h 1562100"/>
              <a:gd name="T14" fmla="*/ 409678 w 4897344"/>
              <a:gd name="T15" fmla="*/ 1485899 h 1562100"/>
              <a:gd name="T16" fmla="*/ 544063 w 4897344"/>
              <a:gd name="T17" fmla="*/ 1460499 h 1562100"/>
              <a:gd name="T18" fmla="*/ 788755 w 4897344"/>
              <a:gd name="T19" fmla="*/ 1308099 h 1562100"/>
              <a:gd name="T20" fmla="*/ 379442 w 4897344"/>
              <a:gd name="T21" fmla="*/ 1257299 h 1562100"/>
              <a:gd name="T22" fmla="*/ 336309 w 4897344"/>
              <a:gd name="T23" fmla="*/ 1206499 h 1562100"/>
              <a:gd name="T24" fmla="*/ 482778 w 4897344"/>
              <a:gd name="T25" fmla="*/ 1231899 h 1562100"/>
              <a:gd name="T26" fmla="*/ 847202 w 4897344"/>
              <a:gd name="T27" fmla="*/ 1244599 h 1562100"/>
              <a:gd name="T28" fmla="*/ 2280834 w 4897344"/>
              <a:gd name="T29" fmla="*/ 63499 h 1562100"/>
              <a:gd name="T30" fmla="*/ 1813406 w 4897344"/>
              <a:gd name="T31" fmla="*/ 203199 h 1562100"/>
              <a:gd name="T32" fmla="*/ 1367984 w 4897344"/>
              <a:gd name="T33" fmla="*/ 444499 h 1562100"/>
              <a:gd name="T34" fmla="*/ 1037451 w 4897344"/>
              <a:gd name="T35" fmla="*/ 711199 h 1562100"/>
              <a:gd name="T36" fmla="*/ 798286 w 4897344"/>
              <a:gd name="T37" fmla="*/ 952499 h 1562100"/>
              <a:gd name="T38" fmla="*/ 687371 w 4897344"/>
              <a:gd name="T39" fmla="*/ 1079499 h 1562100"/>
              <a:gd name="T40" fmla="*/ 647238 w 4897344"/>
              <a:gd name="T41" fmla="*/ 1117599 h 1562100"/>
              <a:gd name="T42" fmla="*/ 549469 w 4897344"/>
              <a:gd name="T43" fmla="*/ 1206499 h 1562100"/>
              <a:gd name="T44" fmla="*/ 864218 w 4897344"/>
              <a:gd name="T45" fmla="*/ 1231899 h 1562100"/>
              <a:gd name="T46" fmla="*/ 1005674 w 4897344"/>
              <a:gd name="T47" fmla="*/ 1066799 h 1562100"/>
              <a:gd name="T48" fmla="*/ 1247389 w 4897344"/>
              <a:gd name="T49" fmla="*/ 825499 h 1562100"/>
              <a:gd name="T50" fmla="*/ 1570836 w 4897344"/>
              <a:gd name="T51" fmla="*/ 584199 h 1562100"/>
              <a:gd name="T52" fmla="*/ 2001549 w 4897344"/>
              <a:gd name="T53" fmla="*/ 380999 h 1562100"/>
              <a:gd name="T54" fmla="*/ 2754041 w 4897344"/>
              <a:gd name="T55" fmla="*/ 241299 h 1562100"/>
              <a:gd name="T56" fmla="*/ 3668830 w 4897344"/>
              <a:gd name="T57" fmla="*/ 152399 h 1562100"/>
              <a:gd name="T58" fmla="*/ 3257378 w 4897344"/>
              <a:gd name="T59" fmla="*/ 38099 h 1562100"/>
              <a:gd name="T60" fmla="*/ 292679 w 4897344"/>
              <a:gd name="T61" fmla="*/ 1181099 h 1562100"/>
              <a:gd name="T62" fmla="*/ 256057 w 4897344"/>
              <a:gd name="T63" fmla="*/ 1168399 h 1562100"/>
              <a:gd name="T64" fmla="*/ 4453898 w 4897344"/>
              <a:gd name="T65" fmla="*/ 634999 h 1562100"/>
              <a:gd name="T66" fmla="*/ 4529142 w 4897344"/>
              <a:gd name="T67" fmla="*/ 622299 h 1562100"/>
              <a:gd name="T68" fmla="*/ 4566070 w 4897344"/>
              <a:gd name="T69" fmla="*/ 609599 h 1562100"/>
              <a:gd name="T70" fmla="*/ 4743240 w 4897344"/>
              <a:gd name="T71" fmla="*/ 609599 h 1562100"/>
              <a:gd name="T72" fmla="*/ 4776237 w 4897344"/>
              <a:gd name="T73" fmla="*/ 596899 h 1562100"/>
              <a:gd name="T74" fmla="*/ 3039902 w 4897344"/>
              <a:gd name="T75" fmla="*/ 241299 h 1562100"/>
              <a:gd name="T76" fmla="*/ 3590190 w 4897344"/>
              <a:gd name="T77" fmla="*/ 368299 h 1562100"/>
              <a:gd name="T78" fmla="*/ 3892681 w 4897344"/>
              <a:gd name="T79" fmla="*/ 482599 h 1562100"/>
              <a:gd name="T80" fmla="*/ 4041543 w 4897344"/>
              <a:gd name="T81" fmla="*/ 558799 h 1562100"/>
              <a:gd name="T82" fmla="*/ 4805867 w 4897344"/>
              <a:gd name="T83" fmla="*/ 584199 h 1562100"/>
              <a:gd name="T84" fmla="*/ 4896502 w 4897344"/>
              <a:gd name="T85" fmla="*/ 431799 h 1562100"/>
              <a:gd name="T86" fmla="*/ 4249032 w 4897344"/>
              <a:gd name="T87" fmla="*/ 393699 h 1562100"/>
              <a:gd name="T88" fmla="*/ 4165212 w 4897344"/>
              <a:gd name="T89" fmla="*/ 355599 h 1562100"/>
              <a:gd name="T90" fmla="*/ 4096559 w 4897344"/>
              <a:gd name="T91" fmla="*/ 330199 h 1562100"/>
              <a:gd name="T92" fmla="*/ 4776195 w 4897344"/>
              <a:gd name="T93" fmla="*/ 215899 h 1562100"/>
              <a:gd name="T94" fmla="*/ 4562068 w 4897344"/>
              <a:gd name="T95" fmla="*/ 253999 h 1562100"/>
              <a:gd name="T96" fmla="*/ 4517697 w 4897344"/>
              <a:gd name="T97" fmla="*/ 304799 h 1562100"/>
              <a:gd name="T98" fmla="*/ 4440532 w 4897344"/>
              <a:gd name="T99" fmla="*/ 393699 h 1562100"/>
              <a:gd name="T100" fmla="*/ 4893310 w 4897344"/>
              <a:gd name="T101" fmla="*/ 368299 h 1562100"/>
              <a:gd name="T102" fmla="*/ 4816896 w 4897344"/>
              <a:gd name="T103" fmla="*/ 241299 h 1562100"/>
              <a:gd name="T104" fmla="*/ 4648866 w 4897344"/>
              <a:gd name="T105" fmla="*/ 203199 h 1562100"/>
              <a:gd name="T106" fmla="*/ 2753363 w 4897344"/>
              <a:gd name="T107" fmla="*/ 12699 h 15621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897344" h="1562100">
                <a:moveTo>
                  <a:pt x="286932" y="1549399"/>
                </a:moveTo>
                <a:lnTo>
                  <a:pt x="121546" y="1549399"/>
                </a:lnTo>
                <a:lnTo>
                  <a:pt x="136259" y="1562099"/>
                </a:lnTo>
                <a:lnTo>
                  <a:pt x="274660" y="1562099"/>
                </a:lnTo>
                <a:lnTo>
                  <a:pt x="286932" y="1549399"/>
                </a:lnTo>
                <a:close/>
              </a:path>
              <a:path w="4897344" h="1562100">
                <a:moveTo>
                  <a:pt x="304187" y="1181099"/>
                </a:moveTo>
                <a:lnTo>
                  <a:pt x="101636" y="1181099"/>
                </a:lnTo>
                <a:lnTo>
                  <a:pt x="88069" y="1193799"/>
                </a:lnTo>
                <a:lnTo>
                  <a:pt x="75311" y="1206499"/>
                </a:lnTo>
                <a:lnTo>
                  <a:pt x="63402" y="1219199"/>
                </a:lnTo>
                <a:lnTo>
                  <a:pt x="52383" y="1219199"/>
                </a:lnTo>
                <a:lnTo>
                  <a:pt x="42295" y="1231899"/>
                </a:lnTo>
                <a:lnTo>
                  <a:pt x="33178" y="1244599"/>
                </a:lnTo>
                <a:lnTo>
                  <a:pt x="25074" y="1269999"/>
                </a:lnTo>
                <a:lnTo>
                  <a:pt x="18023" y="1282699"/>
                </a:lnTo>
                <a:lnTo>
                  <a:pt x="3599" y="1320799"/>
                </a:lnTo>
                <a:lnTo>
                  <a:pt x="0" y="1358899"/>
                </a:lnTo>
                <a:lnTo>
                  <a:pt x="127" y="1371599"/>
                </a:lnTo>
                <a:lnTo>
                  <a:pt x="1594" y="1384299"/>
                </a:lnTo>
                <a:lnTo>
                  <a:pt x="4441" y="1409699"/>
                </a:lnTo>
                <a:lnTo>
                  <a:pt x="8623" y="1422399"/>
                </a:lnTo>
                <a:lnTo>
                  <a:pt x="14028" y="1435099"/>
                </a:lnTo>
                <a:lnTo>
                  <a:pt x="20595" y="1447799"/>
                </a:lnTo>
                <a:lnTo>
                  <a:pt x="28259" y="1460499"/>
                </a:lnTo>
                <a:lnTo>
                  <a:pt x="36958" y="1485899"/>
                </a:lnTo>
                <a:lnTo>
                  <a:pt x="46629" y="1498599"/>
                </a:lnTo>
                <a:lnTo>
                  <a:pt x="57210" y="1511299"/>
                </a:lnTo>
                <a:lnTo>
                  <a:pt x="68636" y="1511299"/>
                </a:lnTo>
                <a:lnTo>
                  <a:pt x="80846" y="1523999"/>
                </a:lnTo>
                <a:lnTo>
                  <a:pt x="93776" y="1536699"/>
                </a:lnTo>
                <a:lnTo>
                  <a:pt x="107364" y="1549399"/>
                </a:lnTo>
                <a:lnTo>
                  <a:pt x="298754" y="1549399"/>
                </a:lnTo>
                <a:lnTo>
                  <a:pt x="310110" y="1536699"/>
                </a:lnTo>
                <a:lnTo>
                  <a:pt x="320977" y="1536699"/>
                </a:lnTo>
                <a:lnTo>
                  <a:pt x="331338" y="1523999"/>
                </a:lnTo>
                <a:lnTo>
                  <a:pt x="341172" y="1523999"/>
                </a:lnTo>
                <a:lnTo>
                  <a:pt x="350460" y="1511299"/>
                </a:lnTo>
                <a:lnTo>
                  <a:pt x="359182" y="1498599"/>
                </a:lnTo>
                <a:lnTo>
                  <a:pt x="397249" y="1498599"/>
                </a:lnTo>
                <a:lnTo>
                  <a:pt x="409646" y="1485899"/>
                </a:lnTo>
                <a:lnTo>
                  <a:pt x="459111" y="1485899"/>
                </a:lnTo>
                <a:lnTo>
                  <a:pt x="475855" y="1473199"/>
                </a:lnTo>
                <a:lnTo>
                  <a:pt x="509723" y="1473199"/>
                </a:lnTo>
                <a:lnTo>
                  <a:pt x="526825" y="1460499"/>
                </a:lnTo>
                <a:lnTo>
                  <a:pt x="544023" y="1460499"/>
                </a:lnTo>
                <a:lnTo>
                  <a:pt x="561307" y="1447799"/>
                </a:lnTo>
                <a:lnTo>
                  <a:pt x="578666" y="1447799"/>
                </a:lnTo>
                <a:lnTo>
                  <a:pt x="613562" y="1422399"/>
                </a:lnTo>
                <a:lnTo>
                  <a:pt x="631076" y="1422399"/>
                </a:lnTo>
                <a:lnTo>
                  <a:pt x="788695" y="1308099"/>
                </a:lnTo>
                <a:lnTo>
                  <a:pt x="806002" y="1282699"/>
                </a:lnTo>
                <a:lnTo>
                  <a:pt x="814065" y="1282699"/>
                </a:lnTo>
                <a:lnTo>
                  <a:pt x="822211" y="1269999"/>
                </a:lnTo>
                <a:lnTo>
                  <a:pt x="830439" y="1257299"/>
                </a:lnTo>
                <a:lnTo>
                  <a:pt x="379414" y="1257299"/>
                </a:lnTo>
                <a:lnTo>
                  <a:pt x="371984" y="1244599"/>
                </a:lnTo>
                <a:lnTo>
                  <a:pt x="363922" y="1231899"/>
                </a:lnTo>
                <a:lnTo>
                  <a:pt x="355262" y="1219199"/>
                </a:lnTo>
                <a:lnTo>
                  <a:pt x="346039" y="1206499"/>
                </a:lnTo>
                <a:lnTo>
                  <a:pt x="336285" y="1206499"/>
                </a:lnTo>
                <a:lnTo>
                  <a:pt x="326036" y="1193799"/>
                </a:lnTo>
                <a:lnTo>
                  <a:pt x="315325" y="1193799"/>
                </a:lnTo>
                <a:lnTo>
                  <a:pt x="304187" y="1181099"/>
                </a:lnTo>
                <a:close/>
              </a:path>
              <a:path w="4897344" h="1562100">
                <a:moveTo>
                  <a:pt x="855607" y="1231899"/>
                </a:moveTo>
                <a:lnTo>
                  <a:pt x="482742" y="1231899"/>
                </a:lnTo>
                <a:lnTo>
                  <a:pt x="469895" y="1244599"/>
                </a:lnTo>
                <a:lnTo>
                  <a:pt x="444799" y="1244599"/>
                </a:lnTo>
                <a:lnTo>
                  <a:pt x="432576" y="1257299"/>
                </a:lnTo>
                <a:lnTo>
                  <a:pt x="838749" y="1257299"/>
                </a:lnTo>
                <a:lnTo>
                  <a:pt x="847138" y="1244599"/>
                </a:lnTo>
                <a:lnTo>
                  <a:pt x="855607" y="1231899"/>
                </a:lnTo>
                <a:close/>
              </a:path>
              <a:path w="4897344" h="1562100">
                <a:moveTo>
                  <a:pt x="3066869" y="12699"/>
                </a:moveTo>
                <a:lnTo>
                  <a:pt x="2640903" y="12699"/>
                </a:lnTo>
                <a:lnTo>
                  <a:pt x="2404689" y="38099"/>
                </a:lnTo>
                <a:lnTo>
                  <a:pt x="2280662" y="63499"/>
                </a:lnTo>
                <a:lnTo>
                  <a:pt x="2268102" y="63499"/>
                </a:lnTo>
                <a:lnTo>
                  <a:pt x="2145431" y="101599"/>
                </a:lnTo>
                <a:lnTo>
                  <a:pt x="2028861" y="126999"/>
                </a:lnTo>
                <a:lnTo>
                  <a:pt x="1918204" y="165099"/>
                </a:lnTo>
                <a:lnTo>
                  <a:pt x="1813270" y="203199"/>
                </a:lnTo>
                <a:lnTo>
                  <a:pt x="1713873" y="253999"/>
                </a:lnTo>
                <a:lnTo>
                  <a:pt x="1619823" y="292099"/>
                </a:lnTo>
                <a:lnTo>
                  <a:pt x="1530933" y="342899"/>
                </a:lnTo>
                <a:lnTo>
                  <a:pt x="1447015" y="393699"/>
                </a:lnTo>
                <a:lnTo>
                  <a:pt x="1367880" y="444499"/>
                </a:lnTo>
                <a:lnTo>
                  <a:pt x="1293340" y="495299"/>
                </a:lnTo>
                <a:lnTo>
                  <a:pt x="1223208" y="546099"/>
                </a:lnTo>
                <a:lnTo>
                  <a:pt x="1157294" y="596899"/>
                </a:lnTo>
                <a:lnTo>
                  <a:pt x="1095411" y="660399"/>
                </a:lnTo>
                <a:lnTo>
                  <a:pt x="1037371" y="711199"/>
                </a:lnTo>
                <a:lnTo>
                  <a:pt x="982986" y="761999"/>
                </a:lnTo>
                <a:lnTo>
                  <a:pt x="932067" y="812799"/>
                </a:lnTo>
                <a:lnTo>
                  <a:pt x="884426" y="863599"/>
                </a:lnTo>
                <a:lnTo>
                  <a:pt x="839875" y="914399"/>
                </a:lnTo>
                <a:lnTo>
                  <a:pt x="798226" y="952499"/>
                </a:lnTo>
                <a:lnTo>
                  <a:pt x="731017" y="1028699"/>
                </a:lnTo>
                <a:lnTo>
                  <a:pt x="713057" y="1054099"/>
                </a:lnTo>
                <a:lnTo>
                  <a:pt x="704324" y="1066799"/>
                </a:lnTo>
                <a:lnTo>
                  <a:pt x="695747" y="1066799"/>
                </a:lnTo>
                <a:lnTo>
                  <a:pt x="687319" y="1079499"/>
                </a:lnTo>
                <a:lnTo>
                  <a:pt x="679035" y="1092199"/>
                </a:lnTo>
                <a:lnTo>
                  <a:pt x="670886" y="1092199"/>
                </a:lnTo>
                <a:lnTo>
                  <a:pt x="662867" y="1104899"/>
                </a:lnTo>
                <a:lnTo>
                  <a:pt x="654970" y="1117599"/>
                </a:lnTo>
                <a:lnTo>
                  <a:pt x="647190" y="1117599"/>
                </a:lnTo>
                <a:lnTo>
                  <a:pt x="633059" y="1142999"/>
                </a:lnTo>
                <a:lnTo>
                  <a:pt x="618960" y="1155699"/>
                </a:lnTo>
                <a:lnTo>
                  <a:pt x="604908" y="1155699"/>
                </a:lnTo>
                <a:lnTo>
                  <a:pt x="590915" y="1168399"/>
                </a:lnTo>
                <a:lnTo>
                  <a:pt x="549429" y="1206499"/>
                </a:lnTo>
                <a:lnTo>
                  <a:pt x="535810" y="1206499"/>
                </a:lnTo>
                <a:lnTo>
                  <a:pt x="522319" y="1219199"/>
                </a:lnTo>
                <a:lnTo>
                  <a:pt x="508968" y="1219199"/>
                </a:lnTo>
                <a:lnTo>
                  <a:pt x="495771" y="1231899"/>
                </a:lnTo>
                <a:lnTo>
                  <a:pt x="864154" y="1231899"/>
                </a:lnTo>
                <a:lnTo>
                  <a:pt x="872778" y="1219199"/>
                </a:lnTo>
                <a:lnTo>
                  <a:pt x="881478" y="1206499"/>
                </a:lnTo>
                <a:lnTo>
                  <a:pt x="899103" y="1181099"/>
                </a:lnTo>
                <a:lnTo>
                  <a:pt x="964820" y="1117599"/>
                </a:lnTo>
                <a:lnTo>
                  <a:pt x="1005598" y="1066799"/>
                </a:lnTo>
                <a:lnTo>
                  <a:pt x="1048624" y="1015999"/>
                </a:lnTo>
                <a:lnTo>
                  <a:pt x="1094103" y="977899"/>
                </a:lnTo>
                <a:lnTo>
                  <a:pt x="1142238" y="927099"/>
                </a:lnTo>
                <a:lnTo>
                  <a:pt x="1193233" y="876299"/>
                </a:lnTo>
                <a:lnTo>
                  <a:pt x="1247293" y="825499"/>
                </a:lnTo>
                <a:lnTo>
                  <a:pt x="1304623" y="774699"/>
                </a:lnTo>
                <a:lnTo>
                  <a:pt x="1365425" y="723899"/>
                </a:lnTo>
                <a:lnTo>
                  <a:pt x="1429906" y="673099"/>
                </a:lnTo>
                <a:lnTo>
                  <a:pt x="1498268" y="634999"/>
                </a:lnTo>
                <a:lnTo>
                  <a:pt x="1570716" y="584199"/>
                </a:lnTo>
                <a:lnTo>
                  <a:pt x="1647454" y="533399"/>
                </a:lnTo>
                <a:lnTo>
                  <a:pt x="1728688" y="495299"/>
                </a:lnTo>
                <a:lnTo>
                  <a:pt x="1814620" y="457199"/>
                </a:lnTo>
                <a:lnTo>
                  <a:pt x="1905455" y="419099"/>
                </a:lnTo>
                <a:lnTo>
                  <a:pt x="2001397" y="380999"/>
                </a:lnTo>
                <a:lnTo>
                  <a:pt x="2102652" y="342899"/>
                </a:lnTo>
                <a:lnTo>
                  <a:pt x="2209422" y="317499"/>
                </a:lnTo>
                <a:lnTo>
                  <a:pt x="2435525" y="266699"/>
                </a:lnTo>
                <a:lnTo>
                  <a:pt x="2651422" y="241299"/>
                </a:lnTo>
                <a:lnTo>
                  <a:pt x="2753833" y="241299"/>
                </a:lnTo>
                <a:lnTo>
                  <a:pt x="2852635" y="228599"/>
                </a:lnTo>
                <a:lnTo>
                  <a:pt x="3872631" y="228599"/>
                </a:lnTo>
                <a:lnTo>
                  <a:pt x="3808094" y="203199"/>
                </a:lnTo>
                <a:lnTo>
                  <a:pt x="3740078" y="177799"/>
                </a:lnTo>
                <a:lnTo>
                  <a:pt x="3668550" y="152399"/>
                </a:lnTo>
                <a:lnTo>
                  <a:pt x="3593479" y="126999"/>
                </a:lnTo>
                <a:lnTo>
                  <a:pt x="3514834" y="101599"/>
                </a:lnTo>
                <a:lnTo>
                  <a:pt x="3432582" y="76199"/>
                </a:lnTo>
                <a:lnTo>
                  <a:pt x="3346691" y="63499"/>
                </a:lnTo>
                <a:lnTo>
                  <a:pt x="3257130" y="38099"/>
                </a:lnTo>
                <a:lnTo>
                  <a:pt x="3066869" y="12699"/>
                </a:lnTo>
                <a:close/>
              </a:path>
              <a:path w="4897344" h="1562100">
                <a:moveTo>
                  <a:pt x="280763" y="1168399"/>
                </a:moveTo>
                <a:lnTo>
                  <a:pt x="131029" y="1168399"/>
                </a:lnTo>
                <a:lnTo>
                  <a:pt x="115969" y="1181099"/>
                </a:lnTo>
                <a:lnTo>
                  <a:pt x="292655" y="1181099"/>
                </a:lnTo>
                <a:lnTo>
                  <a:pt x="280763" y="1168399"/>
                </a:lnTo>
                <a:close/>
              </a:path>
              <a:path w="4897344" h="1562100">
                <a:moveTo>
                  <a:pt x="243270" y="1155699"/>
                </a:moveTo>
                <a:lnTo>
                  <a:pt x="163166" y="1155699"/>
                </a:lnTo>
                <a:lnTo>
                  <a:pt x="146775" y="1168399"/>
                </a:lnTo>
                <a:lnTo>
                  <a:pt x="256037" y="1168399"/>
                </a:lnTo>
                <a:lnTo>
                  <a:pt x="243270" y="1155699"/>
                </a:lnTo>
                <a:close/>
              </a:path>
              <a:path w="4897344" h="1562100">
                <a:moveTo>
                  <a:pt x="4470321" y="622299"/>
                </a:moveTo>
                <a:lnTo>
                  <a:pt x="4264014" y="622299"/>
                </a:lnTo>
                <a:lnTo>
                  <a:pt x="4284737" y="634999"/>
                </a:lnTo>
                <a:lnTo>
                  <a:pt x="4453558" y="634999"/>
                </a:lnTo>
                <a:lnTo>
                  <a:pt x="4470321" y="622299"/>
                </a:lnTo>
                <a:close/>
              </a:path>
              <a:path w="4897344" h="1562100">
                <a:moveTo>
                  <a:pt x="4541415" y="609599"/>
                </a:moveTo>
                <a:lnTo>
                  <a:pt x="4199531" y="609599"/>
                </a:lnTo>
                <a:lnTo>
                  <a:pt x="4221409" y="622299"/>
                </a:lnTo>
                <a:lnTo>
                  <a:pt x="4528798" y="622299"/>
                </a:lnTo>
                <a:lnTo>
                  <a:pt x="4541415" y="609599"/>
                </a:lnTo>
                <a:close/>
              </a:path>
              <a:path w="4897344" h="1562100">
                <a:moveTo>
                  <a:pt x="4577415" y="596899"/>
                </a:moveTo>
                <a:lnTo>
                  <a:pt x="4154629" y="596899"/>
                </a:lnTo>
                <a:lnTo>
                  <a:pt x="4177270" y="609599"/>
                </a:lnTo>
                <a:lnTo>
                  <a:pt x="4565722" y="609599"/>
                </a:lnTo>
                <a:lnTo>
                  <a:pt x="4577415" y="596899"/>
                </a:lnTo>
                <a:close/>
              </a:path>
              <a:path w="4897344" h="1562100">
                <a:moveTo>
                  <a:pt x="4759780" y="596899"/>
                </a:moveTo>
                <a:lnTo>
                  <a:pt x="4601758" y="596899"/>
                </a:lnTo>
                <a:lnTo>
                  <a:pt x="4614552" y="609599"/>
                </a:lnTo>
                <a:lnTo>
                  <a:pt x="4742880" y="609599"/>
                </a:lnTo>
                <a:lnTo>
                  <a:pt x="4759780" y="596899"/>
                </a:lnTo>
                <a:close/>
              </a:path>
              <a:path w="4897344" h="1562100">
                <a:moveTo>
                  <a:pt x="4791126" y="584199"/>
                </a:moveTo>
                <a:lnTo>
                  <a:pt x="4108212" y="584199"/>
                </a:lnTo>
                <a:lnTo>
                  <a:pt x="4131609" y="596899"/>
                </a:lnTo>
                <a:lnTo>
                  <a:pt x="4775873" y="596899"/>
                </a:lnTo>
                <a:lnTo>
                  <a:pt x="4791126" y="584199"/>
                </a:lnTo>
                <a:close/>
              </a:path>
              <a:path w="4897344" h="1562100">
                <a:moveTo>
                  <a:pt x="3872631" y="228599"/>
                </a:moveTo>
                <a:lnTo>
                  <a:pt x="2852635" y="228599"/>
                </a:lnTo>
                <a:lnTo>
                  <a:pt x="2947893" y="241299"/>
                </a:lnTo>
                <a:lnTo>
                  <a:pt x="3039670" y="241299"/>
                </a:lnTo>
                <a:lnTo>
                  <a:pt x="3294740" y="279399"/>
                </a:lnTo>
                <a:lnTo>
                  <a:pt x="3373220" y="304799"/>
                </a:lnTo>
                <a:lnTo>
                  <a:pt x="3448535" y="317499"/>
                </a:lnTo>
                <a:lnTo>
                  <a:pt x="3520746" y="342899"/>
                </a:lnTo>
                <a:lnTo>
                  <a:pt x="3589918" y="368299"/>
                </a:lnTo>
                <a:lnTo>
                  <a:pt x="3656112" y="393699"/>
                </a:lnTo>
                <a:lnTo>
                  <a:pt x="3719393" y="419099"/>
                </a:lnTo>
                <a:lnTo>
                  <a:pt x="3779823" y="444499"/>
                </a:lnTo>
                <a:lnTo>
                  <a:pt x="3837466" y="469899"/>
                </a:lnTo>
                <a:lnTo>
                  <a:pt x="3892385" y="482599"/>
                </a:lnTo>
                <a:lnTo>
                  <a:pt x="3981712" y="533399"/>
                </a:lnTo>
                <a:lnTo>
                  <a:pt x="4005883" y="533399"/>
                </a:lnTo>
                <a:lnTo>
                  <a:pt x="4017793" y="546099"/>
                </a:lnTo>
                <a:lnTo>
                  <a:pt x="4029578" y="546099"/>
                </a:lnTo>
                <a:lnTo>
                  <a:pt x="4041235" y="558799"/>
                </a:lnTo>
                <a:lnTo>
                  <a:pt x="4064144" y="558799"/>
                </a:lnTo>
                <a:lnTo>
                  <a:pt x="4075386" y="571499"/>
                </a:lnTo>
                <a:lnTo>
                  <a:pt x="4086482" y="571499"/>
                </a:lnTo>
                <a:lnTo>
                  <a:pt x="4097425" y="584199"/>
                </a:lnTo>
                <a:lnTo>
                  <a:pt x="4805503" y="584199"/>
                </a:lnTo>
                <a:lnTo>
                  <a:pt x="4818970" y="571499"/>
                </a:lnTo>
                <a:lnTo>
                  <a:pt x="4853576" y="533399"/>
                </a:lnTo>
                <a:lnTo>
                  <a:pt x="4878770" y="495299"/>
                </a:lnTo>
                <a:lnTo>
                  <a:pt x="4893632" y="444499"/>
                </a:lnTo>
                <a:lnTo>
                  <a:pt x="4896130" y="431799"/>
                </a:lnTo>
                <a:lnTo>
                  <a:pt x="4897344" y="419099"/>
                </a:lnTo>
                <a:lnTo>
                  <a:pt x="4897292" y="406399"/>
                </a:lnTo>
                <a:lnTo>
                  <a:pt x="4298166" y="406399"/>
                </a:lnTo>
                <a:lnTo>
                  <a:pt x="4282015" y="393699"/>
                </a:lnTo>
                <a:lnTo>
                  <a:pt x="4248708" y="393699"/>
                </a:lnTo>
                <a:lnTo>
                  <a:pt x="4231561" y="380999"/>
                </a:lnTo>
                <a:lnTo>
                  <a:pt x="4214092" y="380999"/>
                </a:lnTo>
                <a:lnTo>
                  <a:pt x="4196305" y="368299"/>
                </a:lnTo>
                <a:lnTo>
                  <a:pt x="4175569" y="368299"/>
                </a:lnTo>
                <a:lnTo>
                  <a:pt x="4164896" y="355599"/>
                </a:lnTo>
                <a:lnTo>
                  <a:pt x="4142914" y="355599"/>
                </a:lnTo>
                <a:lnTo>
                  <a:pt x="4131593" y="342899"/>
                </a:lnTo>
                <a:lnTo>
                  <a:pt x="4120045" y="342899"/>
                </a:lnTo>
                <a:lnTo>
                  <a:pt x="4108265" y="330199"/>
                </a:lnTo>
                <a:lnTo>
                  <a:pt x="4096247" y="330199"/>
                </a:lnTo>
                <a:lnTo>
                  <a:pt x="4071475" y="317499"/>
                </a:lnTo>
                <a:lnTo>
                  <a:pt x="3991395" y="279399"/>
                </a:lnTo>
                <a:lnTo>
                  <a:pt x="3933721" y="253999"/>
                </a:lnTo>
                <a:lnTo>
                  <a:pt x="3872631" y="228599"/>
                </a:lnTo>
                <a:close/>
              </a:path>
              <a:path w="4897344" h="1562100">
                <a:moveTo>
                  <a:pt x="4775831" y="215899"/>
                </a:moveTo>
                <a:lnTo>
                  <a:pt x="4608233" y="215899"/>
                </a:lnTo>
                <a:lnTo>
                  <a:pt x="4595785" y="228599"/>
                </a:lnTo>
                <a:lnTo>
                  <a:pt x="4583867" y="228599"/>
                </a:lnTo>
                <a:lnTo>
                  <a:pt x="4572504" y="241299"/>
                </a:lnTo>
                <a:lnTo>
                  <a:pt x="4561720" y="253999"/>
                </a:lnTo>
                <a:lnTo>
                  <a:pt x="4551540" y="253999"/>
                </a:lnTo>
                <a:lnTo>
                  <a:pt x="4541989" y="266699"/>
                </a:lnTo>
                <a:lnTo>
                  <a:pt x="4533091" y="279399"/>
                </a:lnTo>
                <a:lnTo>
                  <a:pt x="4524871" y="292099"/>
                </a:lnTo>
                <a:lnTo>
                  <a:pt x="4517353" y="304799"/>
                </a:lnTo>
                <a:lnTo>
                  <a:pt x="4510562" y="304799"/>
                </a:lnTo>
                <a:lnTo>
                  <a:pt x="4494797" y="342899"/>
                </a:lnTo>
                <a:lnTo>
                  <a:pt x="4486460" y="380999"/>
                </a:lnTo>
                <a:lnTo>
                  <a:pt x="4475488" y="393699"/>
                </a:lnTo>
                <a:lnTo>
                  <a:pt x="4440196" y="393699"/>
                </a:lnTo>
                <a:lnTo>
                  <a:pt x="4427654" y="406399"/>
                </a:lnTo>
                <a:lnTo>
                  <a:pt x="4897292" y="406399"/>
                </a:lnTo>
                <a:lnTo>
                  <a:pt x="4897239" y="393699"/>
                </a:lnTo>
                <a:lnTo>
                  <a:pt x="4895782" y="380999"/>
                </a:lnTo>
                <a:lnTo>
                  <a:pt x="4892938" y="368299"/>
                </a:lnTo>
                <a:lnTo>
                  <a:pt x="4888756" y="355599"/>
                </a:lnTo>
                <a:lnTo>
                  <a:pt x="4883350" y="330199"/>
                </a:lnTo>
                <a:lnTo>
                  <a:pt x="4860420" y="292099"/>
                </a:lnTo>
                <a:lnTo>
                  <a:pt x="4828742" y="253999"/>
                </a:lnTo>
                <a:lnTo>
                  <a:pt x="4816532" y="241299"/>
                </a:lnTo>
                <a:lnTo>
                  <a:pt x="4803601" y="241299"/>
                </a:lnTo>
                <a:lnTo>
                  <a:pt x="4790013" y="228599"/>
                </a:lnTo>
                <a:lnTo>
                  <a:pt x="4775831" y="215899"/>
                </a:lnTo>
                <a:close/>
              </a:path>
              <a:path w="4897344" h="1562100">
                <a:moveTo>
                  <a:pt x="4730344" y="203199"/>
                </a:moveTo>
                <a:lnTo>
                  <a:pt x="4648514" y="203199"/>
                </a:lnTo>
                <a:lnTo>
                  <a:pt x="4634622" y="215899"/>
                </a:lnTo>
                <a:lnTo>
                  <a:pt x="4745933" y="215899"/>
                </a:lnTo>
                <a:lnTo>
                  <a:pt x="4730344" y="203199"/>
                </a:lnTo>
                <a:close/>
              </a:path>
              <a:path w="4897344" h="1562100">
                <a:moveTo>
                  <a:pt x="2861545" y="0"/>
                </a:moveTo>
                <a:lnTo>
                  <a:pt x="2753155" y="12699"/>
                </a:lnTo>
                <a:lnTo>
                  <a:pt x="2966106" y="12699"/>
                </a:lnTo>
                <a:lnTo>
                  <a:pt x="286154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0" name="object 29">
            <a:extLst>
              <a:ext uri="{FF2B5EF4-FFF2-40B4-BE49-F238E27FC236}">
                <a16:creationId xmlns:a16="http://schemas.microsoft.com/office/drawing/2014/main" id="{75E8543C-E096-4993-84D4-D333C8726C3C}"/>
              </a:ext>
            </a:extLst>
          </p:cNvPr>
          <p:cNvSpPr>
            <a:spLocks/>
          </p:cNvSpPr>
          <p:nvPr/>
        </p:nvSpPr>
        <p:spPr bwMode="auto">
          <a:xfrm>
            <a:off x="6308504" y="1982219"/>
            <a:ext cx="1299170" cy="1933626"/>
          </a:xfrm>
          <a:custGeom>
            <a:avLst/>
            <a:gdLst>
              <a:gd name="T0" fmla="*/ 42614 w 2249383"/>
              <a:gd name="T1" fmla="*/ 2205225 h 3347720"/>
              <a:gd name="T2" fmla="*/ 18556 w 2249383"/>
              <a:gd name="T3" fmla="*/ 2219084 h 3347720"/>
              <a:gd name="T4" fmla="*/ 4170 w 2249383"/>
              <a:gd name="T5" fmla="*/ 2238025 h 3347720"/>
              <a:gd name="T6" fmla="*/ 139 w 2249383"/>
              <a:gd name="T7" fmla="*/ 2260933 h 3347720"/>
              <a:gd name="T8" fmla="*/ 1460 w 2249383"/>
              <a:gd name="T9" fmla="*/ 2286288 h 3347720"/>
              <a:gd name="T10" fmla="*/ 308 w 2249383"/>
              <a:gd name="T11" fmla="*/ 2311650 h 3347720"/>
              <a:gd name="T12" fmla="*/ 3717 w 2249383"/>
              <a:gd name="T13" fmla="*/ 2408950 h 3347720"/>
              <a:gd name="T14" fmla="*/ 32665 w 2249383"/>
              <a:gd name="T15" fmla="*/ 2571988 h 3347720"/>
              <a:gd name="T16" fmla="*/ 88357 w 2249383"/>
              <a:gd name="T17" fmla="*/ 2725027 h 3347720"/>
              <a:gd name="T18" fmla="*/ 168484 w 2249383"/>
              <a:gd name="T19" fmla="*/ 2866027 h 3347720"/>
              <a:gd name="T20" fmla="*/ 270727 w 2249383"/>
              <a:gd name="T21" fmla="*/ 2992964 h 3347720"/>
              <a:gd name="T22" fmla="*/ 392766 w 2249383"/>
              <a:gd name="T23" fmla="*/ 3103809 h 3347720"/>
              <a:gd name="T24" fmla="*/ 532292 w 2249383"/>
              <a:gd name="T25" fmla="*/ 3196527 h 3347720"/>
              <a:gd name="T26" fmla="*/ 686981 w 2249383"/>
              <a:gd name="T27" fmla="*/ 3269087 h 3347720"/>
              <a:gd name="T28" fmla="*/ 854521 w 2249383"/>
              <a:gd name="T29" fmla="*/ 3319464 h 3347720"/>
              <a:gd name="T30" fmla="*/ 1032627 w 2249383"/>
              <a:gd name="T31" fmla="*/ 3345629 h 3347720"/>
              <a:gd name="T32" fmla="*/ 1217130 w 2249383"/>
              <a:gd name="T33" fmla="*/ 3345627 h 3347720"/>
              <a:gd name="T34" fmla="*/ 1395192 w 2249383"/>
              <a:gd name="T35" fmla="*/ 3319497 h 3347720"/>
              <a:gd name="T36" fmla="*/ 1562734 w 2249383"/>
              <a:gd name="T37" fmla="*/ 3269241 h 3347720"/>
              <a:gd name="T38" fmla="*/ 1717427 w 2249383"/>
              <a:gd name="T39" fmla="*/ 3196950 h 3347720"/>
              <a:gd name="T40" fmla="*/ 1856959 w 2249383"/>
              <a:gd name="T41" fmla="*/ 3104707 h 3347720"/>
              <a:gd name="T42" fmla="*/ 1979005 w 2249383"/>
              <a:gd name="T43" fmla="*/ 2994604 h 3347720"/>
              <a:gd name="T44" fmla="*/ 2081259 w 2249383"/>
              <a:gd name="T45" fmla="*/ 2868733 h 3347720"/>
              <a:gd name="T46" fmla="*/ 2161399 w 2249383"/>
              <a:gd name="T47" fmla="*/ 2729183 h 3347720"/>
              <a:gd name="T48" fmla="*/ 2217107 w 2249383"/>
              <a:gd name="T49" fmla="*/ 2578043 h 3347720"/>
              <a:gd name="T50" fmla="*/ 2246075 w 2249383"/>
              <a:gd name="T51" fmla="*/ 2417402 h 3347720"/>
              <a:gd name="T52" fmla="*/ 2249671 w 2249383"/>
              <a:gd name="T53" fmla="*/ 2321386 h 3347720"/>
              <a:gd name="T54" fmla="*/ 2248729 w 2249383"/>
              <a:gd name="T55" fmla="*/ 2295978 h 3347720"/>
              <a:gd name="T56" fmla="*/ 2247365 w 2249383"/>
              <a:gd name="T57" fmla="*/ 2273884 h 3347720"/>
              <a:gd name="T58" fmla="*/ 2232275 w 2249383"/>
              <a:gd name="T59" fmla="*/ 2220028 h 3347720"/>
              <a:gd name="T60" fmla="*/ 2204477 w 2249383"/>
              <a:gd name="T61" fmla="*/ 2196310 h 3347720"/>
              <a:gd name="T62" fmla="*/ 1089658 w 2249383"/>
              <a:gd name="T63" fmla="*/ 231697 h 3347720"/>
              <a:gd name="T64" fmla="*/ 1124972 w 2249383"/>
              <a:gd name="T65" fmla="*/ 0 h 3347720"/>
              <a:gd name="T66" fmla="*/ 1089658 w 2249383"/>
              <a:gd name="T67" fmla="*/ 231697 h 3347720"/>
              <a:gd name="T68" fmla="*/ 1160028 w 2249383"/>
              <a:gd name="T69" fmla="*/ 2196310 h 3347720"/>
              <a:gd name="T70" fmla="*/ 1239408 w 2249383"/>
              <a:gd name="T71" fmla="*/ 232828 h 3347720"/>
              <a:gd name="T72" fmla="*/ 1239408 w 2249383"/>
              <a:gd name="T73" fmla="*/ 232828 h 3347720"/>
              <a:gd name="T74" fmla="*/ 2115807 w 2249383"/>
              <a:gd name="T75" fmla="*/ 2196310 h 3347720"/>
              <a:gd name="T76" fmla="*/ 1239408 w 2249383"/>
              <a:gd name="T77" fmla="*/ 232828 h 334772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49383" h="3347720">
                <a:moveTo>
                  <a:pt x="1124760" y="0"/>
                </a:moveTo>
                <a:lnTo>
                  <a:pt x="42606" y="2204389"/>
                </a:lnTo>
                <a:lnTo>
                  <a:pt x="29412" y="2210610"/>
                </a:lnTo>
                <a:lnTo>
                  <a:pt x="18552" y="2218240"/>
                </a:lnTo>
                <a:lnTo>
                  <a:pt x="10109" y="2227141"/>
                </a:lnTo>
                <a:lnTo>
                  <a:pt x="4170" y="2237173"/>
                </a:lnTo>
                <a:lnTo>
                  <a:pt x="818" y="2248197"/>
                </a:lnTo>
                <a:lnTo>
                  <a:pt x="139" y="2260073"/>
                </a:lnTo>
                <a:lnTo>
                  <a:pt x="2217" y="2272661"/>
                </a:lnTo>
                <a:lnTo>
                  <a:pt x="1460" y="2285420"/>
                </a:lnTo>
                <a:lnTo>
                  <a:pt x="809" y="2298112"/>
                </a:lnTo>
                <a:lnTo>
                  <a:pt x="308" y="2310770"/>
                </a:lnTo>
                <a:lnTo>
                  <a:pt x="0" y="2323428"/>
                </a:lnTo>
                <a:lnTo>
                  <a:pt x="3717" y="2408034"/>
                </a:lnTo>
                <a:lnTo>
                  <a:pt x="14699" y="2490646"/>
                </a:lnTo>
                <a:lnTo>
                  <a:pt x="32657" y="2571012"/>
                </a:lnTo>
                <a:lnTo>
                  <a:pt x="57300" y="2648878"/>
                </a:lnTo>
                <a:lnTo>
                  <a:pt x="88341" y="2723991"/>
                </a:lnTo>
                <a:lnTo>
                  <a:pt x="125488" y="2796095"/>
                </a:lnTo>
                <a:lnTo>
                  <a:pt x="168452" y="2864939"/>
                </a:lnTo>
                <a:lnTo>
                  <a:pt x="216944" y="2930268"/>
                </a:lnTo>
                <a:lnTo>
                  <a:pt x="270675" y="2991828"/>
                </a:lnTo>
                <a:lnTo>
                  <a:pt x="329355" y="3049367"/>
                </a:lnTo>
                <a:lnTo>
                  <a:pt x="392694" y="3102629"/>
                </a:lnTo>
                <a:lnTo>
                  <a:pt x="460403" y="3151362"/>
                </a:lnTo>
                <a:lnTo>
                  <a:pt x="532192" y="3195311"/>
                </a:lnTo>
                <a:lnTo>
                  <a:pt x="607772" y="3234224"/>
                </a:lnTo>
                <a:lnTo>
                  <a:pt x="686853" y="3267846"/>
                </a:lnTo>
                <a:lnTo>
                  <a:pt x="769146" y="3295924"/>
                </a:lnTo>
                <a:lnTo>
                  <a:pt x="854361" y="3318204"/>
                </a:lnTo>
                <a:lnTo>
                  <a:pt x="942299" y="3334442"/>
                </a:lnTo>
                <a:lnTo>
                  <a:pt x="1032435" y="3344357"/>
                </a:lnTo>
                <a:lnTo>
                  <a:pt x="1124646" y="3347720"/>
                </a:lnTo>
                <a:lnTo>
                  <a:pt x="1216902" y="3344355"/>
                </a:lnTo>
                <a:lnTo>
                  <a:pt x="1307136" y="3334432"/>
                </a:lnTo>
                <a:lnTo>
                  <a:pt x="1394932" y="3318237"/>
                </a:lnTo>
                <a:lnTo>
                  <a:pt x="1480148" y="3296003"/>
                </a:lnTo>
                <a:lnTo>
                  <a:pt x="1562442" y="3268000"/>
                </a:lnTo>
                <a:lnTo>
                  <a:pt x="1641525" y="3234490"/>
                </a:lnTo>
                <a:lnTo>
                  <a:pt x="1717107" y="3195734"/>
                </a:lnTo>
                <a:lnTo>
                  <a:pt x="1788899" y="3151992"/>
                </a:lnTo>
                <a:lnTo>
                  <a:pt x="1856611" y="3103527"/>
                </a:lnTo>
                <a:lnTo>
                  <a:pt x="1919953" y="3050598"/>
                </a:lnTo>
                <a:lnTo>
                  <a:pt x="1978637" y="2993468"/>
                </a:lnTo>
                <a:lnTo>
                  <a:pt x="2032373" y="2932396"/>
                </a:lnTo>
                <a:lnTo>
                  <a:pt x="2080871" y="2867645"/>
                </a:lnTo>
                <a:lnTo>
                  <a:pt x="2123841" y="2799475"/>
                </a:lnTo>
                <a:lnTo>
                  <a:pt x="2160995" y="2728147"/>
                </a:lnTo>
                <a:lnTo>
                  <a:pt x="2192043" y="2653923"/>
                </a:lnTo>
                <a:lnTo>
                  <a:pt x="2216695" y="2577063"/>
                </a:lnTo>
                <a:lnTo>
                  <a:pt x="2234662" y="2497829"/>
                </a:lnTo>
                <a:lnTo>
                  <a:pt x="2245655" y="2416482"/>
                </a:lnTo>
                <a:lnTo>
                  <a:pt x="2249383" y="2333282"/>
                </a:lnTo>
                <a:lnTo>
                  <a:pt x="2249251" y="2320506"/>
                </a:lnTo>
                <a:lnTo>
                  <a:pt x="2248880" y="2307784"/>
                </a:lnTo>
                <a:lnTo>
                  <a:pt x="2248309" y="2295106"/>
                </a:lnTo>
                <a:lnTo>
                  <a:pt x="2247577" y="2282466"/>
                </a:lnTo>
                <a:lnTo>
                  <a:pt x="2246945" y="2273020"/>
                </a:lnTo>
                <a:lnTo>
                  <a:pt x="2249098" y="2260623"/>
                </a:lnTo>
                <a:lnTo>
                  <a:pt x="2231859" y="2219184"/>
                </a:lnTo>
                <a:lnTo>
                  <a:pt x="2208853" y="2205214"/>
                </a:lnTo>
                <a:lnTo>
                  <a:pt x="2204065" y="2195474"/>
                </a:lnTo>
                <a:lnTo>
                  <a:pt x="125372" y="2195474"/>
                </a:lnTo>
                <a:lnTo>
                  <a:pt x="1089454" y="231609"/>
                </a:lnTo>
                <a:lnTo>
                  <a:pt x="1238621" y="231609"/>
                </a:lnTo>
                <a:lnTo>
                  <a:pt x="1124760" y="0"/>
                </a:lnTo>
                <a:close/>
              </a:path>
              <a:path w="2249383" h="3347720">
                <a:moveTo>
                  <a:pt x="1238621" y="231609"/>
                </a:moveTo>
                <a:lnTo>
                  <a:pt x="1089454" y="231609"/>
                </a:lnTo>
                <a:lnTo>
                  <a:pt x="1089454" y="2195474"/>
                </a:lnTo>
                <a:lnTo>
                  <a:pt x="1159812" y="2195474"/>
                </a:lnTo>
                <a:lnTo>
                  <a:pt x="1159812" y="232740"/>
                </a:lnTo>
                <a:lnTo>
                  <a:pt x="1239176" y="232740"/>
                </a:lnTo>
                <a:lnTo>
                  <a:pt x="1238621" y="231609"/>
                </a:lnTo>
                <a:close/>
              </a:path>
              <a:path w="2249383" h="3347720">
                <a:moveTo>
                  <a:pt x="1239176" y="232740"/>
                </a:moveTo>
                <a:lnTo>
                  <a:pt x="1159812" y="232740"/>
                </a:lnTo>
                <a:lnTo>
                  <a:pt x="2115411" y="2195474"/>
                </a:lnTo>
                <a:lnTo>
                  <a:pt x="2204065" y="2195474"/>
                </a:lnTo>
                <a:lnTo>
                  <a:pt x="1239176" y="2327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1" name="object 30">
            <a:extLst>
              <a:ext uri="{FF2B5EF4-FFF2-40B4-BE49-F238E27FC236}">
                <a16:creationId xmlns:a16="http://schemas.microsoft.com/office/drawing/2014/main" id="{86171308-0E5E-42BA-B3E5-DBC445A4831D}"/>
              </a:ext>
            </a:extLst>
          </p:cNvPr>
          <p:cNvSpPr>
            <a:spLocks/>
          </p:cNvSpPr>
          <p:nvPr/>
        </p:nvSpPr>
        <p:spPr bwMode="auto">
          <a:xfrm>
            <a:off x="3550635" y="2572667"/>
            <a:ext cx="1466035" cy="2129831"/>
          </a:xfrm>
          <a:custGeom>
            <a:avLst/>
            <a:gdLst>
              <a:gd name="T0" fmla="*/ 48100 w 2249383"/>
              <a:gd name="T1" fmla="*/ 2428989 h 3347720"/>
              <a:gd name="T2" fmla="*/ 20945 w 2249383"/>
              <a:gd name="T3" fmla="*/ 2444254 h 3347720"/>
              <a:gd name="T4" fmla="*/ 4707 w 2249383"/>
              <a:gd name="T5" fmla="*/ 2465117 h 3347720"/>
              <a:gd name="T6" fmla="*/ 157 w 2249383"/>
              <a:gd name="T7" fmla="*/ 2490349 h 3347720"/>
              <a:gd name="T8" fmla="*/ 1648 w 2249383"/>
              <a:gd name="T9" fmla="*/ 2518278 h 3347720"/>
              <a:gd name="T10" fmla="*/ 348 w 2249383"/>
              <a:gd name="T11" fmla="*/ 2546212 h 3347720"/>
              <a:gd name="T12" fmla="*/ 4196 w 2249383"/>
              <a:gd name="T13" fmla="*/ 2653386 h 3347720"/>
              <a:gd name="T14" fmla="*/ 36869 w 2249383"/>
              <a:gd name="T15" fmla="*/ 2832968 h 3347720"/>
              <a:gd name="T16" fmla="*/ 99731 w 2249383"/>
              <a:gd name="T17" fmla="*/ 3001535 h 3347720"/>
              <a:gd name="T18" fmla="*/ 190173 w 2249383"/>
              <a:gd name="T19" fmla="*/ 3156843 h 3347720"/>
              <a:gd name="T20" fmla="*/ 305577 w 2249383"/>
              <a:gd name="T21" fmla="*/ 3296660 h 3347720"/>
              <a:gd name="T22" fmla="*/ 443327 w 2249383"/>
              <a:gd name="T23" fmla="*/ 3418752 h 3347720"/>
              <a:gd name="T24" fmla="*/ 600814 w 2249383"/>
              <a:gd name="T25" fmla="*/ 3520878 h 3347720"/>
              <a:gd name="T26" fmla="*/ 775417 w 2249383"/>
              <a:gd name="T27" fmla="*/ 3600800 h 3347720"/>
              <a:gd name="T28" fmla="*/ 964524 w 2249383"/>
              <a:gd name="T29" fmla="*/ 3656290 h 3347720"/>
              <a:gd name="T30" fmla="*/ 1165558 w 2249383"/>
              <a:gd name="T31" fmla="*/ 3685109 h 3347720"/>
              <a:gd name="T32" fmla="*/ 1373814 w 2249383"/>
              <a:gd name="T33" fmla="*/ 3685107 h 3347720"/>
              <a:gd name="T34" fmla="*/ 1574801 w 2249383"/>
              <a:gd name="T35" fmla="*/ 3656326 h 3347720"/>
              <a:gd name="T36" fmla="*/ 1763912 w 2249383"/>
              <a:gd name="T37" fmla="*/ 3600970 h 3347720"/>
              <a:gd name="T38" fmla="*/ 1938519 w 2249383"/>
              <a:gd name="T39" fmla="*/ 3521344 h 3347720"/>
              <a:gd name="T40" fmla="*/ 2096012 w 2249383"/>
              <a:gd name="T41" fmla="*/ 3419741 h 3347720"/>
              <a:gd name="T42" fmla="*/ 2233768 w 2249383"/>
              <a:gd name="T43" fmla="*/ 3298467 h 3347720"/>
              <a:gd name="T44" fmla="*/ 2349184 w 2249383"/>
              <a:gd name="T45" fmla="*/ 3159824 h 3347720"/>
              <a:gd name="T46" fmla="*/ 2439639 w 2249383"/>
              <a:gd name="T47" fmla="*/ 3006113 h 3347720"/>
              <a:gd name="T48" fmla="*/ 2502518 w 2249383"/>
              <a:gd name="T49" fmla="*/ 2839637 h 3347720"/>
              <a:gd name="T50" fmla="*/ 2535213 w 2249383"/>
              <a:gd name="T51" fmla="*/ 2662695 h 3347720"/>
              <a:gd name="T52" fmla="*/ 2539273 w 2249383"/>
              <a:gd name="T53" fmla="*/ 2556937 h 3347720"/>
              <a:gd name="T54" fmla="*/ 2538209 w 2249383"/>
              <a:gd name="T55" fmla="*/ 2528951 h 3347720"/>
              <a:gd name="T56" fmla="*/ 2536670 w 2249383"/>
              <a:gd name="T57" fmla="*/ 2504615 h 3347720"/>
              <a:gd name="T58" fmla="*/ 2519643 w 2249383"/>
              <a:gd name="T59" fmla="*/ 2445294 h 3347720"/>
              <a:gd name="T60" fmla="*/ 2488264 w 2249383"/>
              <a:gd name="T61" fmla="*/ 2419169 h 3347720"/>
              <a:gd name="T62" fmla="*/ 1229930 w 2249383"/>
              <a:gd name="T63" fmla="*/ 255207 h 3347720"/>
              <a:gd name="T64" fmla="*/ 1269790 w 2249383"/>
              <a:gd name="T65" fmla="*/ 0 h 3347720"/>
              <a:gd name="T66" fmla="*/ 1229930 w 2249383"/>
              <a:gd name="T67" fmla="*/ 255207 h 3347720"/>
              <a:gd name="T68" fmla="*/ 1309374 w 2249383"/>
              <a:gd name="T69" fmla="*/ 2419169 h 3347720"/>
              <a:gd name="T70" fmla="*/ 1398959 w 2249383"/>
              <a:gd name="T71" fmla="*/ 256453 h 3347720"/>
              <a:gd name="T72" fmla="*/ 1398959 w 2249383"/>
              <a:gd name="T73" fmla="*/ 256453 h 3347720"/>
              <a:gd name="T74" fmla="*/ 2388176 w 2249383"/>
              <a:gd name="T75" fmla="*/ 2419169 h 3347720"/>
              <a:gd name="T76" fmla="*/ 1398959 w 2249383"/>
              <a:gd name="T77" fmla="*/ 256453 h 334772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49383" h="3347720">
                <a:moveTo>
                  <a:pt x="1124760" y="0"/>
                </a:moveTo>
                <a:lnTo>
                  <a:pt x="42606" y="2204389"/>
                </a:lnTo>
                <a:lnTo>
                  <a:pt x="29412" y="2210610"/>
                </a:lnTo>
                <a:lnTo>
                  <a:pt x="18552" y="2218240"/>
                </a:lnTo>
                <a:lnTo>
                  <a:pt x="10109" y="2227141"/>
                </a:lnTo>
                <a:lnTo>
                  <a:pt x="4170" y="2237173"/>
                </a:lnTo>
                <a:lnTo>
                  <a:pt x="818" y="2248197"/>
                </a:lnTo>
                <a:lnTo>
                  <a:pt x="139" y="2260073"/>
                </a:lnTo>
                <a:lnTo>
                  <a:pt x="2217" y="2272661"/>
                </a:lnTo>
                <a:lnTo>
                  <a:pt x="1460" y="2285420"/>
                </a:lnTo>
                <a:lnTo>
                  <a:pt x="809" y="2298112"/>
                </a:lnTo>
                <a:lnTo>
                  <a:pt x="308" y="2310770"/>
                </a:lnTo>
                <a:lnTo>
                  <a:pt x="0" y="2323428"/>
                </a:lnTo>
                <a:lnTo>
                  <a:pt x="3717" y="2408034"/>
                </a:lnTo>
                <a:lnTo>
                  <a:pt x="14699" y="2490646"/>
                </a:lnTo>
                <a:lnTo>
                  <a:pt x="32657" y="2571012"/>
                </a:lnTo>
                <a:lnTo>
                  <a:pt x="57300" y="2648878"/>
                </a:lnTo>
                <a:lnTo>
                  <a:pt x="88341" y="2723991"/>
                </a:lnTo>
                <a:lnTo>
                  <a:pt x="125488" y="2796095"/>
                </a:lnTo>
                <a:lnTo>
                  <a:pt x="168452" y="2864939"/>
                </a:lnTo>
                <a:lnTo>
                  <a:pt x="216944" y="2930268"/>
                </a:lnTo>
                <a:lnTo>
                  <a:pt x="270675" y="2991828"/>
                </a:lnTo>
                <a:lnTo>
                  <a:pt x="329355" y="3049367"/>
                </a:lnTo>
                <a:lnTo>
                  <a:pt x="392694" y="3102629"/>
                </a:lnTo>
                <a:lnTo>
                  <a:pt x="460403" y="3151362"/>
                </a:lnTo>
                <a:lnTo>
                  <a:pt x="532192" y="3195311"/>
                </a:lnTo>
                <a:lnTo>
                  <a:pt x="607772" y="3234224"/>
                </a:lnTo>
                <a:lnTo>
                  <a:pt x="686853" y="3267846"/>
                </a:lnTo>
                <a:lnTo>
                  <a:pt x="769146" y="3295924"/>
                </a:lnTo>
                <a:lnTo>
                  <a:pt x="854361" y="3318204"/>
                </a:lnTo>
                <a:lnTo>
                  <a:pt x="942299" y="3334442"/>
                </a:lnTo>
                <a:lnTo>
                  <a:pt x="1032435" y="3344357"/>
                </a:lnTo>
                <a:lnTo>
                  <a:pt x="1124646" y="3347720"/>
                </a:lnTo>
                <a:lnTo>
                  <a:pt x="1216904" y="3344355"/>
                </a:lnTo>
                <a:lnTo>
                  <a:pt x="1307139" y="3334432"/>
                </a:lnTo>
                <a:lnTo>
                  <a:pt x="1394936" y="3318237"/>
                </a:lnTo>
                <a:lnTo>
                  <a:pt x="1480153" y="3296003"/>
                </a:lnTo>
                <a:lnTo>
                  <a:pt x="1562448" y="3268000"/>
                </a:lnTo>
                <a:lnTo>
                  <a:pt x="1641531" y="3234490"/>
                </a:lnTo>
                <a:lnTo>
                  <a:pt x="1717113" y="3195734"/>
                </a:lnTo>
                <a:lnTo>
                  <a:pt x="1788904" y="3151992"/>
                </a:lnTo>
                <a:lnTo>
                  <a:pt x="1856616" y="3103527"/>
                </a:lnTo>
                <a:lnTo>
                  <a:pt x="1919958" y="3050598"/>
                </a:lnTo>
                <a:lnTo>
                  <a:pt x="1978641" y="2993468"/>
                </a:lnTo>
                <a:lnTo>
                  <a:pt x="2032376" y="2932396"/>
                </a:lnTo>
                <a:lnTo>
                  <a:pt x="2080874" y="2867645"/>
                </a:lnTo>
                <a:lnTo>
                  <a:pt x="2123844" y="2799475"/>
                </a:lnTo>
                <a:lnTo>
                  <a:pt x="2160997" y="2728147"/>
                </a:lnTo>
                <a:lnTo>
                  <a:pt x="2192044" y="2653923"/>
                </a:lnTo>
                <a:lnTo>
                  <a:pt x="2216696" y="2577063"/>
                </a:lnTo>
                <a:lnTo>
                  <a:pt x="2234663" y="2497829"/>
                </a:lnTo>
                <a:lnTo>
                  <a:pt x="2245655" y="2416482"/>
                </a:lnTo>
                <a:lnTo>
                  <a:pt x="2249383" y="2333282"/>
                </a:lnTo>
                <a:lnTo>
                  <a:pt x="2249251" y="2320506"/>
                </a:lnTo>
                <a:lnTo>
                  <a:pt x="2248880" y="2307784"/>
                </a:lnTo>
                <a:lnTo>
                  <a:pt x="2248309" y="2295106"/>
                </a:lnTo>
                <a:lnTo>
                  <a:pt x="2247577" y="2282466"/>
                </a:lnTo>
                <a:lnTo>
                  <a:pt x="2246945" y="2273020"/>
                </a:lnTo>
                <a:lnTo>
                  <a:pt x="2249099" y="2260623"/>
                </a:lnTo>
                <a:lnTo>
                  <a:pt x="2231864" y="2219184"/>
                </a:lnTo>
                <a:lnTo>
                  <a:pt x="2208856" y="2205214"/>
                </a:lnTo>
                <a:lnTo>
                  <a:pt x="2204068" y="2195474"/>
                </a:lnTo>
                <a:lnTo>
                  <a:pt x="125372" y="2195474"/>
                </a:lnTo>
                <a:lnTo>
                  <a:pt x="1089454" y="231609"/>
                </a:lnTo>
                <a:lnTo>
                  <a:pt x="1238621" y="231609"/>
                </a:lnTo>
                <a:lnTo>
                  <a:pt x="1124760" y="0"/>
                </a:lnTo>
                <a:close/>
              </a:path>
              <a:path w="2249383" h="3347720">
                <a:moveTo>
                  <a:pt x="1238621" y="231609"/>
                </a:moveTo>
                <a:lnTo>
                  <a:pt x="1089454" y="231609"/>
                </a:lnTo>
                <a:lnTo>
                  <a:pt x="1089454" y="2195474"/>
                </a:lnTo>
                <a:lnTo>
                  <a:pt x="1159825" y="2195474"/>
                </a:lnTo>
                <a:lnTo>
                  <a:pt x="1159825" y="232740"/>
                </a:lnTo>
                <a:lnTo>
                  <a:pt x="1239177" y="232740"/>
                </a:lnTo>
                <a:lnTo>
                  <a:pt x="1238621" y="231609"/>
                </a:lnTo>
                <a:close/>
              </a:path>
              <a:path w="2249383" h="3347720">
                <a:moveTo>
                  <a:pt x="1239177" y="232740"/>
                </a:moveTo>
                <a:lnTo>
                  <a:pt x="1159825" y="232740"/>
                </a:lnTo>
                <a:lnTo>
                  <a:pt x="2115411" y="2195474"/>
                </a:lnTo>
                <a:lnTo>
                  <a:pt x="2204068" y="2195474"/>
                </a:lnTo>
                <a:lnTo>
                  <a:pt x="1239177" y="2327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2" name="object 31">
            <a:extLst>
              <a:ext uri="{FF2B5EF4-FFF2-40B4-BE49-F238E27FC236}">
                <a16:creationId xmlns:a16="http://schemas.microsoft.com/office/drawing/2014/main" id="{247EF61E-87DD-45CE-A6B7-DDE02C866E87}"/>
              </a:ext>
            </a:extLst>
          </p:cNvPr>
          <p:cNvSpPr txBox="1">
            <a:spLocks noChangeArrowheads="1"/>
          </p:cNvSpPr>
          <p:nvPr/>
        </p:nvSpPr>
        <p:spPr bwMode="auto">
          <a:xfrm>
            <a:off x="3635901" y="3690301"/>
            <a:ext cx="1503626" cy="1335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635"/>
              </a:lnSpc>
              <a:spcBef>
                <a:spcPct val="0"/>
              </a:spcBef>
              <a:buNone/>
            </a:pPr>
            <a:endParaRPr lang="en-US" altLang="en-US" sz="635"/>
          </a:p>
          <a:p>
            <a:pPr eaLnBrk="1" hangingPunct="1">
              <a:lnSpc>
                <a:spcPct val="100000"/>
              </a:lnSpc>
              <a:spcBef>
                <a:spcPct val="0"/>
              </a:spcBef>
              <a:buFontTx/>
              <a:buNone/>
            </a:pPr>
            <a:r>
              <a:rPr lang="en-US" altLang="en-US" sz="1213" b="1">
                <a:solidFill>
                  <a:srgbClr val="FFFFFF"/>
                </a:solidFill>
                <a:latin typeface="Gill Sans" pitchFamily="34" charset="0"/>
                <a:cs typeface="Gill Sans" pitchFamily="34" charset="0"/>
              </a:rPr>
              <a:t>စိတ်ဖိစီးစေသော အကြောင်းအရင်များ</a:t>
            </a:r>
            <a:endParaRPr lang="en-US" altLang="en-US" sz="1213">
              <a:latin typeface="Gill Sans" pitchFamily="34" charset="0"/>
              <a:cs typeface="Gill Sans" pitchFamily="34" charset="0"/>
            </a:endParaRPr>
          </a:p>
        </p:txBody>
      </p:sp>
      <p:sp>
        <p:nvSpPr>
          <p:cNvPr id="8223" name="object 32">
            <a:extLst>
              <a:ext uri="{FF2B5EF4-FFF2-40B4-BE49-F238E27FC236}">
                <a16:creationId xmlns:a16="http://schemas.microsoft.com/office/drawing/2014/main" id="{D5922190-6424-43B3-9AB6-5640B7135DB9}"/>
              </a:ext>
            </a:extLst>
          </p:cNvPr>
          <p:cNvSpPr>
            <a:spLocks/>
          </p:cNvSpPr>
          <p:nvPr/>
        </p:nvSpPr>
        <p:spPr bwMode="auto">
          <a:xfrm>
            <a:off x="5559442" y="1857528"/>
            <a:ext cx="69680" cy="70597"/>
          </a:xfrm>
          <a:custGeom>
            <a:avLst/>
            <a:gdLst>
              <a:gd name="T0" fmla="*/ 67357 w 121155"/>
              <a:gd name="T1" fmla="*/ 0 h 121953"/>
              <a:gd name="T2" fmla="*/ 25038 w 121155"/>
              <a:gd name="T3" fmla="*/ 12307 h 121953"/>
              <a:gd name="T4" fmla="*/ 2266 w 121155"/>
              <a:gd name="T5" fmla="*/ 44236 h 121953"/>
              <a:gd name="T6" fmla="*/ 0 w 121155"/>
              <a:gd name="T7" fmla="*/ 57655 h 121953"/>
              <a:gd name="T8" fmla="*/ 1540 w 121155"/>
              <a:gd name="T9" fmla="*/ 73125 h 121953"/>
              <a:gd name="T10" fmla="*/ 22296 w 121155"/>
              <a:gd name="T11" fmla="*/ 109110 h 121953"/>
              <a:gd name="T12" fmla="*/ 59712 w 121155"/>
              <a:gd name="T13" fmla="*/ 123097 h 121953"/>
              <a:gd name="T14" fmla="*/ 60090 w 121155"/>
              <a:gd name="T15" fmla="*/ 123097 h 121953"/>
              <a:gd name="T16" fmla="*/ 98556 w 121155"/>
              <a:gd name="T17" fmla="*/ 108831 h 121953"/>
              <a:gd name="T18" fmla="*/ 119147 w 121155"/>
              <a:gd name="T19" fmla="*/ 73253 h 121953"/>
              <a:gd name="T20" fmla="*/ 118169 w 121155"/>
              <a:gd name="T21" fmla="*/ 55969 h 121953"/>
              <a:gd name="T22" fmla="*/ 100578 w 121155"/>
              <a:gd name="T23" fmla="*/ 16981 h 121953"/>
              <a:gd name="T24" fmla="*/ 67357 w 121155"/>
              <a:gd name="T25" fmla="*/ 0 h 1219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1155" h="121953">
                <a:moveTo>
                  <a:pt x="68491" y="0"/>
                </a:moveTo>
                <a:lnTo>
                  <a:pt x="25460" y="12192"/>
                </a:lnTo>
                <a:lnTo>
                  <a:pt x="2305" y="43825"/>
                </a:lnTo>
                <a:lnTo>
                  <a:pt x="0" y="57120"/>
                </a:lnTo>
                <a:lnTo>
                  <a:pt x="1565" y="72446"/>
                </a:lnTo>
                <a:lnTo>
                  <a:pt x="22672" y="108096"/>
                </a:lnTo>
                <a:lnTo>
                  <a:pt x="60718" y="121953"/>
                </a:lnTo>
                <a:lnTo>
                  <a:pt x="61104" y="121953"/>
                </a:lnTo>
                <a:lnTo>
                  <a:pt x="100217" y="107819"/>
                </a:lnTo>
                <a:lnTo>
                  <a:pt x="121155" y="72572"/>
                </a:lnTo>
                <a:lnTo>
                  <a:pt x="120161" y="55449"/>
                </a:lnTo>
                <a:lnTo>
                  <a:pt x="102273" y="16824"/>
                </a:lnTo>
                <a:lnTo>
                  <a:pt x="684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4" name="object 33">
            <a:extLst>
              <a:ext uri="{FF2B5EF4-FFF2-40B4-BE49-F238E27FC236}">
                <a16:creationId xmlns:a16="http://schemas.microsoft.com/office/drawing/2014/main" id="{DA2DB226-8E68-439E-8B56-15B9CE3AD696}"/>
              </a:ext>
            </a:extLst>
          </p:cNvPr>
          <p:cNvSpPr>
            <a:spLocks/>
          </p:cNvSpPr>
          <p:nvPr/>
        </p:nvSpPr>
        <p:spPr bwMode="auto">
          <a:xfrm>
            <a:off x="5575028" y="1874032"/>
            <a:ext cx="37591" cy="38507"/>
          </a:xfrm>
          <a:custGeom>
            <a:avLst/>
            <a:gdLst>
              <a:gd name="T0" fmla="*/ 38184 w 66279"/>
              <a:gd name="T1" fmla="*/ 0 h 67655"/>
              <a:gd name="T2" fmla="*/ 22888 w 66279"/>
              <a:gd name="T3" fmla="*/ 1861 h 67655"/>
              <a:gd name="T4" fmla="*/ 11196 w 66279"/>
              <a:gd name="T5" fmla="*/ 7825 h 67655"/>
              <a:gd name="T6" fmla="*/ 3453 w 66279"/>
              <a:gd name="T7" fmla="*/ 16974 h 67655"/>
              <a:gd name="T8" fmla="*/ 0 w 66279"/>
              <a:gd name="T9" fmla="*/ 28391 h 67655"/>
              <a:gd name="T10" fmla="*/ 2401 w 66279"/>
              <a:gd name="T11" fmla="*/ 42751 h 67655"/>
              <a:gd name="T12" fmla="*/ 9147 w 66279"/>
              <a:gd name="T13" fmla="*/ 53934 h 67655"/>
              <a:gd name="T14" fmla="*/ 19206 w 66279"/>
              <a:gd name="T15" fmla="*/ 61202 h 67655"/>
              <a:gd name="T16" fmla="*/ 31543 w 66279"/>
              <a:gd name="T17" fmla="*/ 63819 h 67655"/>
              <a:gd name="T18" fmla="*/ 44606 w 66279"/>
              <a:gd name="T19" fmla="*/ 61032 h 67655"/>
              <a:gd name="T20" fmla="*/ 54996 w 66279"/>
              <a:gd name="T21" fmla="*/ 53472 h 67655"/>
              <a:gd name="T22" fmla="*/ 61641 w 66279"/>
              <a:gd name="T23" fmla="*/ 42342 h 67655"/>
              <a:gd name="T24" fmla="*/ 60673 w 66279"/>
              <a:gd name="T25" fmla="*/ 25650 h 67655"/>
              <a:gd name="T26" fmla="*/ 55911 w 66279"/>
              <a:gd name="T27" fmla="*/ 13018 h 67655"/>
              <a:gd name="T28" fmla="*/ 48150 w 66279"/>
              <a:gd name="T29" fmla="*/ 4459 h 67655"/>
              <a:gd name="T30" fmla="*/ 38184 w 66279"/>
              <a:gd name="T31" fmla="*/ 0 h 676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6279" h="67655">
                <a:moveTo>
                  <a:pt x="41057" y="0"/>
                </a:moveTo>
                <a:lnTo>
                  <a:pt x="24609" y="1973"/>
                </a:lnTo>
                <a:lnTo>
                  <a:pt x="12038" y="8295"/>
                </a:lnTo>
                <a:lnTo>
                  <a:pt x="3712" y="17994"/>
                </a:lnTo>
                <a:lnTo>
                  <a:pt x="0" y="30097"/>
                </a:lnTo>
                <a:lnTo>
                  <a:pt x="2582" y="45320"/>
                </a:lnTo>
                <a:lnTo>
                  <a:pt x="9835" y="57175"/>
                </a:lnTo>
                <a:lnTo>
                  <a:pt x="20650" y="64881"/>
                </a:lnTo>
                <a:lnTo>
                  <a:pt x="33916" y="67655"/>
                </a:lnTo>
                <a:lnTo>
                  <a:pt x="47961" y="64700"/>
                </a:lnTo>
                <a:lnTo>
                  <a:pt x="59134" y="56685"/>
                </a:lnTo>
                <a:lnTo>
                  <a:pt x="66279" y="44886"/>
                </a:lnTo>
                <a:lnTo>
                  <a:pt x="65237" y="27192"/>
                </a:lnTo>
                <a:lnTo>
                  <a:pt x="60117" y="13800"/>
                </a:lnTo>
                <a:lnTo>
                  <a:pt x="51772" y="4729"/>
                </a:lnTo>
                <a:lnTo>
                  <a:pt x="41057" y="0"/>
                </a:lnTo>
                <a:close/>
              </a:path>
            </a:pathLst>
          </a:custGeom>
          <a:solidFill>
            <a:srgbClr val="ED0C6E"/>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5" name="object 34">
            <a:extLst>
              <a:ext uri="{FF2B5EF4-FFF2-40B4-BE49-F238E27FC236}">
                <a16:creationId xmlns:a16="http://schemas.microsoft.com/office/drawing/2014/main" id="{BE0052F5-5889-40A7-BA8B-E604F2F6C2E9}"/>
              </a:ext>
            </a:extLst>
          </p:cNvPr>
          <p:cNvSpPr>
            <a:spLocks/>
          </p:cNvSpPr>
          <p:nvPr/>
        </p:nvSpPr>
        <p:spPr bwMode="auto">
          <a:xfrm>
            <a:off x="4333620" y="2546995"/>
            <a:ext cx="69680" cy="70597"/>
          </a:xfrm>
          <a:custGeom>
            <a:avLst/>
            <a:gdLst>
              <a:gd name="T0" fmla="*/ 67357 w 121155"/>
              <a:gd name="T1" fmla="*/ 0 h 121953"/>
              <a:gd name="T2" fmla="*/ 25038 w 121155"/>
              <a:gd name="T3" fmla="*/ 12307 h 121953"/>
              <a:gd name="T4" fmla="*/ 2266 w 121155"/>
              <a:gd name="T5" fmla="*/ 44236 h 121953"/>
              <a:gd name="T6" fmla="*/ 0 w 121155"/>
              <a:gd name="T7" fmla="*/ 57655 h 121953"/>
              <a:gd name="T8" fmla="*/ 1540 w 121155"/>
              <a:gd name="T9" fmla="*/ 73125 h 121953"/>
              <a:gd name="T10" fmla="*/ 22296 w 121155"/>
              <a:gd name="T11" fmla="*/ 109110 h 121953"/>
              <a:gd name="T12" fmla="*/ 59712 w 121155"/>
              <a:gd name="T13" fmla="*/ 123097 h 121953"/>
              <a:gd name="T14" fmla="*/ 60090 w 121155"/>
              <a:gd name="T15" fmla="*/ 123097 h 121953"/>
              <a:gd name="T16" fmla="*/ 98556 w 121155"/>
              <a:gd name="T17" fmla="*/ 108831 h 121953"/>
              <a:gd name="T18" fmla="*/ 119147 w 121155"/>
              <a:gd name="T19" fmla="*/ 73253 h 121953"/>
              <a:gd name="T20" fmla="*/ 118169 w 121155"/>
              <a:gd name="T21" fmla="*/ 55969 h 121953"/>
              <a:gd name="T22" fmla="*/ 100578 w 121155"/>
              <a:gd name="T23" fmla="*/ 16981 h 121953"/>
              <a:gd name="T24" fmla="*/ 67357 w 121155"/>
              <a:gd name="T25" fmla="*/ 0 h 1219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1155" h="121953">
                <a:moveTo>
                  <a:pt x="68491" y="0"/>
                </a:moveTo>
                <a:lnTo>
                  <a:pt x="25460" y="12192"/>
                </a:lnTo>
                <a:lnTo>
                  <a:pt x="2305" y="43825"/>
                </a:lnTo>
                <a:lnTo>
                  <a:pt x="0" y="57120"/>
                </a:lnTo>
                <a:lnTo>
                  <a:pt x="1565" y="72446"/>
                </a:lnTo>
                <a:lnTo>
                  <a:pt x="22672" y="108096"/>
                </a:lnTo>
                <a:lnTo>
                  <a:pt x="60718" y="121953"/>
                </a:lnTo>
                <a:lnTo>
                  <a:pt x="61104" y="121953"/>
                </a:lnTo>
                <a:lnTo>
                  <a:pt x="100217" y="107819"/>
                </a:lnTo>
                <a:lnTo>
                  <a:pt x="121155" y="72572"/>
                </a:lnTo>
                <a:lnTo>
                  <a:pt x="120161" y="55449"/>
                </a:lnTo>
                <a:lnTo>
                  <a:pt x="102273" y="16824"/>
                </a:lnTo>
                <a:lnTo>
                  <a:pt x="684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6" name="object 35">
            <a:extLst>
              <a:ext uri="{FF2B5EF4-FFF2-40B4-BE49-F238E27FC236}">
                <a16:creationId xmlns:a16="http://schemas.microsoft.com/office/drawing/2014/main" id="{22420E12-8A0B-4615-AC4D-DCE8A14E2915}"/>
              </a:ext>
            </a:extLst>
          </p:cNvPr>
          <p:cNvSpPr>
            <a:spLocks/>
          </p:cNvSpPr>
          <p:nvPr/>
        </p:nvSpPr>
        <p:spPr bwMode="auto">
          <a:xfrm>
            <a:off x="4349208" y="2562582"/>
            <a:ext cx="38507" cy="39424"/>
          </a:xfrm>
          <a:custGeom>
            <a:avLst/>
            <a:gdLst>
              <a:gd name="T0" fmla="*/ 42047 w 66279"/>
              <a:gd name="T1" fmla="*/ 0 h 67655"/>
              <a:gd name="T2" fmla="*/ 25203 w 66279"/>
              <a:gd name="T3" fmla="*/ 2045 h 67655"/>
              <a:gd name="T4" fmla="*/ 12328 w 66279"/>
              <a:gd name="T5" fmla="*/ 8596 h 67655"/>
              <a:gd name="T6" fmla="*/ 3801 w 66279"/>
              <a:gd name="T7" fmla="*/ 18648 h 67655"/>
              <a:gd name="T8" fmla="*/ 0 w 66279"/>
              <a:gd name="T9" fmla="*/ 31191 h 67655"/>
              <a:gd name="T10" fmla="*/ 2645 w 66279"/>
              <a:gd name="T11" fmla="*/ 46969 h 67655"/>
              <a:gd name="T12" fmla="*/ 10072 w 66279"/>
              <a:gd name="T13" fmla="*/ 59255 h 67655"/>
              <a:gd name="T14" fmla="*/ 21148 w 66279"/>
              <a:gd name="T15" fmla="*/ 67241 h 67655"/>
              <a:gd name="T16" fmla="*/ 34734 w 66279"/>
              <a:gd name="T17" fmla="*/ 70115 h 67655"/>
              <a:gd name="T18" fmla="*/ 49118 w 66279"/>
              <a:gd name="T19" fmla="*/ 67053 h 67655"/>
              <a:gd name="T20" fmla="*/ 60560 w 66279"/>
              <a:gd name="T21" fmla="*/ 58747 h 67655"/>
              <a:gd name="T22" fmla="*/ 67877 w 66279"/>
              <a:gd name="T23" fmla="*/ 46519 h 67655"/>
              <a:gd name="T24" fmla="*/ 66810 w 66279"/>
              <a:gd name="T25" fmla="*/ 28181 h 67655"/>
              <a:gd name="T26" fmla="*/ 61566 w 66279"/>
              <a:gd name="T27" fmla="*/ 14302 h 67655"/>
              <a:gd name="T28" fmla="*/ 53020 w 66279"/>
              <a:gd name="T29" fmla="*/ 4901 h 67655"/>
              <a:gd name="T30" fmla="*/ 42047 w 66279"/>
              <a:gd name="T31" fmla="*/ 0 h 676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6279" h="67655">
                <a:moveTo>
                  <a:pt x="41057" y="0"/>
                </a:moveTo>
                <a:lnTo>
                  <a:pt x="24609" y="1973"/>
                </a:lnTo>
                <a:lnTo>
                  <a:pt x="12038" y="8295"/>
                </a:lnTo>
                <a:lnTo>
                  <a:pt x="3712" y="17994"/>
                </a:lnTo>
                <a:lnTo>
                  <a:pt x="0" y="30097"/>
                </a:lnTo>
                <a:lnTo>
                  <a:pt x="2582" y="45320"/>
                </a:lnTo>
                <a:lnTo>
                  <a:pt x="9835" y="57175"/>
                </a:lnTo>
                <a:lnTo>
                  <a:pt x="20650" y="64881"/>
                </a:lnTo>
                <a:lnTo>
                  <a:pt x="33916" y="67655"/>
                </a:lnTo>
                <a:lnTo>
                  <a:pt x="47961" y="64700"/>
                </a:lnTo>
                <a:lnTo>
                  <a:pt x="59134" y="56685"/>
                </a:lnTo>
                <a:lnTo>
                  <a:pt x="66279" y="44886"/>
                </a:lnTo>
                <a:lnTo>
                  <a:pt x="65237" y="27192"/>
                </a:lnTo>
                <a:lnTo>
                  <a:pt x="60117" y="13800"/>
                </a:lnTo>
                <a:lnTo>
                  <a:pt x="51772" y="4729"/>
                </a:lnTo>
                <a:lnTo>
                  <a:pt x="41057" y="0"/>
                </a:lnTo>
                <a:close/>
              </a:path>
            </a:pathLst>
          </a:custGeom>
          <a:solidFill>
            <a:srgbClr val="ED0C6E"/>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7" name="object 36">
            <a:extLst>
              <a:ext uri="{FF2B5EF4-FFF2-40B4-BE49-F238E27FC236}">
                <a16:creationId xmlns:a16="http://schemas.microsoft.com/office/drawing/2014/main" id="{5933C0B6-10C9-4F7C-869A-19E70DC3876B}"/>
              </a:ext>
            </a:extLst>
          </p:cNvPr>
          <p:cNvSpPr>
            <a:spLocks/>
          </p:cNvSpPr>
          <p:nvPr/>
        </p:nvSpPr>
        <p:spPr bwMode="auto">
          <a:xfrm>
            <a:off x="6930125" y="2007891"/>
            <a:ext cx="69680" cy="70597"/>
          </a:xfrm>
          <a:custGeom>
            <a:avLst/>
            <a:gdLst>
              <a:gd name="T0" fmla="*/ 67357 w 121155"/>
              <a:gd name="T1" fmla="*/ 0 h 121953"/>
              <a:gd name="T2" fmla="*/ 25038 w 121155"/>
              <a:gd name="T3" fmla="*/ 12307 h 121953"/>
              <a:gd name="T4" fmla="*/ 2266 w 121155"/>
              <a:gd name="T5" fmla="*/ 44236 h 121953"/>
              <a:gd name="T6" fmla="*/ 0 w 121155"/>
              <a:gd name="T7" fmla="*/ 57655 h 121953"/>
              <a:gd name="T8" fmla="*/ 1540 w 121155"/>
              <a:gd name="T9" fmla="*/ 73125 h 121953"/>
              <a:gd name="T10" fmla="*/ 22296 w 121155"/>
              <a:gd name="T11" fmla="*/ 109110 h 121953"/>
              <a:gd name="T12" fmla="*/ 59712 w 121155"/>
              <a:gd name="T13" fmla="*/ 123097 h 121953"/>
              <a:gd name="T14" fmla="*/ 60090 w 121155"/>
              <a:gd name="T15" fmla="*/ 123097 h 121953"/>
              <a:gd name="T16" fmla="*/ 98556 w 121155"/>
              <a:gd name="T17" fmla="*/ 108831 h 121953"/>
              <a:gd name="T18" fmla="*/ 119147 w 121155"/>
              <a:gd name="T19" fmla="*/ 73253 h 121953"/>
              <a:gd name="T20" fmla="*/ 118169 w 121155"/>
              <a:gd name="T21" fmla="*/ 55969 h 121953"/>
              <a:gd name="T22" fmla="*/ 100578 w 121155"/>
              <a:gd name="T23" fmla="*/ 16981 h 121953"/>
              <a:gd name="T24" fmla="*/ 67357 w 121155"/>
              <a:gd name="T25" fmla="*/ 0 h 12195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1155" h="121953">
                <a:moveTo>
                  <a:pt x="68491" y="0"/>
                </a:moveTo>
                <a:lnTo>
                  <a:pt x="25460" y="12192"/>
                </a:lnTo>
                <a:lnTo>
                  <a:pt x="2305" y="43825"/>
                </a:lnTo>
                <a:lnTo>
                  <a:pt x="0" y="57120"/>
                </a:lnTo>
                <a:lnTo>
                  <a:pt x="1565" y="72446"/>
                </a:lnTo>
                <a:lnTo>
                  <a:pt x="22672" y="108096"/>
                </a:lnTo>
                <a:lnTo>
                  <a:pt x="60718" y="121953"/>
                </a:lnTo>
                <a:lnTo>
                  <a:pt x="61104" y="121953"/>
                </a:lnTo>
                <a:lnTo>
                  <a:pt x="100217" y="107819"/>
                </a:lnTo>
                <a:lnTo>
                  <a:pt x="121155" y="72572"/>
                </a:lnTo>
                <a:lnTo>
                  <a:pt x="120161" y="55449"/>
                </a:lnTo>
                <a:lnTo>
                  <a:pt x="102273" y="16824"/>
                </a:lnTo>
                <a:lnTo>
                  <a:pt x="6849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28" name="object 37">
            <a:extLst>
              <a:ext uri="{FF2B5EF4-FFF2-40B4-BE49-F238E27FC236}">
                <a16:creationId xmlns:a16="http://schemas.microsoft.com/office/drawing/2014/main" id="{73978113-3C98-4DFA-B56B-8D7BBC11F47C}"/>
              </a:ext>
            </a:extLst>
          </p:cNvPr>
          <p:cNvSpPr>
            <a:spLocks/>
          </p:cNvSpPr>
          <p:nvPr/>
        </p:nvSpPr>
        <p:spPr bwMode="auto">
          <a:xfrm>
            <a:off x="6945712" y="2023477"/>
            <a:ext cx="38507" cy="39424"/>
          </a:xfrm>
          <a:custGeom>
            <a:avLst/>
            <a:gdLst>
              <a:gd name="T0" fmla="*/ 42047 w 66279"/>
              <a:gd name="T1" fmla="*/ 0 h 67655"/>
              <a:gd name="T2" fmla="*/ 25203 w 66279"/>
              <a:gd name="T3" fmla="*/ 2045 h 67655"/>
              <a:gd name="T4" fmla="*/ 12328 w 66279"/>
              <a:gd name="T5" fmla="*/ 8596 h 67655"/>
              <a:gd name="T6" fmla="*/ 3801 w 66279"/>
              <a:gd name="T7" fmla="*/ 18648 h 67655"/>
              <a:gd name="T8" fmla="*/ 0 w 66279"/>
              <a:gd name="T9" fmla="*/ 31191 h 67655"/>
              <a:gd name="T10" fmla="*/ 2645 w 66279"/>
              <a:gd name="T11" fmla="*/ 46969 h 67655"/>
              <a:gd name="T12" fmla="*/ 10072 w 66279"/>
              <a:gd name="T13" fmla="*/ 59255 h 67655"/>
              <a:gd name="T14" fmla="*/ 21148 w 66279"/>
              <a:gd name="T15" fmla="*/ 67241 h 67655"/>
              <a:gd name="T16" fmla="*/ 34734 w 66279"/>
              <a:gd name="T17" fmla="*/ 70115 h 67655"/>
              <a:gd name="T18" fmla="*/ 49118 w 66279"/>
              <a:gd name="T19" fmla="*/ 67053 h 67655"/>
              <a:gd name="T20" fmla="*/ 60560 w 66279"/>
              <a:gd name="T21" fmla="*/ 58747 h 67655"/>
              <a:gd name="T22" fmla="*/ 67877 w 66279"/>
              <a:gd name="T23" fmla="*/ 46519 h 67655"/>
              <a:gd name="T24" fmla="*/ 66810 w 66279"/>
              <a:gd name="T25" fmla="*/ 28181 h 67655"/>
              <a:gd name="T26" fmla="*/ 61566 w 66279"/>
              <a:gd name="T27" fmla="*/ 14302 h 67655"/>
              <a:gd name="T28" fmla="*/ 53020 w 66279"/>
              <a:gd name="T29" fmla="*/ 4901 h 67655"/>
              <a:gd name="T30" fmla="*/ 42047 w 66279"/>
              <a:gd name="T31" fmla="*/ 0 h 676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6279" h="67655">
                <a:moveTo>
                  <a:pt x="41057" y="0"/>
                </a:moveTo>
                <a:lnTo>
                  <a:pt x="24609" y="1973"/>
                </a:lnTo>
                <a:lnTo>
                  <a:pt x="12038" y="8295"/>
                </a:lnTo>
                <a:lnTo>
                  <a:pt x="3712" y="17994"/>
                </a:lnTo>
                <a:lnTo>
                  <a:pt x="0" y="30097"/>
                </a:lnTo>
                <a:lnTo>
                  <a:pt x="2582" y="45320"/>
                </a:lnTo>
                <a:lnTo>
                  <a:pt x="9835" y="57175"/>
                </a:lnTo>
                <a:lnTo>
                  <a:pt x="20650" y="64881"/>
                </a:lnTo>
                <a:lnTo>
                  <a:pt x="33916" y="67655"/>
                </a:lnTo>
                <a:lnTo>
                  <a:pt x="47961" y="64700"/>
                </a:lnTo>
                <a:lnTo>
                  <a:pt x="59134" y="56685"/>
                </a:lnTo>
                <a:lnTo>
                  <a:pt x="66279" y="44886"/>
                </a:lnTo>
                <a:lnTo>
                  <a:pt x="65237" y="27192"/>
                </a:lnTo>
                <a:lnTo>
                  <a:pt x="60117" y="13800"/>
                </a:lnTo>
                <a:lnTo>
                  <a:pt x="51772" y="4729"/>
                </a:lnTo>
                <a:lnTo>
                  <a:pt x="41057" y="0"/>
                </a:lnTo>
                <a:close/>
              </a:path>
            </a:pathLst>
          </a:custGeom>
          <a:solidFill>
            <a:srgbClr val="ED0C6E"/>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230" name="object 31">
            <a:extLst>
              <a:ext uri="{FF2B5EF4-FFF2-40B4-BE49-F238E27FC236}">
                <a16:creationId xmlns:a16="http://schemas.microsoft.com/office/drawing/2014/main" id="{A34008EF-3D11-45E1-953C-FBEC93E6544D}"/>
              </a:ext>
            </a:extLst>
          </p:cNvPr>
          <p:cNvSpPr txBox="1">
            <a:spLocks noChangeArrowheads="1"/>
          </p:cNvSpPr>
          <p:nvPr/>
        </p:nvSpPr>
        <p:spPr bwMode="auto">
          <a:xfrm>
            <a:off x="6465285" y="2678104"/>
            <a:ext cx="1503626" cy="1335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50000"/>
              </a:lnSpc>
              <a:spcBef>
                <a:spcPct val="0"/>
              </a:spcBef>
              <a:buFontTx/>
              <a:buNone/>
            </a:pPr>
            <a:endParaRPr lang="en-US" altLang="en-US" sz="578"/>
          </a:p>
          <a:p>
            <a:pPr eaLnBrk="1" hangingPunct="1">
              <a:lnSpc>
                <a:spcPct val="150000"/>
              </a:lnSpc>
              <a:spcBef>
                <a:spcPct val="0"/>
              </a:spcBef>
              <a:buFontTx/>
              <a:buNone/>
            </a:pPr>
            <a:endParaRPr lang="en-US" altLang="en-US" sz="578"/>
          </a:p>
          <a:p>
            <a:pPr eaLnBrk="1" hangingPunct="1">
              <a:lnSpc>
                <a:spcPct val="150000"/>
              </a:lnSpc>
              <a:spcBef>
                <a:spcPct val="0"/>
              </a:spcBef>
              <a:buFontTx/>
              <a:buNone/>
            </a:pPr>
            <a:endParaRPr lang="en-US" altLang="en-US" sz="578"/>
          </a:p>
          <a:p>
            <a:pPr eaLnBrk="1" hangingPunct="1">
              <a:lnSpc>
                <a:spcPct val="150000"/>
              </a:lnSpc>
              <a:spcBef>
                <a:spcPct val="0"/>
              </a:spcBef>
              <a:buFontTx/>
              <a:buNone/>
            </a:pPr>
            <a:endParaRPr lang="en-US" altLang="en-US" sz="578"/>
          </a:p>
          <a:p>
            <a:pPr eaLnBrk="1" hangingPunct="1">
              <a:lnSpc>
                <a:spcPct val="150000"/>
              </a:lnSpc>
              <a:spcBef>
                <a:spcPct val="0"/>
              </a:spcBef>
              <a:buFontTx/>
              <a:buNone/>
            </a:pPr>
            <a:r>
              <a:rPr lang="en-US" altLang="en-US" sz="1213" b="1">
                <a:solidFill>
                  <a:srgbClr val="FFFFFF"/>
                </a:solidFill>
                <a:latin typeface="Gill Sans" pitchFamily="34" charset="0"/>
                <a:cs typeface="Gill Sans" pitchFamily="34" charset="0"/>
              </a:rPr>
              <a:t>ရင်ဆိုင်တဲ့ နည်းလမ်းများ</a:t>
            </a:r>
            <a:endParaRPr lang="en-US" altLang="en-US" sz="1213">
              <a:latin typeface="Gill Sans" pitchFamily="34" charset="0"/>
              <a:cs typeface="Gill Sans" pitchFamily="34" charset="0"/>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object 2">
            <a:extLst>
              <a:ext uri="{FF2B5EF4-FFF2-40B4-BE49-F238E27FC236}">
                <a16:creationId xmlns:a16="http://schemas.microsoft.com/office/drawing/2014/main" id="{6F9C8A5A-D3C6-4960-A3A1-45C651161F89}"/>
              </a:ext>
            </a:extLst>
          </p:cNvPr>
          <p:cNvSpPr txBox="1">
            <a:spLocks noChangeArrowheads="1"/>
          </p:cNvSpPr>
          <p:nvPr/>
        </p:nvSpPr>
        <p:spPr bwMode="auto">
          <a:xfrm>
            <a:off x="8580446" y="304800"/>
            <a:ext cx="166866"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8</a:t>
            </a:r>
            <a:endParaRPr lang="en-US" altLang="en-US" sz="2021" dirty="0">
              <a:latin typeface="Gill Sans" pitchFamily="34" charset="0"/>
              <a:cs typeface="Gill Sans" pitchFamily="34" charset="0"/>
            </a:endParaRPr>
          </a:p>
        </p:txBody>
      </p:sp>
      <p:sp>
        <p:nvSpPr>
          <p:cNvPr id="7171" name="object 3">
            <a:extLst>
              <a:ext uri="{FF2B5EF4-FFF2-40B4-BE49-F238E27FC236}">
                <a16:creationId xmlns:a16="http://schemas.microsoft.com/office/drawing/2014/main" id="{8401DABD-F6E7-4FD2-89A4-8AE266AB2F8B}"/>
              </a:ext>
            </a:extLst>
          </p:cNvPr>
          <p:cNvSpPr>
            <a:spLocks/>
          </p:cNvSpPr>
          <p:nvPr/>
        </p:nvSpPr>
        <p:spPr bwMode="auto">
          <a:xfrm>
            <a:off x="7137332" y="6343651"/>
            <a:ext cx="116440" cy="163198"/>
          </a:xfrm>
          <a:custGeom>
            <a:avLst/>
            <a:gdLst>
              <a:gd name="T0" fmla="*/ 5648 w 201527"/>
              <a:gd name="T1" fmla="*/ 197396 h 282176"/>
              <a:gd name="T2" fmla="*/ 8693 w 201527"/>
              <a:gd name="T3" fmla="*/ 258588 h 282176"/>
              <a:gd name="T4" fmla="*/ 49795 w 201527"/>
              <a:gd name="T5" fmla="*/ 276284 h 282176"/>
              <a:gd name="T6" fmla="*/ 90641 w 201527"/>
              <a:gd name="T7" fmla="*/ 283254 h 282176"/>
              <a:gd name="T8" fmla="*/ 107915 w 201527"/>
              <a:gd name="T9" fmla="*/ 283776 h 282176"/>
              <a:gd name="T10" fmla="*/ 123819 w 201527"/>
              <a:gd name="T11" fmla="*/ 282773 h 282176"/>
              <a:gd name="T12" fmla="*/ 165303 w 201527"/>
              <a:gd name="T13" fmla="*/ 270779 h 282176"/>
              <a:gd name="T14" fmla="*/ 194918 w 201527"/>
              <a:gd name="T15" fmla="*/ 245114 h 282176"/>
              <a:gd name="T16" fmla="*/ 201871 w 201527"/>
              <a:gd name="T17" fmla="*/ 232711 h 282176"/>
              <a:gd name="T18" fmla="*/ 89537 w 201527"/>
              <a:gd name="T19" fmla="*/ 232711 h 282176"/>
              <a:gd name="T20" fmla="*/ 78595 w 201527"/>
              <a:gd name="T21" fmla="*/ 231352 h 282176"/>
              <a:gd name="T22" fmla="*/ 33082 w 201527"/>
              <a:gd name="T23" fmla="*/ 214251 h 282176"/>
              <a:gd name="T24" fmla="*/ 19974 w 201527"/>
              <a:gd name="T25" fmla="*/ 206592 h 282176"/>
              <a:gd name="T26" fmla="*/ 5648 w 201527"/>
              <a:gd name="T27" fmla="*/ 197396 h 282176"/>
              <a:gd name="T28" fmla="*/ 97562 w 201527"/>
              <a:gd name="T29" fmla="*/ 0 h 282176"/>
              <a:gd name="T30" fmla="*/ 50219 w 201527"/>
              <a:gd name="T31" fmla="*/ 9555 h 282176"/>
              <a:gd name="T32" fmla="*/ 17183 w 201527"/>
              <a:gd name="T33" fmla="*/ 32599 h 282176"/>
              <a:gd name="T34" fmla="*/ 0 w 201527"/>
              <a:gd name="T35" fmla="*/ 80848 h 282176"/>
              <a:gd name="T36" fmla="*/ 1617 w 201527"/>
              <a:gd name="T37" fmla="*/ 96947 h 282176"/>
              <a:gd name="T38" fmla="*/ 20203 w 201527"/>
              <a:gd name="T39" fmla="*/ 133251 h 282176"/>
              <a:gd name="T40" fmla="*/ 52296 w 201527"/>
              <a:gd name="T41" fmla="*/ 156189 h 282176"/>
              <a:gd name="T42" fmla="*/ 100339 w 201527"/>
              <a:gd name="T43" fmla="*/ 176253 h 282176"/>
              <a:gd name="T44" fmla="*/ 111031 w 201527"/>
              <a:gd name="T45" fmla="*/ 180857 h 282176"/>
              <a:gd name="T46" fmla="*/ 139718 w 201527"/>
              <a:gd name="T47" fmla="*/ 212422 h 282176"/>
              <a:gd name="T48" fmla="*/ 135314 w 201527"/>
              <a:gd name="T49" fmla="*/ 221204 h 282176"/>
              <a:gd name="T50" fmla="*/ 125851 w 201527"/>
              <a:gd name="T51" fmla="*/ 227641 h 282176"/>
              <a:gd name="T52" fmla="*/ 110775 w 201527"/>
              <a:gd name="T53" fmla="*/ 231540 h 282176"/>
              <a:gd name="T54" fmla="*/ 89537 w 201527"/>
              <a:gd name="T55" fmla="*/ 232711 h 282176"/>
              <a:gd name="T56" fmla="*/ 201871 w 201527"/>
              <a:gd name="T57" fmla="*/ 232711 h 282176"/>
              <a:gd name="T58" fmla="*/ 206455 w 201527"/>
              <a:gd name="T59" fmla="*/ 220289 h 282176"/>
              <a:gd name="T60" fmla="*/ 209399 w 201527"/>
              <a:gd name="T61" fmla="*/ 205534 h 282176"/>
              <a:gd name="T62" fmla="*/ 210302 w 201527"/>
              <a:gd name="T63" fmla="*/ 189207 h 282176"/>
              <a:gd name="T64" fmla="*/ 207096 w 201527"/>
              <a:gd name="T65" fmla="*/ 174315 h 282176"/>
              <a:gd name="T66" fmla="*/ 184337 w 201527"/>
              <a:gd name="T67" fmla="*/ 140678 h 282176"/>
              <a:gd name="T68" fmla="*/ 149564 w 201527"/>
              <a:gd name="T69" fmla="*/ 118964 h 282176"/>
              <a:gd name="T70" fmla="*/ 112708 w 201527"/>
              <a:gd name="T71" fmla="*/ 103216 h 282176"/>
              <a:gd name="T72" fmla="*/ 101675 w 201527"/>
              <a:gd name="T73" fmla="*/ 98262 h 282176"/>
              <a:gd name="T74" fmla="*/ 72455 w 201527"/>
              <a:gd name="T75" fmla="*/ 65783 h 282176"/>
              <a:gd name="T76" fmla="*/ 80290 w 201527"/>
              <a:gd name="T77" fmla="*/ 57638 h 282176"/>
              <a:gd name="T78" fmla="*/ 93812 w 201527"/>
              <a:gd name="T79" fmla="*/ 52409 h 282176"/>
              <a:gd name="T80" fmla="*/ 112366 w 201527"/>
              <a:gd name="T81" fmla="*/ 50562 h 282176"/>
              <a:gd name="T82" fmla="*/ 197768 w 201527"/>
              <a:gd name="T83" fmla="*/ 50562 h 282176"/>
              <a:gd name="T84" fmla="*/ 197043 w 201527"/>
              <a:gd name="T85" fmla="*/ 20775 h 282176"/>
              <a:gd name="T86" fmla="*/ 160505 w 201527"/>
              <a:gd name="T87" fmla="*/ 7747 h 282176"/>
              <a:gd name="T88" fmla="*/ 111256 w 201527"/>
              <a:gd name="T89" fmla="*/ 250 h 282176"/>
              <a:gd name="T90" fmla="*/ 97562 w 201527"/>
              <a:gd name="T91" fmla="*/ 0 h 282176"/>
              <a:gd name="T92" fmla="*/ 197768 w 201527"/>
              <a:gd name="T93" fmla="*/ 50562 h 282176"/>
              <a:gd name="T94" fmla="*/ 112366 w 201527"/>
              <a:gd name="T95" fmla="*/ 50562 h 282176"/>
              <a:gd name="T96" fmla="*/ 122319 w 201527"/>
              <a:gd name="T97" fmla="*/ 51090 h 282176"/>
              <a:gd name="T98" fmla="*/ 132618 w 201527"/>
              <a:gd name="T99" fmla="*/ 52508 h 282176"/>
              <a:gd name="T100" fmla="*/ 182449 w 201527"/>
              <a:gd name="T101" fmla="*/ 68421 h 282176"/>
              <a:gd name="T102" fmla="*/ 198373 w 201527"/>
              <a:gd name="T103" fmla="*/ 75295 h 282176"/>
              <a:gd name="T104" fmla="*/ 197768 w 201527"/>
              <a:gd name="T105" fmla="*/ 50562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2" name="object 4">
            <a:extLst>
              <a:ext uri="{FF2B5EF4-FFF2-40B4-BE49-F238E27FC236}">
                <a16:creationId xmlns:a16="http://schemas.microsoft.com/office/drawing/2014/main" id="{C0503BF9-B762-4C98-AB71-E7B9FE9E072B}"/>
              </a:ext>
            </a:extLst>
          </p:cNvPr>
          <p:cNvSpPr>
            <a:spLocks/>
          </p:cNvSpPr>
          <p:nvPr/>
        </p:nvSpPr>
        <p:spPr bwMode="auto">
          <a:xfrm>
            <a:off x="7271192" y="6394994"/>
            <a:ext cx="115522" cy="111855"/>
          </a:xfrm>
          <a:custGeom>
            <a:avLst/>
            <a:gdLst>
              <a:gd name="T0" fmla="*/ 66160 w 200263"/>
              <a:gd name="T1" fmla="*/ 40331 h 192883"/>
              <a:gd name="T2" fmla="*/ 100019 w 200263"/>
              <a:gd name="T3" fmla="*/ 47269 h 192883"/>
              <a:gd name="T4" fmla="*/ 109478 w 200263"/>
              <a:gd name="T5" fmla="*/ 66314 h 192883"/>
              <a:gd name="T6" fmla="*/ 55182 w 200263"/>
              <a:gd name="T7" fmla="*/ 87170 h 192883"/>
              <a:gd name="T8" fmla="*/ 0 w 200263"/>
              <a:gd name="T9" fmla="*/ 139831 h 192883"/>
              <a:gd name="T10" fmla="*/ 24481 w 200263"/>
              <a:gd name="T11" fmla="*/ 188918 h 192883"/>
              <a:gd name="T12" fmla="*/ 62717 w 200263"/>
              <a:gd name="T13" fmla="*/ 195382 h 192883"/>
              <a:gd name="T14" fmla="*/ 85960 w 200263"/>
              <a:gd name="T15" fmla="*/ 189320 h 192883"/>
              <a:gd name="T16" fmla="*/ 110677 w 200263"/>
              <a:gd name="T17" fmla="*/ 175788 h 192883"/>
              <a:gd name="T18" fmla="*/ 196534 w 200263"/>
              <a:gd name="T19" fmla="*/ 159594 h 192883"/>
              <a:gd name="T20" fmla="*/ 69436 w 200263"/>
              <a:gd name="T21" fmla="*/ 157282 h 192883"/>
              <a:gd name="T22" fmla="*/ 61088 w 200263"/>
              <a:gd name="T23" fmla="*/ 136326 h 192883"/>
              <a:gd name="T24" fmla="*/ 72924 w 200263"/>
              <a:gd name="T25" fmla="*/ 118182 h 192883"/>
              <a:gd name="T26" fmla="*/ 98623 w 200263"/>
              <a:gd name="T27" fmla="*/ 105016 h 192883"/>
              <a:gd name="T28" fmla="*/ 167599 w 200263"/>
              <a:gd name="T29" fmla="*/ 57070 h 192883"/>
              <a:gd name="T30" fmla="*/ 165355 w 200263"/>
              <a:gd name="T31" fmla="*/ 40331 h 192883"/>
              <a:gd name="T32" fmla="*/ 110677 w 200263"/>
              <a:gd name="T33" fmla="*/ 175788 h 192883"/>
              <a:gd name="T34" fmla="*/ 127568 w 200263"/>
              <a:gd name="T35" fmla="*/ 193613 h 192883"/>
              <a:gd name="T36" fmla="*/ 154552 w 200263"/>
              <a:gd name="T37" fmla="*/ 195097 h 192883"/>
              <a:gd name="T38" fmla="*/ 179900 w 200263"/>
              <a:gd name="T39" fmla="*/ 188278 h 192883"/>
              <a:gd name="T40" fmla="*/ 193312 w 200263"/>
              <a:gd name="T41" fmla="*/ 175788 h 192883"/>
              <a:gd name="T42" fmla="*/ 98623 w 200263"/>
              <a:gd name="T43" fmla="*/ 105016 h 192883"/>
              <a:gd name="T44" fmla="*/ 98317 w 200263"/>
              <a:gd name="T45" fmla="*/ 154694 h 192883"/>
              <a:gd name="T46" fmla="*/ 196534 w 200263"/>
              <a:gd name="T47" fmla="*/ 159594 h 192883"/>
              <a:gd name="T48" fmla="*/ 171215 w 200263"/>
              <a:gd name="T49" fmla="*/ 156296 h 192883"/>
              <a:gd name="T50" fmla="*/ 167599 w 200263"/>
              <a:gd name="T51" fmla="*/ 105016 h 192883"/>
              <a:gd name="T52" fmla="*/ 185662 w 200263"/>
              <a:gd name="T53" fmla="*/ 155470 h 192883"/>
              <a:gd name="T54" fmla="*/ 197191 w 200263"/>
              <a:gd name="T55" fmla="*/ 156296 h 192883"/>
              <a:gd name="T56" fmla="*/ 100441 w 200263"/>
              <a:gd name="T57" fmla="*/ 0 h 192883"/>
              <a:gd name="T58" fmla="*/ 13463 w 200263"/>
              <a:gd name="T59" fmla="*/ 19943 h 192883"/>
              <a:gd name="T60" fmla="*/ 19011 w 200263"/>
              <a:gd name="T61" fmla="*/ 61883 h 192883"/>
              <a:gd name="T62" fmla="*/ 41787 w 200263"/>
              <a:gd name="T63" fmla="*/ 47806 h 192883"/>
              <a:gd name="T64" fmla="*/ 66160 w 200263"/>
              <a:gd name="T65" fmla="*/ 40331 h 192883"/>
              <a:gd name="T66" fmla="*/ 161356 w 200263"/>
              <a:gd name="T67" fmla="*/ 29561 h 192883"/>
              <a:gd name="T68" fmla="*/ 143844 w 200263"/>
              <a:gd name="T69" fmla="*/ 11526 h 192883"/>
              <a:gd name="T70" fmla="*/ 116889 w 200263"/>
              <a:gd name="T71" fmla="*/ 1941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3" name="object 5">
            <a:extLst>
              <a:ext uri="{FF2B5EF4-FFF2-40B4-BE49-F238E27FC236}">
                <a16:creationId xmlns:a16="http://schemas.microsoft.com/office/drawing/2014/main" id="{4506EE3F-E7E1-4787-A18C-4E604185A923}"/>
              </a:ext>
            </a:extLst>
          </p:cNvPr>
          <p:cNvSpPr>
            <a:spLocks/>
          </p:cNvSpPr>
          <p:nvPr/>
        </p:nvSpPr>
        <p:spPr bwMode="auto">
          <a:xfrm>
            <a:off x="7382130" y="6396827"/>
            <a:ext cx="118273" cy="110021"/>
          </a:xfrm>
          <a:custGeom>
            <a:avLst/>
            <a:gdLst>
              <a:gd name="T0" fmla="*/ 63382 w 204089"/>
              <a:gd name="T1" fmla="*/ 0 h 189572"/>
              <a:gd name="T2" fmla="*/ 0 w 204089"/>
              <a:gd name="T3" fmla="*/ 0 h 189572"/>
              <a:gd name="T4" fmla="*/ 87097 w 204089"/>
              <a:gd name="T5" fmla="*/ 193312 h 189572"/>
              <a:gd name="T6" fmla="*/ 120210 w 204089"/>
              <a:gd name="T7" fmla="*/ 193312 h 189572"/>
              <a:gd name="T8" fmla="*/ 160049 w 204089"/>
              <a:gd name="T9" fmla="*/ 104471 h 189572"/>
              <a:gd name="T10" fmla="*/ 103447 w 204089"/>
              <a:gd name="T11" fmla="*/ 104471 h 189572"/>
              <a:gd name="T12" fmla="*/ 63382 w 204089"/>
              <a:gd name="T13" fmla="*/ 0 h 189572"/>
              <a:gd name="T14" fmla="*/ 206895 w 204089"/>
              <a:gd name="T15" fmla="*/ 0 h 189572"/>
              <a:gd name="T16" fmla="*/ 143939 w 204089"/>
              <a:gd name="T17" fmla="*/ 0 h 189572"/>
              <a:gd name="T18" fmla="*/ 103447 w 204089"/>
              <a:gd name="T19" fmla="*/ 104471 h 189572"/>
              <a:gd name="T20" fmla="*/ 160049 w 204089"/>
              <a:gd name="T21" fmla="*/ 104471 h 189572"/>
              <a:gd name="T22" fmla="*/ 206895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4" name="object 6">
            <a:extLst>
              <a:ext uri="{FF2B5EF4-FFF2-40B4-BE49-F238E27FC236}">
                <a16:creationId xmlns:a16="http://schemas.microsoft.com/office/drawing/2014/main" id="{4F140A5A-F350-4552-B8F4-533901F18F2B}"/>
              </a:ext>
            </a:extLst>
          </p:cNvPr>
          <p:cNvSpPr>
            <a:spLocks/>
          </p:cNvSpPr>
          <p:nvPr/>
        </p:nvSpPr>
        <p:spPr bwMode="auto">
          <a:xfrm>
            <a:off x="7504988" y="6394994"/>
            <a:ext cx="111855" cy="111855"/>
          </a:xfrm>
          <a:custGeom>
            <a:avLst/>
            <a:gdLst>
              <a:gd name="T0" fmla="*/ 105323 w 193899"/>
              <a:gd name="T1" fmla="*/ 0 h 192654"/>
              <a:gd name="T2" fmla="*/ 59216 w 193899"/>
              <a:gd name="T3" fmla="*/ 8036 h 192654"/>
              <a:gd name="T4" fmla="*/ 25147 w 193899"/>
              <a:gd name="T5" fmla="*/ 30773 h 192654"/>
              <a:gd name="T6" fmla="*/ 4911 w 193899"/>
              <a:gd name="T7" fmla="*/ 65473 h 192654"/>
              <a:gd name="T8" fmla="*/ 0 w 193899"/>
              <a:gd name="T9" fmla="*/ 93900 h 192654"/>
              <a:gd name="T10" fmla="*/ 897 w 193899"/>
              <a:gd name="T11" fmla="*/ 109938 h 192654"/>
              <a:gd name="T12" fmla="*/ 14099 w 193899"/>
              <a:gd name="T13" fmla="*/ 150716 h 192654"/>
              <a:gd name="T14" fmla="*/ 41508 w 193899"/>
              <a:gd name="T15" fmla="*/ 179451 h 192654"/>
              <a:gd name="T16" fmla="*/ 81131 w 193899"/>
              <a:gd name="T17" fmla="*/ 194801 h 192654"/>
              <a:gd name="T18" fmla="*/ 106981 w 193899"/>
              <a:gd name="T19" fmla="*/ 196770 h 192654"/>
              <a:gd name="T20" fmla="*/ 118137 w 193899"/>
              <a:gd name="T21" fmla="*/ 196460 h 192654"/>
              <a:gd name="T22" fmla="*/ 168425 w 193899"/>
              <a:gd name="T23" fmla="*/ 184789 h 192654"/>
              <a:gd name="T24" fmla="*/ 184734 w 193899"/>
              <a:gd name="T25" fmla="*/ 161176 h 192654"/>
              <a:gd name="T26" fmla="*/ 130737 w 193899"/>
              <a:gd name="T27" fmla="*/ 161176 h 192654"/>
              <a:gd name="T28" fmla="*/ 112327 w 193899"/>
              <a:gd name="T29" fmla="*/ 160133 h 192654"/>
              <a:gd name="T30" fmla="*/ 74066 w 193899"/>
              <a:gd name="T31" fmla="*/ 143115 h 192654"/>
              <a:gd name="T32" fmla="*/ 60116 w 193899"/>
              <a:gd name="T33" fmla="*/ 108068 h 192654"/>
              <a:gd name="T34" fmla="*/ 193005 w 193899"/>
              <a:gd name="T35" fmla="*/ 108068 h 192654"/>
              <a:gd name="T36" fmla="*/ 192698 w 193899"/>
              <a:gd name="T37" fmla="*/ 90798 h 192654"/>
              <a:gd name="T38" fmla="*/ 190679 w 193899"/>
              <a:gd name="T39" fmla="*/ 76753 h 192654"/>
              <a:gd name="T40" fmla="*/ 61319 w 193899"/>
              <a:gd name="T41" fmla="*/ 76753 h 192654"/>
              <a:gd name="T42" fmla="*/ 64705 w 193899"/>
              <a:gd name="T43" fmla="*/ 60917 h 192654"/>
              <a:gd name="T44" fmla="*/ 71464 w 193899"/>
              <a:gd name="T45" fmla="*/ 48620 h 192654"/>
              <a:gd name="T46" fmla="*/ 81314 w 193899"/>
              <a:gd name="T47" fmla="*/ 40133 h 192654"/>
              <a:gd name="T48" fmla="*/ 93964 w 193899"/>
              <a:gd name="T49" fmla="*/ 35728 h 192654"/>
              <a:gd name="T50" fmla="*/ 101468 w 193899"/>
              <a:gd name="T51" fmla="*/ 35140 h 192654"/>
              <a:gd name="T52" fmla="*/ 172513 w 193899"/>
              <a:gd name="T53" fmla="*/ 35140 h 192654"/>
              <a:gd name="T54" fmla="*/ 164473 w 193899"/>
              <a:gd name="T55" fmla="*/ 25911 h 192654"/>
              <a:gd name="T56" fmla="*/ 154525 w 193899"/>
              <a:gd name="T57" fmla="*/ 17470 h 192654"/>
              <a:gd name="T58" fmla="*/ 143488 w 193899"/>
              <a:gd name="T59" fmla="*/ 10623 h 192654"/>
              <a:gd name="T60" fmla="*/ 131511 w 193899"/>
              <a:gd name="T61" fmla="*/ 5405 h 192654"/>
              <a:gd name="T62" fmla="*/ 118739 w 193899"/>
              <a:gd name="T63" fmla="*/ 1854 h 192654"/>
              <a:gd name="T64" fmla="*/ 105323 w 193899"/>
              <a:gd name="T65" fmla="*/ 0 h 192654"/>
              <a:gd name="T66" fmla="*/ 189806 w 193899"/>
              <a:gd name="T67" fmla="*/ 134424 h 192654"/>
              <a:gd name="T68" fmla="*/ 152978 w 193899"/>
              <a:gd name="T69" fmla="*/ 155971 h 192654"/>
              <a:gd name="T70" fmla="*/ 130737 w 193899"/>
              <a:gd name="T71" fmla="*/ 161176 h 192654"/>
              <a:gd name="T72" fmla="*/ 184734 w 193899"/>
              <a:gd name="T73" fmla="*/ 161176 h 192654"/>
              <a:gd name="T74" fmla="*/ 189806 w 193899"/>
              <a:gd name="T75" fmla="*/ 134424 h 192654"/>
              <a:gd name="T76" fmla="*/ 172513 w 193899"/>
              <a:gd name="T77" fmla="*/ 35140 h 192654"/>
              <a:gd name="T78" fmla="*/ 101468 w 193899"/>
              <a:gd name="T79" fmla="*/ 35140 h 192654"/>
              <a:gd name="T80" fmla="*/ 115288 w 193899"/>
              <a:gd name="T81" fmla="*/ 37388 h 192654"/>
              <a:gd name="T82" fmla="*/ 126611 w 193899"/>
              <a:gd name="T83" fmla="*/ 43895 h 192654"/>
              <a:gd name="T84" fmla="*/ 135073 w 193899"/>
              <a:gd name="T85" fmla="*/ 54313 h 192654"/>
              <a:gd name="T86" fmla="*/ 140304 w 193899"/>
              <a:gd name="T87" fmla="*/ 68292 h 192654"/>
              <a:gd name="T88" fmla="*/ 61319 w 193899"/>
              <a:gd name="T89" fmla="*/ 76753 h 192654"/>
              <a:gd name="T90" fmla="*/ 190679 w 193899"/>
              <a:gd name="T91" fmla="*/ 76753 h 192654"/>
              <a:gd name="T92" fmla="*/ 190415 w 193899"/>
              <a:gd name="T93" fmla="*/ 74914 h 192654"/>
              <a:gd name="T94" fmla="*/ 186302 w 193899"/>
              <a:gd name="T95" fmla="*/ 60447 h 192654"/>
              <a:gd name="T96" fmla="*/ 180510 w 193899"/>
              <a:gd name="T97" fmla="*/ 47434 h 192654"/>
              <a:gd name="T98" fmla="*/ 173183 w 193899"/>
              <a:gd name="T99" fmla="*/ 35909 h 192654"/>
              <a:gd name="T100" fmla="*/ 172513 w 193899"/>
              <a:gd name="T101" fmla="*/ 35140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5" name="object 7">
            <a:extLst>
              <a:ext uri="{FF2B5EF4-FFF2-40B4-BE49-F238E27FC236}">
                <a16:creationId xmlns:a16="http://schemas.microsoft.com/office/drawing/2014/main" id="{3CB59BB0-5154-4AE4-A239-E9C168BA4FD8}"/>
              </a:ext>
            </a:extLst>
          </p:cNvPr>
          <p:cNvSpPr>
            <a:spLocks/>
          </p:cNvSpPr>
          <p:nvPr/>
        </p:nvSpPr>
        <p:spPr bwMode="auto">
          <a:xfrm>
            <a:off x="7682855" y="6362904"/>
            <a:ext cx="88017" cy="143945"/>
          </a:xfrm>
          <a:custGeom>
            <a:avLst/>
            <a:gdLst>
              <a:gd name="T0" fmla="*/ 84075 w 152869"/>
              <a:gd name="T1" fmla="*/ 100399 h 248003"/>
              <a:gd name="T2" fmla="*/ 26294 w 152869"/>
              <a:gd name="T3" fmla="*/ 100399 h 248003"/>
              <a:gd name="T4" fmla="*/ 26332 w 152869"/>
              <a:gd name="T5" fmla="*/ 184975 h 248003"/>
              <a:gd name="T6" fmla="*/ 39811 w 152869"/>
              <a:gd name="T7" fmla="*/ 228777 h 248003"/>
              <a:gd name="T8" fmla="*/ 72699 w 152869"/>
              <a:gd name="T9" fmla="*/ 249507 h 248003"/>
              <a:gd name="T10" fmla="*/ 101939 w 152869"/>
              <a:gd name="T11" fmla="*/ 252980 h 248003"/>
              <a:gd name="T12" fmla="*/ 113774 w 152869"/>
              <a:gd name="T13" fmla="*/ 252026 h 248003"/>
              <a:gd name="T14" fmla="*/ 125508 w 152869"/>
              <a:gd name="T15" fmla="*/ 249829 h 248003"/>
              <a:gd name="T16" fmla="*/ 137725 w 152869"/>
              <a:gd name="T17" fmla="*/ 246235 h 248003"/>
              <a:gd name="T18" fmla="*/ 151001 w 152869"/>
              <a:gd name="T19" fmla="*/ 241103 h 248003"/>
              <a:gd name="T20" fmla="*/ 145656 w 152869"/>
              <a:gd name="T21" fmla="*/ 208794 h 248003"/>
              <a:gd name="T22" fmla="*/ 108262 w 152869"/>
              <a:gd name="T23" fmla="*/ 208794 h 248003"/>
              <a:gd name="T24" fmla="*/ 95145 w 152869"/>
              <a:gd name="T25" fmla="*/ 203994 h 248003"/>
              <a:gd name="T26" fmla="*/ 86923 w 152869"/>
              <a:gd name="T27" fmla="*/ 193608 h 248003"/>
              <a:gd name="T28" fmla="*/ 84075 w 152869"/>
              <a:gd name="T29" fmla="*/ 178569 h 248003"/>
              <a:gd name="T30" fmla="*/ 84075 w 152869"/>
              <a:gd name="T31" fmla="*/ 100399 h 248003"/>
              <a:gd name="T32" fmla="*/ 144399 w 152869"/>
              <a:gd name="T33" fmla="*/ 201200 h 248003"/>
              <a:gd name="T34" fmla="*/ 132589 w 152869"/>
              <a:gd name="T35" fmla="*/ 205750 h 248003"/>
              <a:gd name="T36" fmla="*/ 120968 w 152869"/>
              <a:gd name="T37" fmla="*/ 208178 h 248003"/>
              <a:gd name="T38" fmla="*/ 108262 w 152869"/>
              <a:gd name="T39" fmla="*/ 208794 h 248003"/>
              <a:gd name="T40" fmla="*/ 145656 w 152869"/>
              <a:gd name="T41" fmla="*/ 208794 h 248003"/>
              <a:gd name="T42" fmla="*/ 144399 w 152869"/>
              <a:gd name="T43" fmla="*/ 201200 h 248003"/>
              <a:gd name="T44" fmla="*/ 84075 w 152869"/>
              <a:gd name="T45" fmla="*/ 0 h 248003"/>
              <a:gd name="T46" fmla="*/ 76887 w 152869"/>
              <a:gd name="T47" fmla="*/ 0 h 248003"/>
              <a:gd name="T48" fmla="*/ 0 w 152869"/>
              <a:gd name="T49" fmla="*/ 88882 h 248003"/>
              <a:gd name="T50" fmla="*/ 0 w 152869"/>
              <a:gd name="T51" fmla="*/ 100399 h 248003"/>
              <a:gd name="T52" fmla="*/ 151001 w 152869"/>
              <a:gd name="T53" fmla="*/ 100399 h 248003"/>
              <a:gd name="T54" fmla="*/ 151001 w 152869"/>
              <a:gd name="T55" fmla="*/ 59670 h 248003"/>
              <a:gd name="T56" fmla="*/ 84075 w 152869"/>
              <a:gd name="T57" fmla="*/ 59670 h 248003"/>
              <a:gd name="T58" fmla="*/ 84075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6" name="object 8">
            <a:extLst>
              <a:ext uri="{FF2B5EF4-FFF2-40B4-BE49-F238E27FC236}">
                <a16:creationId xmlns:a16="http://schemas.microsoft.com/office/drawing/2014/main" id="{5E731063-3EE3-4D9D-AD9C-A7487D26AE77}"/>
              </a:ext>
            </a:extLst>
          </p:cNvPr>
          <p:cNvSpPr>
            <a:spLocks/>
          </p:cNvSpPr>
          <p:nvPr/>
        </p:nvSpPr>
        <p:spPr bwMode="auto">
          <a:xfrm>
            <a:off x="7784625"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3 w 186347"/>
              <a:gd name="T19" fmla="*/ 124103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41 h 275069"/>
              <a:gd name="T44" fmla="*/ 179969 w 186347"/>
              <a:gd name="T45" fmla="*/ 129799 h 275069"/>
              <a:gd name="T46" fmla="*/ 113530 w 186347"/>
              <a:gd name="T47" fmla="*/ 85035 h 275069"/>
              <a:gd name="T48" fmla="*/ 68326 w 186347"/>
              <a:gd name="T49" fmla="*/ 104929 h 275069"/>
              <a:gd name="T50" fmla="*/ 58524 w 186347"/>
              <a:gd name="T51" fmla="*/ 115830 h 275069"/>
              <a:gd name="T52" fmla="*/ 173896 w 186347"/>
              <a:gd name="T53" fmla="*/ 115830 h 275069"/>
              <a:gd name="T54" fmla="*/ 140184 w 186347"/>
              <a:gd name="T55" fmla="*/ 89049 h 275069"/>
              <a:gd name="T56" fmla="*/ 113530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7" name="object 9">
            <a:extLst>
              <a:ext uri="{FF2B5EF4-FFF2-40B4-BE49-F238E27FC236}">
                <a16:creationId xmlns:a16="http://schemas.microsoft.com/office/drawing/2014/main" id="{979D750A-92D0-44BD-BF59-B1FA4DC03023}"/>
              </a:ext>
            </a:extLst>
          </p:cNvPr>
          <p:cNvSpPr>
            <a:spLocks/>
          </p:cNvSpPr>
          <p:nvPr/>
        </p:nvSpPr>
        <p:spPr bwMode="auto">
          <a:xfrm>
            <a:off x="7909316" y="6394994"/>
            <a:ext cx="111855" cy="111855"/>
          </a:xfrm>
          <a:custGeom>
            <a:avLst/>
            <a:gdLst>
              <a:gd name="T0" fmla="*/ 105302 w 193899"/>
              <a:gd name="T1" fmla="*/ 0 h 192656"/>
              <a:gd name="T2" fmla="*/ 59204 w 193899"/>
              <a:gd name="T3" fmla="*/ 8039 h 192656"/>
              <a:gd name="T4" fmla="*/ 25139 w 193899"/>
              <a:gd name="T5" fmla="*/ 30778 h 192656"/>
              <a:gd name="T6" fmla="*/ 4907 w 193899"/>
              <a:gd name="T7" fmla="*/ 65485 h 192656"/>
              <a:gd name="T8" fmla="*/ 0 w 193899"/>
              <a:gd name="T9" fmla="*/ 93916 h 192656"/>
              <a:gd name="T10" fmla="*/ 898 w 193899"/>
              <a:gd name="T11" fmla="*/ 109949 h 192656"/>
              <a:gd name="T12" fmla="*/ 14100 w 193899"/>
              <a:gd name="T13" fmla="*/ 150724 h 192656"/>
              <a:gd name="T14" fmla="*/ 41512 w 193899"/>
              <a:gd name="T15" fmla="*/ 179453 h 192656"/>
              <a:gd name="T16" fmla="*/ 81142 w 193899"/>
              <a:gd name="T17" fmla="*/ 194798 h 192656"/>
              <a:gd name="T18" fmla="*/ 106991 w 193899"/>
              <a:gd name="T19" fmla="*/ 196764 h 192656"/>
              <a:gd name="T20" fmla="*/ 118144 w 193899"/>
              <a:gd name="T21" fmla="*/ 196453 h 192656"/>
              <a:gd name="T22" fmla="*/ 168440 w 193899"/>
              <a:gd name="T23" fmla="*/ 184772 h 192656"/>
              <a:gd name="T24" fmla="*/ 184738 w 193899"/>
              <a:gd name="T25" fmla="*/ 161171 h 192656"/>
              <a:gd name="T26" fmla="*/ 130724 w 193899"/>
              <a:gd name="T27" fmla="*/ 161171 h 192656"/>
              <a:gd name="T28" fmla="*/ 112313 w 193899"/>
              <a:gd name="T29" fmla="*/ 160127 h 192656"/>
              <a:gd name="T30" fmla="*/ 74058 w 193899"/>
              <a:gd name="T31" fmla="*/ 143105 h 192656"/>
              <a:gd name="T32" fmla="*/ 60117 w 193899"/>
              <a:gd name="T33" fmla="*/ 108064 h 192656"/>
              <a:gd name="T34" fmla="*/ 193005 w 193899"/>
              <a:gd name="T35" fmla="*/ 108064 h 192656"/>
              <a:gd name="T36" fmla="*/ 192695 w 193899"/>
              <a:gd name="T37" fmla="*/ 90794 h 192656"/>
              <a:gd name="T38" fmla="*/ 190674 w 193899"/>
              <a:gd name="T39" fmla="*/ 76752 h 192656"/>
              <a:gd name="T40" fmla="*/ 61320 w 193899"/>
              <a:gd name="T41" fmla="*/ 76752 h 192656"/>
              <a:gd name="T42" fmla="*/ 64703 w 193899"/>
              <a:gd name="T43" fmla="*/ 60912 h 192656"/>
              <a:gd name="T44" fmla="*/ 71465 w 193899"/>
              <a:gd name="T45" fmla="*/ 48615 h 192656"/>
              <a:gd name="T46" fmla="*/ 81319 w 193899"/>
              <a:gd name="T47" fmla="*/ 40130 h 192656"/>
              <a:gd name="T48" fmla="*/ 93967 w 193899"/>
              <a:gd name="T49" fmla="*/ 35727 h 192656"/>
              <a:gd name="T50" fmla="*/ 101456 w 193899"/>
              <a:gd name="T51" fmla="*/ 35141 h 192656"/>
              <a:gd name="T52" fmla="*/ 172504 w 193899"/>
              <a:gd name="T53" fmla="*/ 35141 h 192656"/>
              <a:gd name="T54" fmla="*/ 164459 w 193899"/>
              <a:gd name="T55" fmla="*/ 25907 h 192656"/>
              <a:gd name="T56" fmla="*/ 154509 w 193899"/>
              <a:gd name="T57" fmla="*/ 17466 h 192656"/>
              <a:gd name="T58" fmla="*/ 143471 w 193899"/>
              <a:gd name="T59" fmla="*/ 10621 h 192656"/>
              <a:gd name="T60" fmla="*/ 131492 w 193899"/>
              <a:gd name="T61" fmla="*/ 5403 h 192656"/>
              <a:gd name="T62" fmla="*/ 118720 w 193899"/>
              <a:gd name="T63" fmla="*/ 1853 h 192656"/>
              <a:gd name="T64" fmla="*/ 105302 w 193899"/>
              <a:gd name="T65" fmla="*/ 0 h 192656"/>
              <a:gd name="T66" fmla="*/ 189794 w 193899"/>
              <a:gd name="T67" fmla="*/ 134420 h 192656"/>
              <a:gd name="T68" fmla="*/ 152963 w 193899"/>
              <a:gd name="T69" fmla="*/ 155968 h 192656"/>
              <a:gd name="T70" fmla="*/ 130724 w 193899"/>
              <a:gd name="T71" fmla="*/ 161171 h 192656"/>
              <a:gd name="T72" fmla="*/ 184738 w 193899"/>
              <a:gd name="T73" fmla="*/ 161171 h 192656"/>
              <a:gd name="T74" fmla="*/ 189794 w 193899"/>
              <a:gd name="T75" fmla="*/ 134420 h 192656"/>
              <a:gd name="T76" fmla="*/ 172504 w 193899"/>
              <a:gd name="T77" fmla="*/ 35141 h 192656"/>
              <a:gd name="T78" fmla="*/ 101456 w 193899"/>
              <a:gd name="T79" fmla="*/ 35141 h 192656"/>
              <a:gd name="T80" fmla="*/ 115276 w 193899"/>
              <a:gd name="T81" fmla="*/ 37389 h 192656"/>
              <a:gd name="T82" fmla="*/ 126599 w 193899"/>
              <a:gd name="T83" fmla="*/ 43895 h 192656"/>
              <a:gd name="T84" fmla="*/ 135061 w 193899"/>
              <a:gd name="T85" fmla="*/ 54311 h 192656"/>
              <a:gd name="T86" fmla="*/ 140292 w 193899"/>
              <a:gd name="T87" fmla="*/ 68290 h 192656"/>
              <a:gd name="T88" fmla="*/ 61320 w 193899"/>
              <a:gd name="T89" fmla="*/ 76752 h 192656"/>
              <a:gd name="T90" fmla="*/ 190674 w 193899"/>
              <a:gd name="T91" fmla="*/ 76752 h 192656"/>
              <a:gd name="T92" fmla="*/ 190410 w 193899"/>
              <a:gd name="T93" fmla="*/ 74909 h 192656"/>
              <a:gd name="T94" fmla="*/ 186295 w 193899"/>
              <a:gd name="T95" fmla="*/ 60442 h 192656"/>
              <a:gd name="T96" fmla="*/ 180500 w 193899"/>
              <a:gd name="T97" fmla="*/ 47430 h 192656"/>
              <a:gd name="T98" fmla="*/ 173171 w 193899"/>
              <a:gd name="T99" fmla="*/ 35907 h 192656"/>
              <a:gd name="T100" fmla="*/ 172504 w 193899"/>
              <a:gd name="T101" fmla="*/ 35141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8" name="object 10">
            <a:extLst>
              <a:ext uri="{FF2B5EF4-FFF2-40B4-BE49-F238E27FC236}">
                <a16:creationId xmlns:a16="http://schemas.microsoft.com/office/drawing/2014/main" id="{CD1D7217-8B8F-49B1-A8B1-BE177CCF26D9}"/>
              </a:ext>
            </a:extLst>
          </p:cNvPr>
          <p:cNvSpPr>
            <a:spLocks/>
          </p:cNvSpPr>
          <p:nvPr/>
        </p:nvSpPr>
        <p:spPr bwMode="auto">
          <a:xfrm>
            <a:off x="8095435" y="6343651"/>
            <a:ext cx="154947" cy="163198"/>
          </a:xfrm>
          <a:custGeom>
            <a:avLst/>
            <a:gdLst>
              <a:gd name="T0" fmla="*/ 157946 w 268134"/>
              <a:gd name="T1" fmla="*/ 0 h 282037"/>
              <a:gd name="T2" fmla="*/ 108748 w 268134"/>
              <a:gd name="T3" fmla="*/ 7448 h 282037"/>
              <a:gd name="T4" fmla="*/ 68128 w 268134"/>
              <a:gd name="T5" fmla="*/ 25114 h 282037"/>
              <a:gd name="T6" fmla="*/ 36545 w 268134"/>
              <a:gd name="T7" fmla="*/ 51183 h 282037"/>
              <a:gd name="T8" fmla="*/ 14457 w 268134"/>
              <a:gd name="T9" fmla="*/ 83850 h 282037"/>
              <a:gd name="T10" fmla="*/ 2327 w 268134"/>
              <a:gd name="T11" fmla="*/ 121301 h 282037"/>
              <a:gd name="T12" fmla="*/ 0 w 268134"/>
              <a:gd name="T13" fmla="*/ 148032 h 282037"/>
              <a:gd name="T14" fmla="*/ 971 w 268134"/>
              <a:gd name="T15" fmla="*/ 160290 h 282037"/>
              <a:gd name="T16" fmla="*/ 15708 w 268134"/>
              <a:gd name="T17" fmla="*/ 207124 h 282037"/>
              <a:gd name="T18" fmla="*/ 48430 w 268134"/>
              <a:gd name="T19" fmla="*/ 246707 h 282037"/>
              <a:gd name="T20" fmla="*/ 85255 w 268134"/>
              <a:gd name="T21" fmla="*/ 268638 h 282037"/>
              <a:gd name="T22" fmla="*/ 132989 w 268134"/>
              <a:gd name="T23" fmla="*/ 281589 h 282037"/>
              <a:gd name="T24" fmla="*/ 171038 w 268134"/>
              <a:gd name="T25" fmla="*/ 284195 h 282037"/>
              <a:gd name="T26" fmla="*/ 183981 w 268134"/>
              <a:gd name="T27" fmla="*/ 283392 h 282037"/>
              <a:gd name="T28" fmla="*/ 231803 w 268134"/>
              <a:gd name="T29" fmla="*/ 273065 h 282037"/>
              <a:gd name="T30" fmla="*/ 268746 w 268134"/>
              <a:gd name="T31" fmla="*/ 256740 h 282037"/>
              <a:gd name="T32" fmla="*/ 267463 w 268134"/>
              <a:gd name="T33" fmla="*/ 226038 h 282037"/>
              <a:gd name="T34" fmla="*/ 155891 w 268134"/>
              <a:gd name="T35" fmla="*/ 226038 h 282037"/>
              <a:gd name="T36" fmla="*/ 141242 w 268134"/>
              <a:gd name="T37" fmla="*/ 223664 h 282037"/>
              <a:gd name="T38" fmla="*/ 104152 w 268134"/>
              <a:gd name="T39" fmla="*/ 206379 h 282037"/>
              <a:gd name="T40" fmla="*/ 79829 w 268134"/>
              <a:gd name="T41" fmla="*/ 174793 h 282037"/>
              <a:gd name="T42" fmla="*/ 71457 w 268134"/>
              <a:gd name="T43" fmla="*/ 130115 h 282037"/>
              <a:gd name="T44" fmla="*/ 74271 w 268134"/>
              <a:gd name="T45" fmla="*/ 117644 h 282037"/>
              <a:gd name="T46" fmla="*/ 104622 w 268134"/>
              <a:gd name="T47" fmla="*/ 77798 h 282037"/>
              <a:gd name="T48" fmla="*/ 145633 w 268134"/>
              <a:gd name="T49" fmla="*/ 61205 h 282037"/>
              <a:gd name="T50" fmla="*/ 180713 w 268134"/>
              <a:gd name="T51" fmla="*/ 57946 h 282037"/>
              <a:gd name="T52" fmla="*/ 262776 w 268134"/>
              <a:gd name="T53" fmla="*/ 57946 h 282037"/>
              <a:gd name="T54" fmla="*/ 259145 w 268134"/>
              <a:gd name="T55" fmla="*/ 20665 h 282037"/>
              <a:gd name="T56" fmla="*/ 214731 w 268134"/>
              <a:gd name="T57" fmla="*/ 5092 h 282037"/>
              <a:gd name="T58" fmla="*/ 173449 w 268134"/>
              <a:gd name="T59" fmla="*/ 288 h 282037"/>
              <a:gd name="T60" fmla="*/ 157946 w 268134"/>
              <a:gd name="T61" fmla="*/ 0 h 282037"/>
              <a:gd name="T62" fmla="*/ 266267 w 268134"/>
              <a:gd name="T63" fmla="*/ 197379 h 282037"/>
              <a:gd name="T64" fmla="*/ 231339 w 268134"/>
              <a:gd name="T65" fmla="*/ 213116 h 282037"/>
              <a:gd name="T66" fmla="*/ 184758 w 268134"/>
              <a:gd name="T67" fmla="*/ 224788 h 282037"/>
              <a:gd name="T68" fmla="*/ 155891 w 268134"/>
              <a:gd name="T69" fmla="*/ 226038 h 282037"/>
              <a:gd name="T70" fmla="*/ 267463 w 268134"/>
              <a:gd name="T71" fmla="*/ 226038 h 282037"/>
              <a:gd name="T72" fmla="*/ 266267 w 268134"/>
              <a:gd name="T73" fmla="*/ 197379 h 282037"/>
              <a:gd name="T74" fmla="*/ 262776 w 268134"/>
              <a:gd name="T75" fmla="*/ 57946 h 282037"/>
              <a:gd name="T76" fmla="*/ 180713 w 268134"/>
              <a:gd name="T77" fmla="*/ 57946 h 282037"/>
              <a:gd name="T78" fmla="*/ 193411 w 268134"/>
              <a:gd name="T79" fmla="*/ 59334 h 282037"/>
              <a:gd name="T80" fmla="*/ 205856 w 268134"/>
              <a:gd name="T81" fmla="*/ 61717 h 282037"/>
              <a:gd name="T82" fmla="*/ 242024 w 268134"/>
              <a:gd name="T83" fmla="*/ 74122 h 282037"/>
              <a:gd name="T84" fmla="*/ 265512 w 268134"/>
              <a:gd name="T85" fmla="*/ 86052 h 282037"/>
              <a:gd name="T86" fmla="*/ 262776 w 268134"/>
              <a:gd name="T87" fmla="*/ 5794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79" name="object 11">
            <a:extLst>
              <a:ext uri="{FF2B5EF4-FFF2-40B4-BE49-F238E27FC236}">
                <a16:creationId xmlns:a16="http://schemas.microsoft.com/office/drawing/2014/main" id="{7E89025D-10F5-4A65-A22A-6EC71766912D}"/>
              </a:ext>
            </a:extLst>
          </p:cNvPr>
          <p:cNvSpPr>
            <a:spLocks/>
          </p:cNvSpPr>
          <p:nvPr/>
        </p:nvSpPr>
        <p:spPr bwMode="auto">
          <a:xfrm>
            <a:off x="8274220"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2 w 186347"/>
              <a:gd name="T19" fmla="*/ 124102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39 h 275069"/>
              <a:gd name="T44" fmla="*/ 179969 w 186347"/>
              <a:gd name="T45" fmla="*/ 129799 h 275069"/>
              <a:gd name="T46" fmla="*/ 113529 w 186347"/>
              <a:gd name="T47" fmla="*/ 85035 h 275069"/>
              <a:gd name="T48" fmla="*/ 68325 w 186347"/>
              <a:gd name="T49" fmla="*/ 104929 h 275069"/>
              <a:gd name="T50" fmla="*/ 58524 w 186347"/>
              <a:gd name="T51" fmla="*/ 115830 h 275069"/>
              <a:gd name="T52" fmla="*/ 173896 w 186347"/>
              <a:gd name="T53" fmla="*/ 115830 h 275069"/>
              <a:gd name="T54" fmla="*/ 140183 w 186347"/>
              <a:gd name="T55" fmla="*/ 89049 h 275069"/>
              <a:gd name="T56" fmla="*/ 113529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0" name="object 12">
            <a:extLst>
              <a:ext uri="{FF2B5EF4-FFF2-40B4-BE49-F238E27FC236}">
                <a16:creationId xmlns:a16="http://schemas.microsoft.com/office/drawing/2014/main" id="{3FD39F3F-576A-4D55-8AB3-A2AFF54DD2D2}"/>
              </a:ext>
            </a:extLst>
          </p:cNvPr>
          <p:cNvSpPr>
            <a:spLocks/>
          </p:cNvSpPr>
          <p:nvPr/>
        </p:nvSpPr>
        <p:spPr bwMode="auto">
          <a:xfrm>
            <a:off x="8405329" y="6396827"/>
            <a:ext cx="33923" cy="107271"/>
          </a:xfrm>
          <a:custGeom>
            <a:avLst/>
            <a:gdLst>
              <a:gd name="T0" fmla="*/ 59505 w 58483"/>
              <a:gd name="T1" fmla="*/ 185129 h 185940"/>
              <a:gd name="T2" fmla="*/ 0 w 58483"/>
              <a:gd name="T3" fmla="*/ 185129 h 185940"/>
              <a:gd name="T4" fmla="*/ 0 w 58483"/>
              <a:gd name="T5" fmla="*/ 0 h 185940"/>
              <a:gd name="T6" fmla="*/ 59505 w 58483"/>
              <a:gd name="T7" fmla="*/ 0 h 185940"/>
              <a:gd name="T8" fmla="*/ 59505 w 58483"/>
              <a:gd name="T9" fmla="*/ 185129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1" name="object 13">
            <a:extLst>
              <a:ext uri="{FF2B5EF4-FFF2-40B4-BE49-F238E27FC236}">
                <a16:creationId xmlns:a16="http://schemas.microsoft.com/office/drawing/2014/main" id="{2C148F2B-426D-4B38-8566-D2BED1841063}"/>
              </a:ext>
            </a:extLst>
          </p:cNvPr>
          <p:cNvSpPr>
            <a:spLocks/>
          </p:cNvSpPr>
          <p:nvPr/>
        </p:nvSpPr>
        <p:spPr bwMode="auto">
          <a:xfrm>
            <a:off x="8403496" y="6344567"/>
            <a:ext cx="37590" cy="35757"/>
          </a:xfrm>
          <a:custGeom>
            <a:avLst/>
            <a:gdLst>
              <a:gd name="T0" fmla="*/ 23399 w 64473"/>
              <a:gd name="T1" fmla="*/ 0 h 61899"/>
              <a:gd name="T2" fmla="*/ 11296 w 64473"/>
              <a:gd name="T3" fmla="*/ 6800 h 61899"/>
              <a:gd name="T4" fmla="*/ 3032 w 64473"/>
              <a:gd name="T5" fmla="*/ 18063 h 61899"/>
              <a:gd name="T6" fmla="*/ 0 w 64473"/>
              <a:gd name="T7" fmla="*/ 32683 h 61899"/>
              <a:gd name="T8" fmla="*/ 3347 w 64473"/>
              <a:gd name="T9" fmla="*/ 44535 h 61899"/>
              <a:gd name="T10" fmla="*/ 11667 w 64473"/>
              <a:gd name="T11" fmla="*/ 54062 h 61899"/>
              <a:gd name="T12" fmla="*/ 24719 w 64473"/>
              <a:gd name="T13" fmla="*/ 60220 h 61899"/>
              <a:gd name="T14" fmla="*/ 42255 w 64473"/>
              <a:gd name="T15" fmla="*/ 61955 h 61899"/>
              <a:gd name="T16" fmla="*/ 54972 w 64473"/>
              <a:gd name="T17" fmla="*/ 55506 h 61899"/>
              <a:gd name="T18" fmla="*/ 63712 w 64473"/>
              <a:gd name="T19" fmla="*/ 44628 h 61899"/>
              <a:gd name="T20" fmla="*/ 66965 w 64473"/>
              <a:gd name="T21" fmla="*/ 30792 h 61899"/>
              <a:gd name="T22" fmla="*/ 66819 w 64473"/>
              <a:gd name="T23" fmla="*/ 27801 h 61899"/>
              <a:gd name="T24" fmla="*/ 63135 w 64473"/>
              <a:gd name="T25" fmla="*/ 16350 h 61899"/>
              <a:gd name="T26" fmla="*/ 54582 w 64473"/>
              <a:gd name="T27" fmla="*/ 7227 h 61899"/>
              <a:gd name="T28" fmla="*/ 41294 w 64473"/>
              <a:gd name="T29" fmla="*/ 1439 h 61899"/>
              <a:gd name="T30" fmla="*/ 2339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2" name="object 14">
            <a:extLst>
              <a:ext uri="{FF2B5EF4-FFF2-40B4-BE49-F238E27FC236}">
                <a16:creationId xmlns:a16="http://schemas.microsoft.com/office/drawing/2014/main" id="{A4A84369-AFD0-4521-9885-D6551DFFAD6A}"/>
              </a:ext>
            </a:extLst>
          </p:cNvPr>
          <p:cNvSpPr>
            <a:spLocks/>
          </p:cNvSpPr>
          <p:nvPr/>
        </p:nvSpPr>
        <p:spPr bwMode="auto">
          <a:xfrm>
            <a:off x="8464007" y="6345484"/>
            <a:ext cx="33923" cy="158614"/>
          </a:xfrm>
          <a:custGeom>
            <a:avLst/>
            <a:gdLst>
              <a:gd name="T0" fmla="*/ 59505 w 58483"/>
              <a:gd name="T1" fmla="*/ 273345 h 275069"/>
              <a:gd name="T2" fmla="*/ 0 w 58483"/>
              <a:gd name="T3" fmla="*/ 273345 h 275069"/>
              <a:gd name="T4" fmla="*/ 0 w 58483"/>
              <a:gd name="T5" fmla="*/ 0 h 275069"/>
              <a:gd name="T6" fmla="*/ 59505 w 58483"/>
              <a:gd name="T7" fmla="*/ 0 h 275069"/>
              <a:gd name="T8" fmla="*/ 59505 w 58483"/>
              <a:gd name="T9" fmla="*/ 273345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3" name="object 15">
            <a:extLst>
              <a:ext uri="{FF2B5EF4-FFF2-40B4-BE49-F238E27FC236}">
                <a16:creationId xmlns:a16="http://schemas.microsoft.com/office/drawing/2014/main" id="{359873FC-0075-457F-8DE7-1A73A7D377B6}"/>
              </a:ext>
            </a:extLst>
          </p:cNvPr>
          <p:cNvSpPr>
            <a:spLocks/>
          </p:cNvSpPr>
          <p:nvPr/>
        </p:nvSpPr>
        <p:spPr bwMode="auto">
          <a:xfrm>
            <a:off x="8516267" y="6345484"/>
            <a:ext cx="113689" cy="161365"/>
          </a:xfrm>
          <a:custGeom>
            <a:avLst/>
            <a:gdLst>
              <a:gd name="T0" fmla="*/ 101290 w 197236"/>
              <a:gd name="T1" fmla="*/ 87186 h 278582"/>
              <a:gd name="T2" fmla="*/ 55223 w 197236"/>
              <a:gd name="T3" fmla="*/ 95109 h 278582"/>
              <a:gd name="T4" fmla="*/ 22383 w 197236"/>
              <a:gd name="T5" fmla="*/ 118136 h 278582"/>
              <a:gd name="T6" fmla="*/ 3857 w 197236"/>
              <a:gd name="T7" fmla="*/ 153521 h 278582"/>
              <a:gd name="T8" fmla="*/ 0 w 197236"/>
              <a:gd name="T9" fmla="*/ 182625 h 278582"/>
              <a:gd name="T10" fmla="*/ 1009 w 197236"/>
              <a:gd name="T11" fmla="*/ 198905 h 278582"/>
              <a:gd name="T12" fmla="*/ 15138 w 197236"/>
              <a:gd name="T13" fmla="*/ 240935 h 278582"/>
              <a:gd name="T14" fmla="*/ 43178 w 197236"/>
              <a:gd name="T15" fmla="*/ 269838 h 278582"/>
              <a:gd name="T16" fmla="*/ 81606 w 197236"/>
              <a:gd name="T17" fmla="*/ 281868 h 278582"/>
              <a:gd name="T18" fmla="*/ 96097 w 197236"/>
              <a:gd name="T19" fmla="*/ 281184 h 278582"/>
              <a:gd name="T20" fmla="*/ 108670 w 197236"/>
              <a:gd name="T21" fmla="*/ 278853 h 278582"/>
              <a:gd name="T22" fmla="*/ 119935 w 197236"/>
              <a:gd name="T23" fmla="*/ 274719 h 278582"/>
              <a:gd name="T24" fmla="*/ 130504 w 197236"/>
              <a:gd name="T25" fmla="*/ 268621 h 278582"/>
              <a:gd name="T26" fmla="*/ 195697 w 197236"/>
              <a:gd name="T27" fmla="*/ 268621 h 278582"/>
              <a:gd name="T28" fmla="*/ 195697 w 197236"/>
              <a:gd name="T29" fmla="*/ 240870 h 278582"/>
              <a:gd name="T30" fmla="*/ 114903 w 197236"/>
              <a:gd name="T31" fmla="*/ 240870 h 278582"/>
              <a:gd name="T32" fmla="*/ 98197 w 197236"/>
              <a:gd name="T33" fmla="*/ 239845 h 278582"/>
              <a:gd name="T34" fmla="*/ 66226 w 197236"/>
              <a:gd name="T35" fmla="*/ 218168 h 278582"/>
              <a:gd name="T36" fmla="*/ 59006 w 197236"/>
              <a:gd name="T37" fmla="*/ 191222 h 278582"/>
              <a:gd name="T38" fmla="*/ 60223 w 197236"/>
              <a:gd name="T39" fmla="*/ 172090 h 278582"/>
              <a:gd name="T40" fmla="*/ 78476 w 197236"/>
              <a:gd name="T41" fmla="*/ 134639 h 278582"/>
              <a:gd name="T42" fmla="*/ 101498 w 197236"/>
              <a:gd name="T43" fmla="*/ 126230 h 278582"/>
              <a:gd name="T44" fmla="*/ 195697 w 197236"/>
              <a:gd name="T45" fmla="*/ 126230 h 278582"/>
              <a:gd name="T46" fmla="*/ 195697 w 197236"/>
              <a:gd name="T47" fmla="*/ 98351 h 278582"/>
              <a:gd name="T48" fmla="*/ 137656 w 197236"/>
              <a:gd name="T49" fmla="*/ 98351 h 278582"/>
              <a:gd name="T50" fmla="*/ 125696 w 197236"/>
              <a:gd name="T51" fmla="*/ 93138 h 278582"/>
              <a:gd name="T52" fmla="*/ 113612 w 197236"/>
              <a:gd name="T53" fmla="*/ 89403 h 278582"/>
              <a:gd name="T54" fmla="*/ 101290 w 197236"/>
              <a:gd name="T55" fmla="*/ 87186 h 278582"/>
              <a:gd name="T56" fmla="*/ 195697 w 197236"/>
              <a:gd name="T57" fmla="*/ 268621 h 278582"/>
              <a:gd name="T58" fmla="*/ 130504 w 197236"/>
              <a:gd name="T59" fmla="*/ 268621 h 278582"/>
              <a:gd name="T60" fmla="*/ 137656 w 197236"/>
              <a:gd name="T61" fmla="*/ 278326 h 278582"/>
              <a:gd name="T62" fmla="*/ 195697 w 197236"/>
              <a:gd name="T63" fmla="*/ 278326 h 278582"/>
              <a:gd name="T64" fmla="*/ 195697 w 197236"/>
              <a:gd name="T65" fmla="*/ 268621 h 278582"/>
              <a:gd name="T66" fmla="*/ 195697 w 197236"/>
              <a:gd name="T67" fmla="*/ 126230 h 278582"/>
              <a:gd name="T68" fmla="*/ 101498 w 197236"/>
              <a:gd name="T69" fmla="*/ 126230 h 278582"/>
              <a:gd name="T70" fmla="*/ 115302 w 197236"/>
              <a:gd name="T71" fmla="*/ 127643 h 278582"/>
              <a:gd name="T72" fmla="*/ 127709 w 197236"/>
              <a:gd name="T73" fmla="*/ 131559 h 278582"/>
              <a:gd name="T74" fmla="*/ 137656 w 197236"/>
              <a:gd name="T75" fmla="*/ 226900 h 278582"/>
              <a:gd name="T76" fmla="*/ 126106 w 197236"/>
              <a:gd name="T77" fmla="*/ 235854 h 278582"/>
              <a:gd name="T78" fmla="*/ 114903 w 197236"/>
              <a:gd name="T79" fmla="*/ 240870 h 278582"/>
              <a:gd name="T80" fmla="*/ 195697 w 197236"/>
              <a:gd name="T81" fmla="*/ 240870 h 278582"/>
              <a:gd name="T82" fmla="*/ 195697 w 197236"/>
              <a:gd name="T83" fmla="*/ 126230 h 278582"/>
              <a:gd name="T84" fmla="*/ 195697 w 197236"/>
              <a:gd name="T85" fmla="*/ 0 h 278582"/>
              <a:gd name="T86" fmla="*/ 137656 w 197236"/>
              <a:gd name="T87" fmla="*/ 0 h 278582"/>
              <a:gd name="T88" fmla="*/ 137656 w 197236"/>
              <a:gd name="T89" fmla="*/ 98351 h 278582"/>
              <a:gd name="T90" fmla="*/ 195697 w 197236"/>
              <a:gd name="T91" fmla="*/ 98351 h 278582"/>
              <a:gd name="T92" fmla="*/ 195697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4" name="object 16">
            <a:extLst>
              <a:ext uri="{FF2B5EF4-FFF2-40B4-BE49-F238E27FC236}">
                <a16:creationId xmlns:a16="http://schemas.microsoft.com/office/drawing/2014/main" id="{F0A00B78-14F9-4816-BAE3-6C1EBC614E68}"/>
              </a:ext>
            </a:extLst>
          </p:cNvPr>
          <p:cNvSpPr>
            <a:spLocks/>
          </p:cNvSpPr>
          <p:nvPr/>
        </p:nvSpPr>
        <p:spPr bwMode="auto">
          <a:xfrm>
            <a:off x="8653794" y="6394994"/>
            <a:ext cx="86183" cy="109104"/>
          </a:xfrm>
          <a:custGeom>
            <a:avLst/>
            <a:gdLst>
              <a:gd name="T0" fmla="*/ 59751 w 148435"/>
              <a:gd name="T1" fmla="*/ 3317 h 189286"/>
              <a:gd name="T2" fmla="*/ 0 w 148435"/>
              <a:gd name="T3" fmla="*/ 3317 h 189286"/>
              <a:gd name="T4" fmla="*/ 0 w 148435"/>
              <a:gd name="T5" fmla="*/ 187794 h 189286"/>
              <a:gd name="T6" fmla="*/ 59751 w 148435"/>
              <a:gd name="T7" fmla="*/ 187794 h 189286"/>
              <a:gd name="T8" fmla="*/ 61596 w 148435"/>
              <a:gd name="T9" fmla="*/ 103511 h 189286"/>
              <a:gd name="T10" fmla="*/ 68120 w 148435"/>
              <a:gd name="T11" fmla="*/ 89037 h 189286"/>
              <a:gd name="T12" fmla="*/ 104560 w 148435"/>
              <a:gd name="T13" fmla="*/ 56384 h 189286"/>
              <a:gd name="T14" fmla="*/ 108023 w 148435"/>
              <a:gd name="T15" fmla="*/ 56137 h 189286"/>
              <a:gd name="T16" fmla="*/ 59751 w 148435"/>
              <a:gd name="T17" fmla="*/ 56137 h 189286"/>
              <a:gd name="T18" fmla="*/ 59751 w 148435"/>
              <a:gd name="T19" fmla="*/ 3317 h 189286"/>
              <a:gd name="T20" fmla="*/ 145798 w 148435"/>
              <a:gd name="T21" fmla="*/ 55409 h 189286"/>
              <a:gd name="T22" fmla="*/ 118243 w 148435"/>
              <a:gd name="T23" fmla="*/ 55409 h 189286"/>
              <a:gd name="T24" fmla="*/ 129895 w 148435"/>
              <a:gd name="T25" fmla="*/ 59818 h 189286"/>
              <a:gd name="T26" fmla="*/ 144201 w 148435"/>
              <a:gd name="T27" fmla="*/ 67742 h 189286"/>
              <a:gd name="T28" fmla="*/ 145798 w 148435"/>
              <a:gd name="T29" fmla="*/ 55409 h 189286"/>
              <a:gd name="T30" fmla="*/ 116162 w 148435"/>
              <a:gd name="T31" fmla="*/ 0 h 189286"/>
              <a:gd name="T32" fmla="*/ 77630 w 148435"/>
              <a:gd name="T33" fmla="*/ 26287 h 189286"/>
              <a:gd name="T34" fmla="*/ 60569 w 148435"/>
              <a:gd name="T35" fmla="*/ 56137 h 189286"/>
              <a:gd name="T36" fmla="*/ 108023 w 148435"/>
              <a:gd name="T37" fmla="*/ 56137 h 189286"/>
              <a:gd name="T38" fmla="*/ 118243 w 148435"/>
              <a:gd name="T39" fmla="*/ 55409 h 189286"/>
              <a:gd name="T40" fmla="*/ 145798 w 148435"/>
              <a:gd name="T41" fmla="*/ 55409 h 189286"/>
              <a:gd name="T42" fmla="*/ 151620 w 148435"/>
              <a:gd name="T43" fmla="*/ 10373 h 189286"/>
              <a:gd name="T44" fmla="*/ 140006 w 148435"/>
              <a:gd name="T45" fmla="*/ 4193 h 189286"/>
              <a:gd name="T46" fmla="*/ 128731 w 148435"/>
              <a:gd name="T47" fmla="*/ 865 h 189286"/>
              <a:gd name="T48" fmla="*/ 116162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5" name="object 17">
            <a:extLst>
              <a:ext uri="{FF2B5EF4-FFF2-40B4-BE49-F238E27FC236}">
                <a16:creationId xmlns:a16="http://schemas.microsoft.com/office/drawing/2014/main" id="{7D217D36-4760-4E02-92BC-40C62BE7F033}"/>
              </a:ext>
            </a:extLst>
          </p:cNvPr>
          <p:cNvSpPr>
            <a:spLocks/>
          </p:cNvSpPr>
          <p:nvPr/>
        </p:nvSpPr>
        <p:spPr bwMode="auto">
          <a:xfrm>
            <a:off x="8747312" y="6394994"/>
            <a:ext cx="111855" cy="111855"/>
          </a:xfrm>
          <a:custGeom>
            <a:avLst/>
            <a:gdLst>
              <a:gd name="T0" fmla="*/ 105303 w 193899"/>
              <a:gd name="T1" fmla="*/ 0 h 192655"/>
              <a:gd name="T2" fmla="*/ 59205 w 193899"/>
              <a:gd name="T3" fmla="*/ 8038 h 192655"/>
              <a:gd name="T4" fmla="*/ 25139 w 193899"/>
              <a:gd name="T5" fmla="*/ 30779 h 192655"/>
              <a:gd name="T6" fmla="*/ 4907 w 193899"/>
              <a:gd name="T7" fmla="*/ 65484 h 192655"/>
              <a:gd name="T8" fmla="*/ 0 w 193899"/>
              <a:gd name="T9" fmla="*/ 93917 h 192655"/>
              <a:gd name="T10" fmla="*/ 897 w 193899"/>
              <a:gd name="T11" fmla="*/ 109951 h 192655"/>
              <a:gd name="T12" fmla="*/ 14099 w 193899"/>
              <a:gd name="T13" fmla="*/ 150722 h 192655"/>
              <a:gd name="T14" fmla="*/ 41510 w 193899"/>
              <a:gd name="T15" fmla="*/ 179453 h 192655"/>
              <a:gd name="T16" fmla="*/ 81140 w 193899"/>
              <a:gd name="T17" fmla="*/ 194800 h 192655"/>
              <a:gd name="T18" fmla="*/ 106989 w 193899"/>
              <a:gd name="T19" fmla="*/ 196767 h 192655"/>
              <a:gd name="T20" fmla="*/ 118141 w 193899"/>
              <a:gd name="T21" fmla="*/ 196456 h 192655"/>
              <a:gd name="T22" fmla="*/ 168434 w 193899"/>
              <a:gd name="T23" fmla="*/ 184777 h 192655"/>
              <a:gd name="T24" fmla="*/ 184735 w 193899"/>
              <a:gd name="T25" fmla="*/ 161173 h 192655"/>
              <a:gd name="T26" fmla="*/ 130724 w 193899"/>
              <a:gd name="T27" fmla="*/ 161173 h 192655"/>
              <a:gd name="T28" fmla="*/ 112313 w 193899"/>
              <a:gd name="T29" fmla="*/ 160130 h 192655"/>
              <a:gd name="T30" fmla="*/ 74052 w 193899"/>
              <a:gd name="T31" fmla="*/ 143109 h 192655"/>
              <a:gd name="T32" fmla="*/ 60117 w 193899"/>
              <a:gd name="T33" fmla="*/ 108064 h 192655"/>
              <a:gd name="T34" fmla="*/ 193005 w 193899"/>
              <a:gd name="T35" fmla="*/ 108064 h 192655"/>
              <a:gd name="T36" fmla="*/ 192695 w 193899"/>
              <a:gd name="T37" fmla="*/ 90796 h 192655"/>
              <a:gd name="T38" fmla="*/ 190675 w 193899"/>
              <a:gd name="T39" fmla="*/ 76753 h 192655"/>
              <a:gd name="T40" fmla="*/ 61319 w 193899"/>
              <a:gd name="T41" fmla="*/ 76753 h 192655"/>
              <a:gd name="T42" fmla="*/ 64703 w 193899"/>
              <a:gd name="T43" fmla="*/ 60914 h 192655"/>
              <a:gd name="T44" fmla="*/ 71465 w 193899"/>
              <a:gd name="T45" fmla="*/ 48616 h 192655"/>
              <a:gd name="T46" fmla="*/ 81319 w 193899"/>
              <a:gd name="T47" fmla="*/ 40130 h 192655"/>
              <a:gd name="T48" fmla="*/ 93967 w 193899"/>
              <a:gd name="T49" fmla="*/ 35727 h 192655"/>
              <a:gd name="T50" fmla="*/ 101456 w 193899"/>
              <a:gd name="T51" fmla="*/ 35141 h 192655"/>
              <a:gd name="T52" fmla="*/ 172508 w 193899"/>
              <a:gd name="T53" fmla="*/ 35141 h 192655"/>
              <a:gd name="T54" fmla="*/ 164464 w 193899"/>
              <a:gd name="T55" fmla="*/ 25907 h 192655"/>
              <a:gd name="T56" fmla="*/ 154515 w 193899"/>
              <a:gd name="T57" fmla="*/ 17468 h 192655"/>
              <a:gd name="T58" fmla="*/ 143476 w 193899"/>
              <a:gd name="T59" fmla="*/ 10621 h 192655"/>
              <a:gd name="T60" fmla="*/ 131497 w 193899"/>
              <a:gd name="T61" fmla="*/ 5403 h 192655"/>
              <a:gd name="T62" fmla="*/ 118723 w 193899"/>
              <a:gd name="T63" fmla="*/ 1853 h 192655"/>
              <a:gd name="T64" fmla="*/ 105303 w 193899"/>
              <a:gd name="T65" fmla="*/ 0 h 192655"/>
              <a:gd name="T66" fmla="*/ 189794 w 193899"/>
              <a:gd name="T67" fmla="*/ 134423 h 192655"/>
              <a:gd name="T68" fmla="*/ 152962 w 193899"/>
              <a:gd name="T69" fmla="*/ 155971 h 192655"/>
              <a:gd name="T70" fmla="*/ 130724 w 193899"/>
              <a:gd name="T71" fmla="*/ 161173 h 192655"/>
              <a:gd name="T72" fmla="*/ 184735 w 193899"/>
              <a:gd name="T73" fmla="*/ 161173 h 192655"/>
              <a:gd name="T74" fmla="*/ 189794 w 193899"/>
              <a:gd name="T75" fmla="*/ 134423 h 192655"/>
              <a:gd name="T76" fmla="*/ 172508 w 193899"/>
              <a:gd name="T77" fmla="*/ 35141 h 192655"/>
              <a:gd name="T78" fmla="*/ 101456 w 193899"/>
              <a:gd name="T79" fmla="*/ 35141 h 192655"/>
              <a:gd name="T80" fmla="*/ 115276 w 193899"/>
              <a:gd name="T81" fmla="*/ 37389 h 192655"/>
              <a:gd name="T82" fmla="*/ 126599 w 193899"/>
              <a:gd name="T83" fmla="*/ 43896 h 192655"/>
              <a:gd name="T84" fmla="*/ 135061 w 193899"/>
              <a:gd name="T85" fmla="*/ 54313 h 192655"/>
              <a:gd name="T86" fmla="*/ 140292 w 193899"/>
              <a:gd name="T87" fmla="*/ 68292 h 192655"/>
              <a:gd name="T88" fmla="*/ 61319 w 193899"/>
              <a:gd name="T89" fmla="*/ 76753 h 192655"/>
              <a:gd name="T90" fmla="*/ 190675 w 193899"/>
              <a:gd name="T91" fmla="*/ 76753 h 192655"/>
              <a:gd name="T92" fmla="*/ 190410 w 193899"/>
              <a:gd name="T93" fmla="*/ 74910 h 192655"/>
              <a:gd name="T94" fmla="*/ 186297 w 193899"/>
              <a:gd name="T95" fmla="*/ 60443 h 192655"/>
              <a:gd name="T96" fmla="*/ 180503 w 193899"/>
              <a:gd name="T97" fmla="*/ 47430 h 192655"/>
              <a:gd name="T98" fmla="*/ 173175 w 193899"/>
              <a:gd name="T99" fmla="*/ 35907 h 192655"/>
              <a:gd name="T100" fmla="*/ 172508 w 193899"/>
              <a:gd name="T101" fmla="*/ 35141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6" name="object 18">
            <a:extLst>
              <a:ext uri="{FF2B5EF4-FFF2-40B4-BE49-F238E27FC236}">
                <a16:creationId xmlns:a16="http://schemas.microsoft.com/office/drawing/2014/main" id="{BC0D34F9-AD95-4419-8018-3A45D36B3E4F}"/>
              </a:ext>
            </a:extLst>
          </p:cNvPr>
          <p:cNvSpPr>
            <a:spLocks/>
          </p:cNvSpPr>
          <p:nvPr/>
        </p:nvSpPr>
        <p:spPr bwMode="auto">
          <a:xfrm>
            <a:off x="8876587" y="6394994"/>
            <a:ext cx="108188" cy="109104"/>
          </a:xfrm>
          <a:custGeom>
            <a:avLst/>
            <a:gdLst>
              <a:gd name="T0" fmla="*/ 59216 w 186753"/>
              <a:gd name="T1" fmla="*/ 3491 h 189472"/>
              <a:gd name="T2" fmla="*/ 0 w 186753"/>
              <a:gd name="T3" fmla="*/ 3491 h 189472"/>
              <a:gd name="T4" fmla="*/ 0 w 186753"/>
              <a:gd name="T5" fmla="*/ 187242 h 189472"/>
              <a:gd name="T6" fmla="*/ 59216 w 186753"/>
              <a:gd name="T7" fmla="*/ 187242 h 189472"/>
              <a:gd name="T8" fmla="*/ 65512 w 186753"/>
              <a:gd name="T9" fmla="*/ 60200 h 189472"/>
              <a:gd name="T10" fmla="*/ 74811 w 186753"/>
              <a:gd name="T11" fmla="*/ 50113 h 189472"/>
              <a:gd name="T12" fmla="*/ 84563 w 186753"/>
              <a:gd name="T13" fmla="*/ 43599 h 189472"/>
              <a:gd name="T14" fmla="*/ 95799 w 186753"/>
              <a:gd name="T15" fmla="*/ 40282 h 189472"/>
              <a:gd name="T16" fmla="*/ 109545 w 186753"/>
              <a:gd name="T17" fmla="*/ 39782 h 189472"/>
              <a:gd name="T18" fmla="*/ 183434 w 186753"/>
              <a:gd name="T19" fmla="*/ 39782 h 189472"/>
              <a:gd name="T20" fmla="*/ 182427 w 186753"/>
              <a:gd name="T21" fmla="*/ 36627 h 189472"/>
              <a:gd name="T22" fmla="*/ 178236 w 186753"/>
              <a:gd name="T23" fmla="*/ 29795 h 189472"/>
              <a:gd name="T24" fmla="*/ 59216 w 186753"/>
              <a:gd name="T25" fmla="*/ 29795 h 189472"/>
              <a:gd name="T26" fmla="*/ 59216 w 186753"/>
              <a:gd name="T27" fmla="*/ 3491 h 189472"/>
              <a:gd name="T28" fmla="*/ 183434 w 186753"/>
              <a:gd name="T29" fmla="*/ 39782 h 189472"/>
              <a:gd name="T30" fmla="*/ 109545 w 186753"/>
              <a:gd name="T31" fmla="*/ 39782 h 189472"/>
              <a:gd name="T32" fmla="*/ 120149 w 186753"/>
              <a:gd name="T33" fmla="*/ 45859 h 189472"/>
              <a:gd name="T34" fmla="*/ 127246 w 186753"/>
              <a:gd name="T35" fmla="*/ 57508 h 189472"/>
              <a:gd name="T36" fmla="*/ 129835 w 186753"/>
              <a:gd name="T37" fmla="*/ 75241 h 189472"/>
              <a:gd name="T38" fmla="*/ 129835 w 186753"/>
              <a:gd name="T39" fmla="*/ 187242 h 189472"/>
              <a:gd name="T40" fmla="*/ 189052 w 186753"/>
              <a:gd name="T41" fmla="*/ 187242 h 189472"/>
              <a:gd name="T42" fmla="*/ 187319 w 186753"/>
              <a:gd name="T43" fmla="*/ 51956 h 189472"/>
              <a:gd name="T44" fmla="*/ 183434 w 186753"/>
              <a:gd name="T45" fmla="*/ 39782 h 189472"/>
              <a:gd name="T46" fmla="*/ 116094 w 186753"/>
              <a:gd name="T47" fmla="*/ 0 h 189472"/>
              <a:gd name="T48" fmla="*/ 69786 w 186753"/>
              <a:gd name="T49" fmla="*/ 19181 h 189472"/>
              <a:gd name="T50" fmla="*/ 59216 w 186753"/>
              <a:gd name="T51" fmla="*/ 29795 h 189472"/>
              <a:gd name="T52" fmla="*/ 178236 w 186753"/>
              <a:gd name="T53" fmla="*/ 29795 h 189472"/>
              <a:gd name="T54" fmla="*/ 141752 w 186753"/>
              <a:gd name="T55" fmla="*/ 3348 h 189472"/>
              <a:gd name="T56" fmla="*/ 116094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7" name="object 19">
            <a:extLst>
              <a:ext uri="{FF2B5EF4-FFF2-40B4-BE49-F238E27FC236}">
                <a16:creationId xmlns:a16="http://schemas.microsoft.com/office/drawing/2014/main" id="{ED0063DC-DBEA-45C7-BF8C-07B745744FA8}"/>
              </a:ext>
            </a:extLst>
          </p:cNvPr>
          <p:cNvSpPr>
            <a:spLocks/>
          </p:cNvSpPr>
          <p:nvPr/>
        </p:nvSpPr>
        <p:spPr bwMode="auto">
          <a:xfrm>
            <a:off x="6621149" y="6108938"/>
            <a:ext cx="456589" cy="477676"/>
          </a:xfrm>
          <a:custGeom>
            <a:avLst/>
            <a:gdLst>
              <a:gd name="T0" fmla="*/ 66601 w 790525"/>
              <a:gd name="T1" fmla="*/ 162808 h 826770"/>
              <a:gd name="T2" fmla="*/ 78818 w 790525"/>
              <a:gd name="T3" fmla="*/ 207326 h 826770"/>
              <a:gd name="T4" fmla="*/ 31287 w 790525"/>
              <a:gd name="T5" fmla="*/ 292548 h 826770"/>
              <a:gd name="T6" fmla="*/ 426 w 790525"/>
              <a:gd name="T7" fmla="*/ 466806 h 826770"/>
              <a:gd name="T8" fmla="*/ 43649 w 790525"/>
              <a:gd name="T9" fmla="*/ 625800 h 826770"/>
              <a:gd name="T10" fmla="*/ 81030 w 790525"/>
              <a:gd name="T11" fmla="*/ 683037 h 826770"/>
              <a:gd name="T12" fmla="*/ 157264 w 790525"/>
              <a:gd name="T13" fmla="*/ 755537 h 826770"/>
              <a:gd name="T14" fmla="*/ 207251 w 790525"/>
              <a:gd name="T15" fmla="*/ 784793 h 826770"/>
              <a:gd name="T16" fmla="*/ 315829 w 790525"/>
              <a:gd name="T17" fmla="*/ 822950 h 826770"/>
              <a:gd name="T18" fmla="*/ 514399 w 790525"/>
              <a:gd name="T19" fmla="*/ 820406 h 826770"/>
              <a:gd name="T20" fmla="*/ 609484 w 790525"/>
              <a:gd name="T21" fmla="*/ 787337 h 826770"/>
              <a:gd name="T22" fmla="*/ 616428 w 790525"/>
              <a:gd name="T23" fmla="*/ 745362 h 826770"/>
              <a:gd name="T24" fmla="*/ 201678 w 790525"/>
              <a:gd name="T25" fmla="*/ 716106 h 826770"/>
              <a:gd name="T26" fmla="*/ 134187 w 790525"/>
              <a:gd name="T27" fmla="*/ 655054 h 826770"/>
              <a:gd name="T28" fmla="*/ 66507 w 790525"/>
              <a:gd name="T29" fmla="*/ 544394 h 826770"/>
              <a:gd name="T30" fmla="*/ 42329 w 790525"/>
              <a:gd name="T31" fmla="*/ 401936 h 826770"/>
              <a:gd name="T32" fmla="*/ 83765 w 790525"/>
              <a:gd name="T33" fmla="*/ 248030 h 826770"/>
              <a:gd name="T34" fmla="*/ 191944 w 790525"/>
              <a:gd name="T35" fmla="*/ 212414 h 826770"/>
              <a:gd name="T36" fmla="*/ 154523 w 790525"/>
              <a:gd name="T37" fmla="*/ 174258 h 826770"/>
              <a:gd name="T38" fmla="*/ 119452 w 790525"/>
              <a:gd name="T39" fmla="*/ 148818 h 826770"/>
              <a:gd name="T40" fmla="*/ 119288 w 790525"/>
              <a:gd name="T41" fmla="*/ 255662 h 826770"/>
              <a:gd name="T42" fmla="*/ 184014 w 790525"/>
              <a:gd name="T43" fmla="*/ 330708 h 826770"/>
              <a:gd name="T44" fmla="*/ 225246 w 790525"/>
              <a:gd name="T45" fmla="*/ 381584 h 826770"/>
              <a:gd name="T46" fmla="*/ 254375 w 790525"/>
              <a:gd name="T47" fmla="*/ 426102 h 826770"/>
              <a:gd name="T48" fmla="*/ 253878 w 790525"/>
              <a:gd name="T49" fmla="*/ 483340 h 826770"/>
              <a:gd name="T50" fmla="*/ 237200 w 790525"/>
              <a:gd name="T51" fmla="*/ 555842 h 826770"/>
              <a:gd name="T52" fmla="*/ 222850 w 790525"/>
              <a:gd name="T53" fmla="*/ 719924 h 826770"/>
              <a:gd name="T54" fmla="*/ 592803 w 790525"/>
              <a:gd name="T55" fmla="*/ 670318 h 826770"/>
              <a:gd name="T56" fmla="*/ 577688 w 790525"/>
              <a:gd name="T57" fmla="*/ 483340 h 826770"/>
              <a:gd name="T58" fmla="*/ 626540 w 790525"/>
              <a:gd name="T59" fmla="*/ 357418 h 826770"/>
              <a:gd name="T60" fmla="*/ 405916 w 790525"/>
              <a:gd name="T61" fmla="*/ 321802 h 826770"/>
              <a:gd name="T62" fmla="*/ 286633 w 790525"/>
              <a:gd name="T63" fmla="*/ 284916 h 826770"/>
              <a:gd name="T64" fmla="*/ 210579 w 790525"/>
              <a:gd name="T65" fmla="*/ 228952 h 826770"/>
              <a:gd name="T66" fmla="*/ 728729 w 790525"/>
              <a:gd name="T67" fmla="*/ 339610 h 826770"/>
              <a:gd name="T68" fmla="*/ 738887 w 790525"/>
              <a:gd name="T69" fmla="*/ 504963 h 826770"/>
              <a:gd name="T70" fmla="*/ 662252 w 790525"/>
              <a:gd name="T71" fmla="*/ 666500 h 826770"/>
              <a:gd name="T72" fmla="*/ 666443 w 790525"/>
              <a:gd name="T73" fmla="*/ 685581 h 826770"/>
              <a:gd name="T74" fmla="*/ 710503 w 790525"/>
              <a:gd name="T75" fmla="*/ 646150 h 826770"/>
              <a:gd name="T76" fmla="*/ 785928 w 790525"/>
              <a:gd name="T77" fmla="*/ 415926 h 826770"/>
              <a:gd name="T78" fmla="*/ 759425 w 790525"/>
              <a:gd name="T79" fmla="*/ 269652 h 826770"/>
              <a:gd name="T80" fmla="*/ 584089 w 790525"/>
              <a:gd name="T81" fmla="*/ 142460 h 826770"/>
              <a:gd name="T82" fmla="*/ 578400 w 790525"/>
              <a:gd name="T83" fmla="*/ 264564 h 826770"/>
              <a:gd name="T84" fmla="*/ 653240 w 790525"/>
              <a:gd name="T85" fmla="*/ 321802 h 826770"/>
              <a:gd name="T86" fmla="*/ 759425 w 790525"/>
              <a:gd name="T87" fmla="*/ 269652 h 826770"/>
              <a:gd name="T88" fmla="*/ 790185 w 790525"/>
              <a:gd name="T89" fmla="*/ 166626 h 826770"/>
              <a:gd name="T90" fmla="*/ 660945 w 790525"/>
              <a:gd name="T91" fmla="*/ 128466 h 826770"/>
              <a:gd name="T92" fmla="*/ 300718 w 790525"/>
              <a:gd name="T93" fmla="*/ 85222 h 826770"/>
              <a:gd name="T94" fmla="*/ 291988 w 790525"/>
              <a:gd name="T95" fmla="*/ 138642 h 826770"/>
              <a:gd name="T96" fmla="*/ 385277 w 790525"/>
              <a:gd name="T97" fmla="*/ 283646 h 826770"/>
              <a:gd name="T98" fmla="*/ 523363 w 790525"/>
              <a:gd name="T99" fmla="*/ 206056 h 826770"/>
              <a:gd name="T100" fmla="*/ 630222 w 790525"/>
              <a:gd name="T101" fmla="*/ 104300 h 826770"/>
              <a:gd name="T102" fmla="*/ 718389 w 790525"/>
              <a:gd name="T103" fmla="*/ 146274 h 826770"/>
              <a:gd name="T104" fmla="*/ 776563 w 790525"/>
              <a:gd name="T105" fmla="*/ 143730 h 826770"/>
              <a:gd name="T106" fmla="*/ 401575 w 790525"/>
              <a:gd name="T107" fmla="*/ 0 h 826770"/>
              <a:gd name="T108" fmla="*/ 238893 w 790525"/>
              <a:gd name="T109" fmla="*/ 73772 h 826770"/>
              <a:gd name="T110" fmla="*/ 152960 w 790525"/>
              <a:gd name="T111" fmla="*/ 129740 h 826770"/>
              <a:gd name="T112" fmla="*/ 177034 w 790525"/>
              <a:gd name="T113" fmla="*/ 142460 h 826770"/>
              <a:gd name="T114" fmla="*/ 231973 w 790525"/>
              <a:gd name="T115" fmla="*/ 109388 h 826770"/>
              <a:gd name="T116" fmla="*/ 575162 w 790525"/>
              <a:gd name="T117" fmla="*/ 72502 h 826770"/>
              <a:gd name="T118" fmla="*/ 503502 w 790525"/>
              <a:gd name="T119" fmla="*/ 47062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88" name="object 21">
            <a:extLst>
              <a:ext uri="{FF2B5EF4-FFF2-40B4-BE49-F238E27FC236}">
                <a16:creationId xmlns:a16="http://schemas.microsoft.com/office/drawing/2014/main" id="{72A41F1F-FCFD-499E-9B83-89ED2BBD34EA}"/>
              </a:ext>
            </a:extLst>
          </p:cNvPr>
          <p:cNvSpPr>
            <a:spLocks/>
          </p:cNvSpPr>
          <p:nvPr/>
        </p:nvSpPr>
        <p:spPr bwMode="auto">
          <a:xfrm>
            <a:off x="3505710" y="2394219"/>
            <a:ext cx="2128914" cy="2127997"/>
          </a:xfrm>
          <a:custGeom>
            <a:avLst/>
            <a:gdLst>
              <a:gd name="T0" fmla="*/ 1994951 w 3685743"/>
              <a:gd name="T1" fmla="*/ 3675020 h 3685743"/>
              <a:gd name="T2" fmla="*/ 2286807 w 3685743"/>
              <a:gd name="T3" fmla="*/ 3627630 h 3685743"/>
              <a:gd name="T4" fmla="*/ 2561400 w 3685743"/>
              <a:gd name="T5" fmla="*/ 3536480 h 3685743"/>
              <a:gd name="T6" fmla="*/ 2814938 w 3685743"/>
              <a:gd name="T7" fmla="*/ 3405363 h 3685743"/>
              <a:gd name="T8" fmla="*/ 3043621 w 3685743"/>
              <a:gd name="T9" fmla="*/ 3238065 h 3685743"/>
              <a:gd name="T10" fmla="*/ 3243651 w 3685743"/>
              <a:gd name="T11" fmla="*/ 3038378 h 3685743"/>
              <a:gd name="T12" fmla="*/ 3411238 w 3685743"/>
              <a:gd name="T13" fmla="*/ 2810090 h 3685743"/>
              <a:gd name="T14" fmla="*/ 3542581 w 3685743"/>
              <a:gd name="T15" fmla="*/ 2556990 h 3685743"/>
              <a:gd name="T16" fmla="*/ 3633888 w 3685743"/>
              <a:gd name="T17" fmla="*/ 2282869 h 3685743"/>
              <a:gd name="T18" fmla="*/ 3681358 w 3685743"/>
              <a:gd name="T19" fmla="*/ 1991515 h 3685743"/>
              <a:gd name="T20" fmla="*/ 3681358 w 3685743"/>
              <a:gd name="T21" fmla="*/ 1689606 h 3685743"/>
              <a:gd name="T22" fmla="*/ 3633888 w 3685743"/>
              <a:gd name="T23" fmla="*/ 1398251 h 3685743"/>
              <a:gd name="T24" fmla="*/ 3542581 w 3685743"/>
              <a:gd name="T25" fmla="*/ 1124130 h 3685743"/>
              <a:gd name="T26" fmla="*/ 3411238 w 3685743"/>
              <a:gd name="T27" fmla="*/ 871032 h 3685743"/>
              <a:gd name="T28" fmla="*/ 3243651 w 3685743"/>
              <a:gd name="T29" fmla="*/ 642742 h 3685743"/>
              <a:gd name="T30" fmla="*/ 3043621 w 3685743"/>
              <a:gd name="T31" fmla="*/ 443055 h 3685743"/>
              <a:gd name="T32" fmla="*/ 2814938 w 3685743"/>
              <a:gd name="T33" fmla="*/ 275756 h 3685743"/>
              <a:gd name="T34" fmla="*/ 2561400 w 3685743"/>
              <a:gd name="T35" fmla="*/ 144641 h 3685743"/>
              <a:gd name="T36" fmla="*/ 2286807 w 3685743"/>
              <a:gd name="T37" fmla="*/ 53490 h 3685743"/>
              <a:gd name="T38" fmla="*/ 1994951 w 3685743"/>
              <a:gd name="T39" fmla="*/ 6101 h 3685743"/>
              <a:gd name="T40" fmla="*/ 1692519 w 3685743"/>
              <a:gd name="T41" fmla="*/ 6101 h 3685743"/>
              <a:gd name="T42" fmla="*/ 1400663 w 3685743"/>
              <a:gd name="T43" fmla="*/ 53490 h 3685743"/>
              <a:gd name="T44" fmla="*/ 1126070 w 3685743"/>
              <a:gd name="T45" fmla="*/ 144641 h 3685743"/>
              <a:gd name="T46" fmla="*/ 872533 w 3685743"/>
              <a:gd name="T47" fmla="*/ 275756 h 3685743"/>
              <a:gd name="T48" fmla="*/ 643850 w 3685743"/>
              <a:gd name="T49" fmla="*/ 443055 h 3685743"/>
              <a:gd name="T50" fmla="*/ 443819 w 3685743"/>
              <a:gd name="T51" fmla="*/ 642742 h 3685743"/>
              <a:gd name="T52" fmla="*/ 276232 w 3685743"/>
              <a:gd name="T53" fmla="*/ 871032 h 3685743"/>
              <a:gd name="T54" fmla="*/ 144889 w 3685743"/>
              <a:gd name="T55" fmla="*/ 1124130 h 3685743"/>
              <a:gd name="T56" fmla="*/ 53582 w 3685743"/>
              <a:gd name="T57" fmla="*/ 1398251 h 3685743"/>
              <a:gd name="T58" fmla="*/ 6113 w 3685743"/>
              <a:gd name="T59" fmla="*/ 1689606 h 3685743"/>
              <a:gd name="T60" fmla="*/ 6113 w 3685743"/>
              <a:gd name="T61" fmla="*/ 1991515 h 3685743"/>
              <a:gd name="T62" fmla="*/ 53582 w 3685743"/>
              <a:gd name="T63" fmla="*/ 2282869 h 3685743"/>
              <a:gd name="T64" fmla="*/ 144889 w 3685743"/>
              <a:gd name="T65" fmla="*/ 2556990 h 3685743"/>
              <a:gd name="T66" fmla="*/ 276232 w 3685743"/>
              <a:gd name="T67" fmla="*/ 2810090 h 3685743"/>
              <a:gd name="T68" fmla="*/ 443819 w 3685743"/>
              <a:gd name="T69" fmla="*/ 3038378 h 3685743"/>
              <a:gd name="T70" fmla="*/ 643850 w 3685743"/>
              <a:gd name="T71" fmla="*/ 3238065 h 3685743"/>
              <a:gd name="T72" fmla="*/ 872533 w 3685743"/>
              <a:gd name="T73" fmla="*/ 3405363 h 3685743"/>
              <a:gd name="T74" fmla="*/ 1126070 w 3685743"/>
              <a:gd name="T75" fmla="*/ 3536480 h 3685743"/>
              <a:gd name="T76" fmla="*/ 1400663 w 3685743"/>
              <a:gd name="T77" fmla="*/ 3627630 h 3685743"/>
              <a:gd name="T78" fmla="*/ 1692519 w 3685743"/>
              <a:gd name="T79" fmla="*/ 3675020 h 368574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685743" h="3685743">
                <a:moveTo>
                  <a:pt x="1842871" y="3685743"/>
                </a:moveTo>
                <a:lnTo>
                  <a:pt x="1994015" y="3679634"/>
                </a:lnTo>
                <a:lnTo>
                  <a:pt x="2141795" y="3661623"/>
                </a:lnTo>
                <a:lnTo>
                  <a:pt x="2285735" y="3632184"/>
                </a:lnTo>
                <a:lnTo>
                  <a:pt x="2425361" y="3591792"/>
                </a:lnTo>
                <a:lnTo>
                  <a:pt x="2560200" y="3540921"/>
                </a:lnTo>
                <a:lnTo>
                  <a:pt x="2689777" y="3480045"/>
                </a:lnTo>
                <a:lnTo>
                  <a:pt x="2813618" y="3409638"/>
                </a:lnTo>
                <a:lnTo>
                  <a:pt x="2931247" y="3330176"/>
                </a:lnTo>
                <a:lnTo>
                  <a:pt x="3042193" y="3242131"/>
                </a:lnTo>
                <a:lnTo>
                  <a:pt x="3145978" y="3145978"/>
                </a:lnTo>
                <a:lnTo>
                  <a:pt x="3242131" y="3042193"/>
                </a:lnTo>
                <a:lnTo>
                  <a:pt x="3330176" y="2931247"/>
                </a:lnTo>
                <a:lnTo>
                  <a:pt x="3409638" y="2813618"/>
                </a:lnTo>
                <a:lnTo>
                  <a:pt x="3480045" y="2689777"/>
                </a:lnTo>
                <a:lnTo>
                  <a:pt x="3540921" y="2560200"/>
                </a:lnTo>
                <a:lnTo>
                  <a:pt x="3591792" y="2425361"/>
                </a:lnTo>
                <a:lnTo>
                  <a:pt x="3632184" y="2285735"/>
                </a:lnTo>
                <a:lnTo>
                  <a:pt x="3661623" y="2141795"/>
                </a:lnTo>
                <a:lnTo>
                  <a:pt x="3679634" y="1994015"/>
                </a:lnTo>
                <a:lnTo>
                  <a:pt x="3685743" y="1842871"/>
                </a:lnTo>
                <a:lnTo>
                  <a:pt x="3679634" y="1691727"/>
                </a:lnTo>
                <a:lnTo>
                  <a:pt x="3661623" y="1543948"/>
                </a:lnTo>
                <a:lnTo>
                  <a:pt x="3632184" y="1400007"/>
                </a:lnTo>
                <a:lnTo>
                  <a:pt x="3591792" y="1260381"/>
                </a:lnTo>
                <a:lnTo>
                  <a:pt x="3540921" y="1125542"/>
                </a:lnTo>
                <a:lnTo>
                  <a:pt x="3480045" y="995965"/>
                </a:lnTo>
                <a:lnTo>
                  <a:pt x="3409638" y="872125"/>
                </a:lnTo>
                <a:lnTo>
                  <a:pt x="3330176" y="754495"/>
                </a:lnTo>
                <a:lnTo>
                  <a:pt x="3242131" y="643550"/>
                </a:lnTo>
                <a:lnTo>
                  <a:pt x="3145978" y="539764"/>
                </a:lnTo>
                <a:lnTo>
                  <a:pt x="3042193" y="443611"/>
                </a:lnTo>
                <a:lnTo>
                  <a:pt x="2931247" y="355567"/>
                </a:lnTo>
                <a:lnTo>
                  <a:pt x="2813618" y="276104"/>
                </a:lnTo>
                <a:lnTo>
                  <a:pt x="2689777" y="205697"/>
                </a:lnTo>
                <a:lnTo>
                  <a:pt x="2560200" y="144821"/>
                </a:lnTo>
                <a:lnTo>
                  <a:pt x="2425361" y="93950"/>
                </a:lnTo>
                <a:lnTo>
                  <a:pt x="2285735" y="53558"/>
                </a:lnTo>
                <a:lnTo>
                  <a:pt x="2141795" y="24120"/>
                </a:lnTo>
                <a:lnTo>
                  <a:pt x="1994015" y="6109"/>
                </a:lnTo>
                <a:lnTo>
                  <a:pt x="1842871" y="0"/>
                </a:lnTo>
                <a:lnTo>
                  <a:pt x="1691727" y="6109"/>
                </a:lnTo>
                <a:lnTo>
                  <a:pt x="1543948" y="24120"/>
                </a:lnTo>
                <a:lnTo>
                  <a:pt x="1400007" y="53558"/>
                </a:lnTo>
                <a:lnTo>
                  <a:pt x="1260381" y="93950"/>
                </a:lnTo>
                <a:lnTo>
                  <a:pt x="1125542" y="144821"/>
                </a:lnTo>
                <a:lnTo>
                  <a:pt x="995965" y="205697"/>
                </a:lnTo>
                <a:lnTo>
                  <a:pt x="872125" y="276104"/>
                </a:lnTo>
                <a:lnTo>
                  <a:pt x="754495" y="355567"/>
                </a:lnTo>
                <a:lnTo>
                  <a:pt x="643550" y="443611"/>
                </a:lnTo>
                <a:lnTo>
                  <a:pt x="539764" y="539764"/>
                </a:lnTo>
                <a:lnTo>
                  <a:pt x="443611" y="643550"/>
                </a:lnTo>
                <a:lnTo>
                  <a:pt x="355567" y="754495"/>
                </a:lnTo>
                <a:lnTo>
                  <a:pt x="276104" y="872125"/>
                </a:lnTo>
                <a:lnTo>
                  <a:pt x="205697" y="995965"/>
                </a:lnTo>
                <a:lnTo>
                  <a:pt x="144821" y="1125542"/>
                </a:lnTo>
                <a:lnTo>
                  <a:pt x="93950" y="1260381"/>
                </a:lnTo>
                <a:lnTo>
                  <a:pt x="53558" y="1400007"/>
                </a:lnTo>
                <a:lnTo>
                  <a:pt x="24120" y="1543948"/>
                </a:lnTo>
                <a:lnTo>
                  <a:pt x="6109" y="1691727"/>
                </a:lnTo>
                <a:lnTo>
                  <a:pt x="0" y="1842871"/>
                </a:lnTo>
                <a:lnTo>
                  <a:pt x="6109" y="1994015"/>
                </a:lnTo>
                <a:lnTo>
                  <a:pt x="24120" y="2141795"/>
                </a:lnTo>
                <a:lnTo>
                  <a:pt x="53558" y="2285735"/>
                </a:lnTo>
                <a:lnTo>
                  <a:pt x="93950" y="2425361"/>
                </a:lnTo>
                <a:lnTo>
                  <a:pt x="144821" y="2560200"/>
                </a:lnTo>
                <a:lnTo>
                  <a:pt x="205697" y="2689777"/>
                </a:lnTo>
                <a:lnTo>
                  <a:pt x="276104" y="2813618"/>
                </a:lnTo>
                <a:lnTo>
                  <a:pt x="355567" y="2931247"/>
                </a:lnTo>
                <a:lnTo>
                  <a:pt x="443611" y="3042193"/>
                </a:lnTo>
                <a:lnTo>
                  <a:pt x="539764" y="3145978"/>
                </a:lnTo>
                <a:lnTo>
                  <a:pt x="643550" y="3242131"/>
                </a:lnTo>
                <a:lnTo>
                  <a:pt x="754495" y="3330176"/>
                </a:lnTo>
                <a:lnTo>
                  <a:pt x="872125" y="3409638"/>
                </a:lnTo>
                <a:lnTo>
                  <a:pt x="995965" y="3480045"/>
                </a:lnTo>
                <a:lnTo>
                  <a:pt x="1125542" y="3540921"/>
                </a:lnTo>
                <a:lnTo>
                  <a:pt x="1260381" y="3591792"/>
                </a:lnTo>
                <a:lnTo>
                  <a:pt x="1400007" y="3632184"/>
                </a:lnTo>
                <a:lnTo>
                  <a:pt x="1543948" y="3661623"/>
                </a:lnTo>
                <a:lnTo>
                  <a:pt x="1691727" y="3679634"/>
                </a:lnTo>
                <a:lnTo>
                  <a:pt x="1842871" y="3685743"/>
                </a:lnTo>
                <a:close/>
              </a:path>
            </a:pathLst>
          </a:custGeom>
          <a:noFill/>
          <a:ln w="762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040"/>
          </a:p>
        </p:txBody>
      </p:sp>
      <p:sp>
        <p:nvSpPr>
          <p:cNvPr id="7189" name="object 22">
            <a:extLst>
              <a:ext uri="{FF2B5EF4-FFF2-40B4-BE49-F238E27FC236}">
                <a16:creationId xmlns:a16="http://schemas.microsoft.com/office/drawing/2014/main" id="{9170B144-3419-45EA-8313-EBC165E1F65C}"/>
              </a:ext>
            </a:extLst>
          </p:cNvPr>
          <p:cNvSpPr>
            <a:spLocks/>
          </p:cNvSpPr>
          <p:nvPr/>
        </p:nvSpPr>
        <p:spPr bwMode="auto">
          <a:xfrm>
            <a:off x="3041786" y="1974363"/>
            <a:ext cx="3055844" cy="3055844"/>
          </a:xfrm>
          <a:custGeom>
            <a:avLst/>
            <a:gdLst>
              <a:gd name="T0" fmla="*/ 2861168 w 5291988"/>
              <a:gd name="T1" fmla="*/ 5279780 h 5292001"/>
              <a:gd name="T2" fmla="*/ 3279749 w 5291988"/>
              <a:gd name="T3" fmla="*/ 5211697 h 5292001"/>
              <a:gd name="T4" fmla="*/ 3673574 w 5291988"/>
              <a:gd name="T5" fmla="*/ 5080745 h 5292001"/>
              <a:gd name="T6" fmla="*/ 4037196 w 5291988"/>
              <a:gd name="T7" fmla="*/ 4892373 h 5292001"/>
              <a:gd name="T8" fmla="*/ 4365174 w 5291988"/>
              <a:gd name="T9" fmla="*/ 4652021 h 5292001"/>
              <a:gd name="T10" fmla="*/ 4652060 w 5291988"/>
              <a:gd name="T11" fmla="*/ 4365137 h 5292001"/>
              <a:gd name="T12" fmla="*/ 4892411 w 5291988"/>
              <a:gd name="T13" fmla="*/ 4037164 h 5292001"/>
              <a:gd name="T14" fmla="*/ 5080785 w 5291988"/>
              <a:gd name="T15" fmla="*/ 3673545 h 5292001"/>
              <a:gd name="T16" fmla="*/ 5211736 w 5291988"/>
              <a:gd name="T17" fmla="*/ 3279724 h 5292001"/>
              <a:gd name="T18" fmla="*/ 5279820 w 5291988"/>
              <a:gd name="T19" fmla="*/ 2861151 h 5292001"/>
              <a:gd name="T20" fmla="*/ 5279820 w 5291988"/>
              <a:gd name="T21" fmla="*/ 2427406 h 5292001"/>
              <a:gd name="T22" fmla="*/ 5211736 w 5291988"/>
              <a:gd name="T23" fmla="*/ 2008828 h 5292001"/>
              <a:gd name="T24" fmla="*/ 5080785 w 5291988"/>
              <a:gd name="T25" fmla="*/ 1615004 h 5292001"/>
              <a:gd name="T26" fmla="*/ 4892411 w 5291988"/>
              <a:gd name="T27" fmla="*/ 1251386 h 5292001"/>
              <a:gd name="T28" fmla="*/ 4652060 w 5291988"/>
              <a:gd name="T29" fmla="*/ 923409 h 5292001"/>
              <a:gd name="T30" fmla="*/ 4365174 w 5291988"/>
              <a:gd name="T31" fmla="*/ 636524 h 5292001"/>
              <a:gd name="T32" fmla="*/ 4037196 w 5291988"/>
              <a:gd name="T33" fmla="*/ 396172 h 5292001"/>
              <a:gd name="T34" fmla="*/ 3673574 w 5291988"/>
              <a:gd name="T35" fmla="*/ 207800 h 5292001"/>
              <a:gd name="T36" fmla="*/ 3279749 w 5291988"/>
              <a:gd name="T37" fmla="*/ 76847 h 5292001"/>
              <a:gd name="T38" fmla="*/ 2861168 w 5291988"/>
              <a:gd name="T39" fmla="*/ 8767 h 5292001"/>
              <a:gd name="T40" fmla="*/ 2427418 w 5291988"/>
              <a:gd name="T41" fmla="*/ 8767 h 5292001"/>
              <a:gd name="T42" fmla="*/ 2008836 w 5291988"/>
              <a:gd name="T43" fmla="*/ 76847 h 5292001"/>
              <a:gd name="T44" fmla="*/ 1615010 w 5291988"/>
              <a:gd name="T45" fmla="*/ 207800 h 5292001"/>
              <a:gd name="T46" fmla="*/ 1251389 w 5291988"/>
              <a:gd name="T47" fmla="*/ 396172 h 5292001"/>
              <a:gd name="T48" fmla="*/ 923409 w 5291988"/>
              <a:gd name="T49" fmla="*/ 636524 h 5292001"/>
              <a:gd name="T50" fmla="*/ 636527 w 5291988"/>
              <a:gd name="T51" fmla="*/ 923409 h 5292001"/>
              <a:gd name="T52" fmla="*/ 396172 w 5291988"/>
              <a:gd name="T53" fmla="*/ 1251386 h 5292001"/>
              <a:gd name="T54" fmla="*/ 207802 w 5291988"/>
              <a:gd name="T55" fmla="*/ 1615004 h 5292001"/>
              <a:gd name="T56" fmla="*/ 76851 w 5291988"/>
              <a:gd name="T57" fmla="*/ 2008828 h 5292001"/>
              <a:gd name="T58" fmla="*/ 8767 w 5291988"/>
              <a:gd name="T59" fmla="*/ 2427406 h 5292001"/>
              <a:gd name="T60" fmla="*/ 8767 w 5291988"/>
              <a:gd name="T61" fmla="*/ 2861151 h 5292001"/>
              <a:gd name="T62" fmla="*/ 76851 w 5291988"/>
              <a:gd name="T63" fmla="*/ 3279724 h 5292001"/>
              <a:gd name="T64" fmla="*/ 207802 w 5291988"/>
              <a:gd name="T65" fmla="*/ 3673545 h 5292001"/>
              <a:gd name="T66" fmla="*/ 396172 w 5291988"/>
              <a:gd name="T67" fmla="*/ 4037164 h 5292001"/>
              <a:gd name="T68" fmla="*/ 636527 w 5291988"/>
              <a:gd name="T69" fmla="*/ 4365137 h 5292001"/>
              <a:gd name="T70" fmla="*/ 923409 w 5291988"/>
              <a:gd name="T71" fmla="*/ 4652021 h 5292001"/>
              <a:gd name="T72" fmla="*/ 1251389 w 5291988"/>
              <a:gd name="T73" fmla="*/ 4892373 h 5292001"/>
              <a:gd name="T74" fmla="*/ 1615010 w 5291988"/>
              <a:gd name="T75" fmla="*/ 5080745 h 5292001"/>
              <a:gd name="T76" fmla="*/ 2008836 w 5291988"/>
              <a:gd name="T77" fmla="*/ 5211697 h 5292001"/>
              <a:gd name="T78" fmla="*/ 2427418 w 5291988"/>
              <a:gd name="T79" fmla="*/ 5279780 h 529200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291988" h="5292001">
                <a:moveTo>
                  <a:pt x="2645994" y="5292001"/>
                </a:moveTo>
                <a:lnTo>
                  <a:pt x="2863008" y="5283229"/>
                </a:lnTo>
                <a:lnTo>
                  <a:pt x="3075190" y="5257369"/>
                </a:lnTo>
                <a:lnTo>
                  <a:pt x="3281860" y="5215101"/>
                </a:lnTo>
                <a:lnTo>
                  <a:pt x="3482336" y="5157106"/>
                </a:lnTo>
                <a:lnTo>
                  <a:pt x="3675938" y="5084065"/>
                </a:lnTo>
                <a:lnTo>
                  <a:pt x="3861984" y="4996659"/>
                </a:lnTo>
                <a:lnTo>
                  <a:pt x="4039794" y="4895569"/>
                </a:lnTo>
                <a:lnTo>
                  <a:pt x="4208687" y="4781476"/>
                </a:lnTo>
                <a:lnTo>
                  <a:pt x="4367982" y="4655061"/>
                </a:lnTo>
                <a:lnTo>
                  <a:pt x="4516997" y="4517005"/>
                </a:lnTo>
                <a:lnTo>
                  <a:pt x="4655053" y="4367989"/>
                </a:lnTo>
                <a:lnTo>
                  <a:pt x="4781467" y="4208694"/>
                </a:lnTo>
                <a:lnTo>
                  <a:pt x="4895559" y="4039801"/>
                </a:lnTo>
                <a:lnTo>
                  <a:pt x="4996648" y="3861991"/>
                </a:lnTo>
                <a:lnTo>
                  <a:pt x="5084054" y="3675945"/>
                </a:lnTo>
                <a:lnTo>
                  <a:pt x="5157094" y="3482344"/>
                </a:lnTo>
                <a:lnTo>
                  <a:pt x="5215089" y="3281868"/>
                </a:lnTo>
                <a:lnTo>
                  <a:pt x="5257357" y="3075199"/>
                </a:lnTo>
                <a:lnTo>
                  <a:pt x="5283217" y="2863019"/>
                </a:lnTo>
                <a:lnTo>
                  <a:pt x="5291988" y="2646006"/>
                </a:lnTo>
                <a:lnTo>
                  <a:pt x="5283217" y="2428992"/>
                </a:lnTo>
                <a:lnTo>
                  <a:pt x="5257357" y="2216810"/>
                </a:lnTo>
                <a:lnTo>
                  <a:pt x="5215089" y="2010140"/>
                </a:lnTo>
                <a:lnTo>
                  <a:pt x="5157094" y="1809663"/>
                </a:lnTo>
                <a:lnTo>
                  <a:pt x="5084054" y="1616060"/>
                </a:lnTo>
                <a:lnTo>
                  <a:pt x="4996648" y="1430013"/>
                </a:lnTo>
                <a:lnTo>
                  <a:pt x="4895559" y="1252202"/>
                </a:lnTo>
                <a:lnTo>
                  <a:pt x="4781467" y="1083308"/>
                </a:lnTo>
                <a:lnTo>
                  <a:pt x="4655053" y="924013"/>
                </a:lnTo>
                <a:lnTo>
                  <a:pt x="4516997" y="774996"/>
                </a:lnTo>
                <a:lnTo>
                  <a:pt x="4367982" y="636940"/>
                </a:lnTo>
                <a:lnTo>
                  <a:pt x="4208687" y="510525"/>
                </a:lnTo>
                <a:lnTo>
                  <a:pt x="4039794" y="396432"/>
                </a:lnTo>
                <a:lnTo>
                  <a:pt x="3861984" y="295342"/>
                </a:lnTo>
                <a:lnTo>
                  <a:pt x="3675938" y="207936"/>
                </a:lnTo>
                <a:lnTo>
                  <a:pt x="3482336" y="134895"/>
                </a:lnTo>
                <a:lnTo>
                  <a:pt x="3281860" y="76899"/>
                </a:lnTo>
                <a:lnTo>
                  <a:pt x="3075190" y="34631"/>
                </a:lnTo>
                <a:lnTo>
                  <a:pt x="2863008" y="8771"/>
                </a:lnTo>
                <a:lnTo>
                  <a:pt x="2645994" y="0"/>
                </a:lnTo>
                <a:lnTo>
                  <a:pt x="2428980" y="8771"/>
                </a:lnTo>
                <a:lnTo>
                  <a:pt x="2216798" y="34631"/>
                </a:lnTo>
                <a:lnTo>
                  <a:pt x="2010128" y="76899"/>
                </a:lnTo>
                <a:lnTo>
                  <a:pt x="1809652" y="134895"/>
                </a:lnTo>
                <a:lnTo>
                  <a:pt x="1616050" y="207936"/>
                </a:lnTo>
                <a:lnTo>
                  <a:pt x="1430003" y="295342"/>
                </a:lnTo>
                <a:lnTo>
                  <a:pt x="1252193" y="396432"/>
                </a:lnTo>
                <a:lnTo>
                  <a:pt x="1083300" y="510525"/>
                </a:lnTo>
                <a:lnTo>
                  <a:pt x="924005" y="636940"/>
                </a:lnTo>
                <a:lnTo>
                  <a:pt x="774990" y="774996"/>
                </a:lnTo>
                <a:lnTo>
                  <a:pt x="636935" y="924013"/>
                </a:lnTo>
                <a:lnTo>
                  <a:pt x="510520" y="1083308"/>
                </a:lnTo>
                <a:lnTo>
                  <a:pt x="396428" y="1252202"/>
                </a:lnTo>
                <a:lnTo>
                  <a:pt x="295339" y="1430013"/>
                </a:lnTo>
                <a:lnTo>
                  <a:pt x="207934" y="1616060"/>
                </a:lnTo>
                <a:lnTo>
                  <a:pt x="134893" y="1809663"/>
                </a:lnTo>
                <a:lnTo>
                  <a:pt x="76899" y="2010140"/>
                </a:lnTo>
                <a:lnTo>
                  <a:pt x="34631" y="2216810"/>
                </a:lnTo>
                <a:lnTo>
                  <a:pt x="8771" y="2428992"/>
                </a:lnTo>
                <a:lnTo>
                  <a:pt x="0" y="2646006"/>
                </a:lnTo>
                <a:lnTo>
                  <a:pt x="8771" y="2863019"/>
                </a:lnTo>
                <a:lnTo>
                  <a:pt x="34631" y="3075199"/>
                </a:lnTo>
                <a:lnTo>
                  <a:pt x="76899" y="3281868"/>
                </a:lnTo>
                <a:lnTo>
                  <a:pt x="134893" y="3482344"/>
                </a:lnTo>
                <a:lnTo>
                  <a:pt x="207934" y="3675945"/>
                </a:lnTo>
                <a:lnTo>
                  <a:pt x="295339" y="3861991"/>
                </a:lnTo>
                <a:lnTo>
                  <a:pt x="396428" y="4039801"/>
                </a:lnTo>
                <a:lnTo>
                  <a:pt x="510520" y="4208694"/>
                </a:lnTo>
                <a:lnTo>
                  <a:pt x="636935" y="4367989"/>
                </a:lnTo>
                <a:lnTo>
                  <a:pt x="774990" y="4517005"/>
                </a:lnTo>
                <a:lnTo>
                  <a:pt x="924005" y="4655061"/>
                </a:lnTo>
                <a:lnTo>
                  <a:pt x="1083300" y="4781476"/>
                </a:lnTo>
                <a:lnTo>
                  <a:pt x="1252193" y="4895569"/>
                </a:lnTo>
                <a:lnTo>
                  <a:pt x="1430003" y="4996659"/>
                </a:lnTo>
                <a:lnTo>
                  <a:pt x="1616050" y="5084065"/>
                </a:lnTo>
                <a:lnTo>
                  <a:pt x="1809652" y="5157106"/>
                </a:lnTo>
                <a:lnTo>
                  <a:pt x="2010128" y="5215101"/>
                </a:lnTo>
                <a:lnTo>
                  <a:pt x="2216798" y="5257369"/>
                </a:lnTo>
                <a:lnTo>
                  <a:pt x="2428980" y="5283229"/>
                </a:lnTo>
                <a:lnTo>
                  <a:pt x="2645994" y="5292001"/>
                </a:lnTo>
                <a:close/>
              </a:path>
            </a:pathLst>
          </a:custGeom>
          <a:noFill/>
          <a:ln w="762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040"/>
          </a:p>
        </p:txBody>
      </p:sp>
      <p:sp>
        <p:nvSpPr>
          <p:cNvPr id="7190" name="object 23">
            <a:extLst>
              <a:ext uri="{FF2B5EF4-FFF2-40B4-BE49-F238E27FC236}">
                <a16:creationId xmlns:a16="http://schemas.microsoft.com/office/drawing/2014/main" id="{0F808365-4C14-4DA2-A969-633DB6A2729A}"/>
              </a:ext>
            </a:extLst>
          </p:cNvPr>
          <p:cNvSpPr txBox="1">
            <a:spLocks noChangeArrowheads="1"/>
          </p:cNvSpPr>
          <p:nvPr/>
        </p:nvSpPr>
        <p:spPr bwMode="auto">
          <a:xfrm>
            <a:off x="177165" y="374871"/>
            <a:ext cx="8664549" cy="1068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dirty="0" err="1">
                <a:solidFill>
                  <a:srgbClr val="ED1C24"/>
                </a:solidFill>
                <a:latin typeface="Gill Sans Light"/>
              </a:rPr>
              <a:t>စိတ်ဖိစီးမှုက</a:t>
            </a:r>
            <a:r>
              <a:rPr lang="en-US" altLang="en-US" dirty="0">
                <a:solidFill>
                  <a:srgbClr val="ED1C24"/>
                </a:solidFill>
                <a:latin typeface="Gill Sans Light"/>
              </a:rPr>
              <a:t> </a:t>
            </a:r>
            <a:r>
              <a:rPr lang="en-US" altLang="en-US" dirty="0" err="1">
                <a:solidFill>
                  <a:srgbClr val="ED1C24"/>
                </a:solidFill>
                <a:latin typeface="Gill Sans Light"/>
              </a:rPr>
              <a:t>ကိုယ</a:t>
            </a:r>
            <a:r>
              <a:rPr lang="en-US" altLang="en-US" dirty="0">
                <a:solidFill>
                  <a:srgbClr val="ED1C24"/>
                </a:solidFill>
                <a:latin typeface="Gill Sans Light"/>
              </a:rPr>
              <a:t>့်</a:t>
            </a:r>
            <a:r>
              <a:rPr lang="en-US" altLang="en-US" dirty="0" err="1">
                <a:solidFill>
                  <a:srgbClr val="ED1C24"/>
                </a:solidFill>
                <a:latin typeface="Gill Sans Light"/>
              </a:rPr>
              <a:t>အပေ</a:t>
            </a:r>
            <a:r>
              <a:rPr lang="en-US" altLang="en-US" dirty="0">
                <a:solidFill>
                  <a:srgbClr val="ED1C24"/>
                </a:solidFill>
                <a:latin typeface="Gill Sans Light"/>
              </a:rPr>
              <a:t>ါ်</a:t>
            </a:r>
            <a:r>
              <a:rPr lang="en-US" altLang="en-US" dirty="0" err="1">
                <a:solidFill>
                  <a:srgbClr val="ED1C24"/>
                </a:solidFill>
                <a:latin typeface="Gill Sans Light"/>
              </a:rPr>
              <a:t>ဘယ်လို</a:t>
            </a:r>
            <a:r>
              <a:rPr lang="en-US" altLang="en-US" dirty="0">
                <a:solidFill>
                  <a:srgbClr val="ED1C24"/>
                </a:solidFill>
                <a:latin typeface="Gill Sans Light"/>
              </a:rPr>
              <a:t> </a:t>
            </a:r>
            <a:r>
              <a:rPr lang="en-US" altLang="en-US" dirty="0" err="1">
                <a:solidFill>
                  <a:srgbClr val="ED1C24"/>
                </a:solidFill>
                <a:latin typeface="Gill Sans Light"/>
              </a:rPr>
              <a:t>သက်ရောက်လဲ</a:t>
            </a:r>
            <a:endParaRPr lang="en-US" altLang="en-US" sz="2000" dirty="0"/>
          </a:p>
        </p:txBody>
      </p:sp>
      <p:sp>
        <p:nvSpPr>
          <p:cNvPr id="7191" name="object 24">
            <a:extLst>
              <a:ext uri="{FF2B5EF4-FFF2-40B4-BE49-F238E27FC236}">
                <a16:creationId xmlns:a16="http://schemas.microsoft.com/office/drawing/2014/main" id="{34EEEB96-21D4-4004-9BF0-0C3B02DEC63A}"/>
              </a:ext>
            </a:extLst>
          </p:cNvPr>
          <p:cNvSpPr>
            <a:spLocks/>
          </p:cNvSpPr>
          <p:nvPr/>
        </p:nvSpPr>
        <p:spPr bwMode="auto">
          <a:xfrm>
            <a:off x="3809185" y="1404943"/>
            <a:ext cx="1521963" cy="1521963"/>
          </a:xfrm>
          <a:custGeom>
            <a:avLst/>
            <a:gdLst>
              <a:gd name="T0" fmla="*/ 1209628 w 2635199"/>
              <a:gd name="T1" fmla="*/ 4367 h 2635072"/>
              <a:gd name="T2" fmla="*/ 1001042 w 2635199"/>
              <a:gd name="T3" fmla="*/ 38302 h 2635072"/>
              <a:gd name="T4" fmla="*/ 804796 w 2635199"/>
              <a:gd name="T5" fmla="*/ 103565 h 2635072"/>
              <a:gd name="T6" fmla="*/ 623594 w 2635199"/>
              <a:gd name="T7" fmla="*/ 197448 h 2635072"/>
              <a:gd name="T8" fmla="*/ 460158 w 2635199"/>
              <a:gd name="T9" fmla="*/ 317237 h 2635072"/>
              <a:gd name="T10" fmla="*/ 317195 w 2635199"/>
              <a:gd name="T11" fmla="*/ 460220 h 2635072"/>
              <a:gd name="T12" fmla="*/ 197424 w 2635199"/>
              <a:gd name="T13" fmla="*/ 623680 h 2635072"/>
              <a:gd name="T14" fmla="*/ 103552 w 2635199"/>
              <a:gd name="T15" fmla="*/ 804905 h 2635072"/>
              <a:gd name="T16" fmla="*/ 38297 w 2635199"/>
              <a:gd name="T17" fmla="*/ 1001187 h 2635072"/>
              <a:gd name="T18" fmla="*/ 4367 w 2635199"/>
              <a:gd name="T19" fmla="*/ 1209805 h 2635072"/>
              <a:gd name="T20" fmla="*/ 4367 w 2635199"/>
              <a:gd name="T21" fmla="*/ 1425979 h 2635072"/>
              <a:gd name="T22" fmla="*/ 38297 w 2635199"/>
              <a:gd name="T23" fmla="*/ 1634596 h 2635072"/>
              <a:gd name="T24" fmla="*/ 103552 w 2635199"/>
              <a:gd name="T25" fmla="*/ 1830878 h 2635072"/>
              <a:gd name="T26" fmla="*/ 197424 w 2635199"/>
              <a:gd name="T27" fmla="*/ 2012103 h 2635072"/>
              <a:gd name="T28" fmla="*/ 317195 w 2635199"/>
              <a:gd name="T29" fmla="*/ 2175564 h 2635072"/>
              <a:gd name="T30" fmla="*/ 460158 w 2635199"/>
              <a:gd name="T31" fmla="*/ 2318547 h 2635072"/>
              <a:gd name="T32" fmla="*/ 623594 w 2635199"/>
              <a:gd name="T33" fmla="*/ 2438335 h 2635072"/>
              <a:gd name="T34" fmla="*/ 804796 w 2635199"/>
              <a:gd name="T35" fmla="*/ 2532218 h 2635072"/>
              <a:gd name="T36" fmla="*/ 1001042 w 2635199"/>
              <a:gd name="T37" fmla="*/ 2597481 h 2635072"/>
              <a:gd name="T38" fmla="*/ 1209628 w 2635199"/>
              <a:gd name="T39" fmla="*/ 2631416 h 2635072"/>
              <a:gd name="T40" fmla="*/ 1425774 w 2635199"/>
              <a:gd name="T41" fmla="*/ 2631416 h 2635072"/>
              <a:gd name="T42" fmla="*/ 1634360 w 2635199"/>
              <a:gd name="T43" fmla="*/ 2597481 h 2635072"/>
              <a:gd name="T44" fmla="*/ 1830606 w 2635199"/>
              <a:gd name="T45" fmla="*/ 2532218 h 2635072"/>
              <a:gd name="T46" fmla="*/ 2011808 w 2635199"/>
              <a:gd name="T47" fmla="*/ 2438335 h 2635072"/>
              <a:gd name="T48" fmla="*/ 2175245 w 2635199"/>
              <a:gd name="T49" fmla="*/ 2318547 h 2635072"/>
              <a:gd name="T50" fmla="*/ 2318207 w 2635199"/>
              <a:gd name="T51" fmla="*/ 2175564 h 2635072"/>
              <a:gd name="T52" fmla="*/ 2437979 w 2635199"/>
              <a:gd name="T53" fmla="*/ 2012103 h 2635072"/>
              <a:gd name="T54" fmla="*/ 2531850 w 2635199"/>
              <a:gd name="T55" fmla="*/ 1830878 h 2635072"/>
              <a:gd name="T56" fmla="*/ 2597105 w 2635199"/>
              <a:gd name="T57" fmla="*/ 1634596 h 2635072"/>
              <a:gd name="T58" fmla="*/ 2631035 w 2635199"/>
              <a:gd name="T59" fmla="*/ 1425979 h 2635072"/>
              <a:gd name="T60" fmla="*/ 2631035 w 2635199"/>
              <a:gd name="T61" fmla="*/ 1209805 h 2635072"/>
              <a:gd name="T62" fmla="*/ 2597105 w 2635199"/>
              <a:gd name="T63" fmla="*/ 1001187 h 2635072"/>
              <a:gd name="T64" fmla="*/ 2531850 w 2635199"/>
              <a:gd name="T65" fmla="*/ 804905 h 2635072"/>
              <a:gd name="T66" fmla="*/ 2437979 w 2635199"/>
              <a:gd name="T67" fmla="*/ 623680 h 2635072"/>
              <a:gd name="T68" fmla="*/ 2318207 w 2635199"/>
              <a:gd name="T69" fmla="*/ 460220 h 2635072"/>
              <a:gd name="T70" fmla="*/ 2175245 w 2635199"/>
              <a:gd name="T71" fmla="*/ 317237 h 2635072"/>
              <a:gd name="T72" fmla="*/ 2011808 w 2635199"/>
              <a:gd name="T73" fmla="*/ 197448 h 2635072"/>
              <a:gd name="T74" fmla="*/ 1830606 w 2635199"/>
              <a:gd name="T75" fmla="*/ 103565 h 2635072"/>
              <a:gd name="T76" fmla="*/ 1634360 w 2635199"/>
              <a:gd name="T77" fmla="*/ 38302 h 2635072"/>
              <a:gd name="T78" fmla="*/ 1425774 w 2635199"/>
              <a:gd name="T79" fmla="*/ 4367 h 26350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35199" h="2635072">
                <a:moveTo>
                  <a:pt x="1317599" y="0"/>
                </a:moveTo>
                <a:lnTo>
                  <a:pt x="1209536" y="4367"/>
                </a:lnTo>
                <a:lnTo>
                  <a:pt x="1103879" y="17244"/>
                </a:lnTo>
                <a:lnTo>
                  <a:pt x="1000966" y="38290"/>
                </a:lnTo>
                <a:lnTo>
                  <a:pt x="901138" y="67168"/>
                </a:lnTo>
                <a:lnTo>
                  <a:pt x="804732" y="103537"/>
                </a:lnTo>
                <a:lnTo>
                  <a:pt x="712089" y="147060"/>
                </a:lnTo>
                <a:lnTo>
                  <a:pt x="623546" y="197396"/>
                </a:lnTo>
                <a:lnTo>
                  <a:pt x="539444" y="254206"/>
                </a:lnTo>
                <a:lnTo>
                  <a:pt x="460122" y="317153"/>
                </a:lnTo>
                <a:lnTo>
                  <a:pt x="385918" y="385895"/>
                </a:lnTo>
                <a:lnTo>
                  <a:pt x="317171" y="460096"/>
                </a:lnTo>
                <a:lnTo>
                  <a:pt x="254221" y="539414"/>
                </a:lnTo>
                <a:lnTo>
                  <a:pt x="197408" y="623512"/>
                </a:lnTo>
                <a:lnTo>
                  <a:pt x="147069" y="712050"/>
                </a:lnTo>
                <a:lnTo>
                  <a:pt x="103544" y="804689"/>
                </a:lnTo>
                <a:lnTo>
                  <a:pt x="67172" y="901091"/>
                </a:lnTo>
                <a:lnTo>
                  <a:pt x="38293" y="1000915"/>
                </a:lnTo>
                <a:lnTo>
                  <a:pt x="17245" y="1103823"/>
                </a:lnTo>
                <a:lnTo>
                  <a:pt x="4367" y="1209477"/>
                </a:lnTo>
                <a:lnTo>
                  <a:pt x="0" y="1317536"/>
                </a:lnTo>
                <a:lnTo>
                  <a:pt x="4367" y="1425595"/>
                </a:lnTo>
                <a:lnTo>
                  <a:pt x="17245" y="1531248"/>
                </a:lnTo>
                <a:lnTo>
                  <a:pt x="38293" y="1634156"/>
                </a:lnTo>
                <a:lnTo>
                  <a:pt x="67172" y="1733980"/>
                </a:lnTo>
                <a:lnTo>
                  <a:pt x="103544" y="1830382"/>
                </a:lnTo>
                <a:lnTo>
                  <a:pt x="147069" y="1923021"/>
                </a:lnTo>
                <a:lnTo>
                  <a:pt x="197408" y="2011559"/>
                </a:lnTo>
                <a:lnTo>
                  <a:pt x="254221" y="2095657"/>
                </a:lnTo>
                <a:lnTo>
                  <a:pt x="317171" y="2174976"/>
                </a:lnTo>
                <a:lnTo>
                  <a:pt x="385918" y="2249176"/>
                </a:lnTo>
                <a:lnTo>
                  <a:pt x="460122" y="2317919"/>
                </a:lnTo>
                <a:lnTo>
                  <a:pt x="539444" y="2380865"/>
                </a:lnTo>
                <a:lnTo>
                  <a:pt x="623546" y="2437675"/>
                </a:lnTo>
                <a:lnTo>
                  <a:pt x="712089" y="2488011"/>
                </a:lnTo>
                <a:lnTo>
                  <a:pt x="804732" y="2531534"/>
                </a:lnTo>
                <a:lnTo>
                  <a:pt x="901138" y="2567903"/>
                </a:lnTo>
                <a:lnTo>
                  <a:pt x="1000966" y="2596781"/>
                </a:lnTo>
                <a:lnTo>
                  <a:pt x="1103879" y="2617827"/>
                </a:lnTo>
                <a:lnTo>
                  <a:pt x="1209536" y="2630704"/>
                </a:lnTo>
                <a:lnTo>
                  <a:pt x="1317599" y="2635072"/>
                </a:lnTo>
                <a:lnTo>
                  <a:pt x="1425662" y="2630704"/>
                </a:lnTo>
                <a:lnTo>
                  <a:pt x="1531319" y="2617827"/>
                </a:lnTo>
                <a:lnTo>
                  <a:pt x="1634232" y="2596781"/>
                </a:lnTo>
                <a:lnTo>
                  <a:pt x="1734060" y="2567903"/>
                </a:lnTo>
                <a:lnTo>
                  <a:pt x="1830466" y="2531534"/>
                </a:lnTo>
                <a:lnTo>
                  <a:pt x="1923110" y="2488011"/>
                </a:lnTo>
                <a:lnTo>
                  <a:pt x="2011652" y="2437675"/>
                </a:lnTo>
                <a:lnTo>
                  <a:pt x="2095754" y="2380865"/>
                </a:lnTo>
                <a:lnTo>
                  <a:pt x="2175077" y="2317919"/>
                </a:lnTo>
                <a:lnTo>
                  <a:pt x="2249281" y="2249176"/>
                </a:lnTo>
                <a:lnTo>
                  <a:pt x="2318027" y="2174976"/>
                </a:lnTo>
                <a:lnTo>
                  <a:pt x="2380977" y="2095657"/>
                </a:lnTo>
                <a:lnTo>
                  <a:pt x="2437791" y="2011559"/>
                </a:lnTo>
                <a:lnTo>
                  <a:pt x="2488130" y="1923021"/>
                </a:lnTo>
                <a:lnTo>
                  <a:pt x="2531654" y="1830382"/>
                </a:lnTo>
                <a:lnTo>
                  <a:pt x="2568026" y="1733980"/>
                </a:lnTo>
                <a:lnTo>
                  <a:pt x="2596905" y="1634156"/>
                </a:lnTo>
                <a:lnTo>
                  <a:pt x="2617953" y="1531248"/>
                </a:lnTo>
                <a:lnTo>
                  <a:pt x="2630831" y="1425595"/>
                </a:lnTo>
                <a:lnTo>
                  <a:pt x="2635199" y="1317536"/>
                </a:lnTo>
                <a:lnTo>
                  <a:pt x="2630831" y="1209477"/>
                </a:lnTo>
                <a:lnTo>
                  <a:pt x="2617953" y="1103823"/>
                </a:lnTo>
                <a:lnTo>
                  <a:pt x="2596905" y="1000915"/>
                </a:lnTo>
                <a:lnTo>
                  <a:pt x="2568026" y="901091"/>
                </a:lnTo>
                <a:lnTo>
                  <a:pt x="2531654" y="804689"/>
                </a:lnTo>
                <a:lnTo>
                  <a:pt x="2488130" y="712050"/>
                </a:lnTo>
                <a:lnTo>
                  <a:pt x="2437791" y="623512"/>
                </a:lnTo>
                <a:lnTo>
                  <a:pt x="2380977" y="539414"/>
                </a:lnTo>
                <a:lnTo>
                  <a:pt x="2318027" y="460096"/>
                </a:lnTo>
                <a:lnTo>
                  <a:pt x="2249281" y="385895"/>
                </a:lnTo>
                <a:lnTo>
                  <a:pt x="2175077" y="317153"/>
                </a:lnTo>
                <a:lnTo>
                  <a:pt x="2095754" y="254206"/>
                </a:lnTo>
                <a:lnTo>
                  <a:pt x="2011652" y="197396"/>
                </a:lnTo>
                <a:lnTo>
                  <a:pt x="1923110" y="147060"/>
                </a:lnTo>
                <a:lnTo>
                  <a:pt x="1830466" y="103537"/>
                </a:lnTo>
                <a:lnTo>
                  <a:pt x="1734060" y="67168"/>
                </a:lnTo>
                <a:lnTo>
                  <a:pt x="1634232" y="38290"/>
                </a:lnTo>
                <a:lnTo>
                  <a:pt x="1531319" y="17244"/>
                </a:lnTo>
                <a:lnTo>
                  <a:pt x="1425662" y="4367"/>
                </a:lnTo>
                <a:lnTo>
                  <a:pt x="13175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92" name="object 25">
            <a:extLst>
              <a:ext uri="{FF2B5EF4-FFF2-40B4-BE49-F238E27FC236}">
                <a16:creationId xmlns:a16="http://schemas.microsoft.com/office/drawing/2014/main" id="{D9E3E077-33D5-475E-9292-C69110BF193F}"/>
              </a:ext>
            </a:extLst>
          </p:cNvPr>
          <p:cNvSpPr>
            <a:spLocks/>
          </p:cNvSpPr>
          <p:nvPr/>
        </p:nvSpPr>
        <p:spPr bwMode="auto">
          <a:xfrm>
            <a:off x="2466102" y="2865883"/>
            <a:ext cx="1521045" cy="1521963"/>
          </a:xfrm>
          <a:custGeom>
            <a:avLst/>
            <a:gdLst>
              <a:gd name="T0" fmla="*/ 1206717 w 2635199"/>
              <a:gd name="T1" fmla="*/ 4367 h 2635072"/>
              <a:gd name="T2" fmla="*/ 998633 w 2635199"/>
              <a:gd name="T3" fmla="*/ 38302 h 2635072"/>
              <a:gd name="T4" fmla="*/ 802856 w 2635199"/>
              <a:gd name="T5" fmla="*/ 103565 h 2635072"/>
              <a:gd name="T6" fmla="*/ 622093 w 2635199"/>
              <a:gd name="T7" fmla="*/ 197448 h 2635072"/>
              <a:gd name="T8" fmla="*/ 459050 w 2635199"/>
              <a:gd name="T9" fmla="*/ 317237 h 2635072"/>
              <a:gd name="T10" fmla="*/ 316431 w 2635199"/>
              <a:gd name="T11" fmla="*/ 460220 h 2635072"/>
              <a:gd name="T12" fmla="*/ 196948 w 2635199"/>
              <a:gd name="T13" fmla="*/ 623680 h 2635072"/>
              <a:gd name="T14" fmla="*/ 103304 w 2635199"/>
              <a:gd name="T15" fmla="*/ 804905 h 2635072"/>
              <a:gd name="T16" fmla="*/ 38205 w 2635199"/>
              <a:gd name="T17" fmla="*/ 1001187 h 2635072"/>
              <a:gd name="T18" fmla="*/ 4355 w 2635199"/>
              <a:gd name="T19" fmla="*/ 1209805 h 2635072"/>
              <a:gd name="T20" fmla="*/ 4355 w 2635199"/>
              <a:gd name="T21" fmla="*/ 1425979 h 2635072"/>
              <a:gd name="T22" fmla="*/ 38205 w 2635199"/>
              <a:gd name="T23" fmla="*/ 1634596 h 2635072"/>
              <a:gd name="T24" fmla="*/ 103304 w 2635199"/>
              <a:gd name="T25" fmla="*/ 1830878 h 2635072"/>
              <a:gd name="T26" fmla="*/ 196948 w 2635199"/>
              <a:gd name="T27" fmla="*/ 2012103 h 2635072"/>
              <a:gd name="T28" fmla="*/ 316431 w 2635199"/>
              <a:gd name="T29" fmla="*/ 2175564 h 2635072"/>
              <a:gd name="T30" fmla="*/ 459050 w 2635199"/>
              <a:gd name="T31" fmla="*/ 2318547 h 2635072"/>
              <a:gd name="T32" fmla="*/ 622093 w 2635199"/>
              <a:gd name="T33" fmla="*/ 2438335 h 2635072"/>
              <a:gd name="T34" fmla="*/ 802856 w 2635199"/>
              <a:gd name="T35" fmla="*/ 2532218 h 2635072"/>
              <a:gd name="T36" fmla="*/ 998633 w 2635199"/>
              <a:gd name="T37" fmla="*/ 2597481 h 2635072"/>
              <a:gd name="T38" fmla="*/ 1206717 w 2635199"/>
              <a:gd name="T39" fmla="*/ 2631416 h 2635072"/>
              <a:gd name="T40" fmla="*/ 1422338 w 2635199"/>
              <a:gd name="T41" fmla="*/ 2631416 h 2635072"/>
              <a:gd name="T42" fmla="*/ 1630422 w 2635199"/>
              <a:gd name="T43" fmla="*/ 2597481 h 2635072"/>
              <a:gd name="T44" fmla="*/ 1826199 w 2635199"/>
              <a:gd name="T45" fmla="*/ 2532218 h 2635072"/>
              <a:gd name="T46" fmla="*/ 2006963 w 2635199"/>
              <a:gd name="T47" fmla="*/ 2438335 h 2635072"/>
              <a:gd name="T48" fmla="*/ 2170007 w 2635199"/>
              <a:gd name="T49" fmla="*/ 2318547 h 2635072"/>
              <a:gd name="T50" fmla="*/ 2312624 w 2635199"/>
              <a:gd name="T51" fmla="*/ 2175564 h 2635072"/>
              <a:gd name="T52" fmla="*/ 2432109 w 2635199"/>
              <a:gd name="T53" fmla="*/ 2012103 h 2635072"/>
              <a:gd name="T54" fmla="*/ 2525752 w 2635199"/>
              <a:gd name="T55" fmla="*/ 1830878 h 2635072"/>
              <a:gd name="T56" fmla="*/ 2590851 w 2635199"/>
              <a:gd name="T57" fmla="*/ 1634596 h 2635072"/>
              <a:gd name="T58" fmla="*/ 2624698 w 2635199"/>
              <a:gd name="T59" fmla="*/ 1425979 h 2635072"/>
              <a:gd name="T60" fmla="*/ 2624698 w 2635199"/>
              <a:gd name="T61" fmla="*/ 1209805 h 2635072"/>
              <a:gd name="T62" fmla="*/ 2590851 w 2635199"/>
              <a:gd name="T63" fmla="*/ 1001187 h 2635072"/>
              <a:gd name="T64" fmla="*/ 2525752 w 2635199"/>
              <a:gd name="T65" fmla="*/ 804905 h 2635072"/>
              <a:gd name="T66" fmla="*/ 2432109 w 2635199"/>
              <a:gd name="T67" fmla="*/ 623680 h 2635072"/>
              <a:gd name="T68" fmla="*/ 2312624 w 2635199"/>
              <a:gd name="T69" fmla="*/ 460220 h 2635072"/>
              <a:gd name="T70" fmla="*/ 2170007 w 2635199"/>
              <a:gd name="T71" fmla="*/ 317237 h 2635072"/>
              <a:gd name="T72" fmla="*/ 2006963 w 2635199"/>
              <a:gd name="T73" fmla="*/ 197448 h 2635072"/>
              <a:gd name="T74" fmla="*/ 1826199 w 2635199"/>
              <a:gd name="T75" fmla="*/ 103565 h 2635072"/>
              <a:gd name="T76" fmla="*/ 1630422 w 2635199"/>
              <a:gd name="T77" fmla="*/ 38302 h 2635072"/>
              <a:gd name="T78" fmla="*/ 1422338 w 2635199"/>
              <a:gd name="T79" fmla="*/ 4367 h 26350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35199" h="2635072">
                <a:moveTo>
                  <a:pt x="1317599" y="0"/>
                </a:moveTo>
                <a:lnTo>
                  <a:pt x="1209536" y="4367"/>
                </a:lnTo>
                <a:lnTo>
                  <a:pt x="1103879" y="17244"/>
                </a:lnTo>
                <a:lnTo>
                  <a:pt x="1000966" y="38290"/>
                </a:lnTo>
                <a:lnTo>
                  <a:pt x="901138" y="67168"/>
                </a:lnTo>
                <a:lnTo>
                  <a:pt x="804732" y="103537"/>
                </a:lnTo>
                <a:lnTo>
                  <a:pt x="712089" y="147060"/>
                </a:lnTo>
                <a:lnTo>
                  <a:pt x="623546" y="197396"/>
                </a:lnTo>
                <a:lnTo>
                  <a:pt x="539444" y="254206"/>
                </a:lnTo>
                <a:lnTo>
                  <a:pt x="460122" y="317153"/>
                </a:lnTo>
                <a:lnTo>
                  <a:pt x="385918" y="385895"/>
                </a:lnTo>
                <a:lnTo>
                  <a:pt x="317171" y="460096"/>
                </a:lnTo>
                <a:lnTo>
                  <a:pt x="254221" y="539414"/>
                </a:lnTo>
                <a:lnTo>
                  <a:pt x="197408" y="623512"/>
                </a:lnTo>
                <a:lnTo>
                  <a:pt x="147069" y="712050"/>
                </a:lnTo>
                <a:lnTo>
                  <a:pt x="103544" y="804689"/>
                </a:lnTo>
                <a:lnTo>
                  <a:pt x="67172" y="901091"/>
                </a:lnTo>
                <a:lnTo>
                  <a:pt x="38293" y="1000915"/>
                </a:lnTo>
                <a:lnTo>
                  <a:pt x="17245" y="1103823"/>
                </a:lnTo>
                <a:lnTo>
                  <a:pt x="4367" y="1209477"/>
                </a:lnTo>
                <a:lnTo>
                  <a:pt x="0" y="1317536"/>
                </a:lnTo>
                <a:lnTo>
                  <a:pt x="4367" y="1425595"/>
                </a:lnTo>
                <a:lnTo>
                  <a:pt x="17245" y="1531248"/>
                </a:lnTo>
                <a:lnTo>
                  <a:pt x="38293" y="1634156"/>
                </a:lnTo>
                <a:lnTo>
                  <a:pt x="67172" y="1733980"/>
                </a:lnTo>
                <a:lnTo>
                  <a:pt x="103544" y="1830382"/>
                </a:lnTo>
                <a:lnTo>
                  <a:pt x="147069" y="1923021"/>
                </a:lnTo>
                <a:lnTo>
                  <a:pt x="197408" y="2011559"/>
                </a:lnTo>
                <a:lnTo>
                  <a:pt x="254221" y="2095657"/>
                </a:lnTo>
                <a:lnTo>
                  <a:pt x="317171" y="2174976"/>
                </a:lnTo>
                <a:lnTo>
                  <a:pt x="385918" y="2249176"/>
                </a:lnTo>
                <a:lnTo>
                  <a:pt x="460122" y="2317919"/>
                </a:lnTo>
                <a:lnTo>
                  <a:pt x="539444" y="2380865"/>
                </a:lnTo>
                <a:lnTo>
                  <a:pt x="623546" y="2437675"/>
                </a:lnTo>
                <a:lnTo>
                  <a:pt x="712089" y="2488011"/>
                </a:lnTo>
                <a:lnTo>
                  <a:pt x="804732" y="2531534"/>
                </a:lnTo>
                <a:lnTo>
                  <a:pt x="901138" y="2567903"/>
                </a:lnTo>
                <a:lnTo>
                  <a:pt x="1000966" y="2596781"/>
                </a:lnTo>
                <a:lnTo>
                  <a:pt x="1103879" y="2617827"/>
                </a:lnTo>
                <a:lnTo>
                  <a:pt x="1209536" y="2630704"/>
                </a:lnTo>
                <a:lnTo>
                  <a:pt x="1317599" y="2635072"/>
                </a:lnTo>
                <a:lnTo>
                  <a:pt x="1425662" y="2630704"/>
                </a:lnTo>
                <a:lnTo>
                  <a:pt x="1531319" y="2617827"/>
                </a:lnTo>
                <a:lnTo>
                  <a:pt x="1634232" y="2596781"/>
                </a:lnTo>
                <a:lnTo>
                  <a:pt x="1734060" y="2567903"/>
                </a:lnTo>
                <a:lnTo>
                  <a:pt x="1830466" y="2531534"/>
                </a:lnTo>
                <a:lnTo>
                  <a:pt x="1923110" y="2488011"/>
                </a:lnTo>
                <a:lnTo>
                  <a:pt x="2011652" y="2437675"/>
                </a:lnTo>
                <a:lnTo>
                  <a:pt x="2095754" y="2380865"/>
                </a:lnTo>
                <a:lnTo>
                  <a:pt x="2175077" y="2317919"/>
                </a:lnTo>
                <a:lnTo>
                  <a:pt x="2249281" y="2249176"/>
                </a:lnTo>
                <a:lnTo>
                  <a:pt x="2318027" y="2174976"/>
                </a:lnTo>
                <a:lnTo>
                  <a:pt x="2380977" y="2095657"/>
                </a:lnTo>
                <a:lnTo>
                  <a:pt x="2437791" y="2011559"/>
                </a:lnTo>
                <a:lnTo>
                  <a:pt x="2488130" y="1923021"/>
                </a:lnTo>
                <a:lnTo>
                  <a:pt x="2531654" y="1830382"/>
                </a:lnTo>
                <a:lnTo>
                  <a:pt x="2568026" y="1733980"/>
                </a:lnTo>
                <a:lnTo>
                  <a:pt x="2596905" y="1634156"/>
                </a:lnTo>
                <a:lnTo>
                  <a:pt x="2617953" y="1531248"/>
                </a:lnTo>
                <a:lnTo>
                  <a:pt x="2630831" y="1425595"/>
                </a:lnTo>
                <a:lnTo>
                  <a:pt x="2635199" y="1317536"/>
                </a:lnTo>
                <a:lnTo>
                  <a:pt x="2630831" y="1209477"/>
                </a:lnTo>
                <a:lnTo>
                  <a:pt x="2617953" y="1103823"/>
                </a:lnTo>
                <a:lnTo>
                  <a:pt x="2596905" y="1000915"/>
                </a:lnTo>
                <a:lnTo>
                  <a:pt x="2568026" y="901091"/>
                </a:lnTo>
                <a:lnTo>
                  <a:pt x="2531654" y="804689"/>
                </a:lnTo>
                <a:lnTo>
                  <a:pt x="2488130" y="712050"/>
                </a:lnTo>
                <a:lnTo>
                  <a:pt x="2437791" y="623512"/>
                </a:lnTo>
                <a:lnTo>
                  <a:pt x="2380977" y="539414"/>
                </a:lnTo>
                <a:lnTo>
                  <a:pt x="2318027" y="460096"/>
                </a:lnTo>
                <a:lnTo>
                  <a:pt x="2249281" y="385895"/>
                </a:lnTo>
                <a:lnTo>
                  <a:pt x="2175077" y="317153"/>
                </a:lnTo>
                <a:lnTo>
                  <a:pt x="2095754" y="254206"/>
                </a:lnTo>
                <a:lnTo>
                  <a:pt x="2011652" y="197396"/>
                </a:lnTo>
                <a:lnTo>
                  <a:pt x="1923110" y="147060"/>
                </a:lnTo>
                <a:lnTo>
                  <a:pt x="1830466" y="103537"/>
                </a:lnTo>
                <a:lnTo>
                  <a:pt x="1734060" y="67168"/>
                </a:lnTo>
                <a:lnTo>
                  <a:pt x="1634232" y="38290"/>
                </a:lnTo>
                <a:lnTo>
                  <a:pt x="1531319" y="17244"/>
                </a:lnTo>
                <a:lnTo>
                  <a:pt x="1425662" y="4367"/>
                </a:lnTo>
                <a:lnTo>
                  <a:pt x="13175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93" name="object 26">
            <a:extLst>
              <a:ext uri="{FF2B5EF4-FFF2-40B4-BE49-F238E27FC236}">
                <a16:creationId xmlns:a16="http://schemas.microsoft.com/office/drawing/2014/main" id="{699B988A-8EAA-4D7F-912A-920111382172}"/>
              </a:ext>
            </a:extLst>
          </p:cNvPr>
          <p:cNvSpPr>
            <a:spLocks/>
          </p:cNvSpPr>
          <p:nvPr/>
        </p:nvSpPr>
        <p:spPr bwMode="auto">
          <a:xfrm>
            <a:off x="3748459" y="4199486"/>
            <a:ext cx="1521963" cy="1521963"/>
          </a:xfrm>
          <a:custGeom>
            <a:avLst/>
            <a:gdLst>
              <a:gd name="T0" fmla="*/ 1209628 w 2635199"/>
              <a:gd name="T1" fmla="*/ 4367 h 2635072"/>
              <a:gd name="T2" fmla="*/ 1001042 w 2635199"/>
              <a:gd name="T3" fmla="*/ 38302 h 2635072"/>
              <a:gd name="T4" fmla="*/ 804796 w 2635199"/>
              <a:gd name="T5" fmla="*/ 103565 h 2635072"/>
              <a:gd name="T6" fmla="*/ 623594 w 2635199"/>
              <a:gd name="T7" fmla="*/ 197448 h 2635072"/>
              <a:gd name="T8" fmla="*/ 460158 w 2635199"/>
              <a:gd name="T9" fmla="*/ 317237 h 2635072"/>
              <a:gd name="T10" fmla="*/ 317195 w 2635199"/>
              <a:gd name="T11" fmla="*/ 460220 h 2635072"/>
              <a:gd name="T12" fmla="*/ 197424 w 2635199"/>
              <a:gd name="T13" fmla="*/ 623680 h 2635072"/>
              <a:gd name="T14" fmla="*/ 103552 w 2635199"/>
              <a:gd name="T15" fmla="*/ 804905 h 2635072"/>
              <a:gd name="T16" fmla="*/ 38297 w 2635199"/>
              <a:gd name="T17" fmla="*/ 1001187 h 2635072"/>
              <a:gd name="T18" fmla="*/ 4367 w 2635199"/>
              <a:gd name="T19" fmla="*/ 1209805 h 2635072"/>
              <a:gd name="T20" fmla="*/ 4367 w 2635199"/>
              <a:gd name="T21" fmla="*/ 1425979 h 2635072"/>
              <a:gd name="T22" fmla="*/ 38297 w 2635199"/>
              <a:gd name="T23" fmla="*/ 1634596 h 2635072"/>
              <a:gd name="T24" fmla="*/ 103552 w 2635199"/>
              <a:gd name="T25" fmla="*/ 1830878 h 2635072"/>
              <a:gd name="T26" fmla="*/ 197424 w 2635199"/>
              <a:gd name="T27" fmla="*/ 2012103 h 2635072"/>
              <a:gd name="T28" fmla="*/ 317195 w 2635199"/>
              <a:gd name="T29" fmla="*/ 2175564 h 2635072"/>
              <a:gd name="T30" fmla="*/ 460158 w 2635199"/>
              <a:gd name="T31" fmla="*/ 2318547 h 2635072"/>
              <a:gd name="T32" fmla="*/ 623594 w 2635199"/>
              <a:gd name="T33" fmla="*/ 2438335 h 2635072"/>
              <a:gd name="T34" fmla="*/ 804796 w 2635199"/>
              <a:gd name="T35" fmla="*/ 2532218 h 2635072"/>
              <a:gd name="T36" fmla="*/ 1001042 w 2635199"/>
              <a:gd name="T37" fmla="*/ 2597481 h 2635072"/>
              <a:gd name="T38" fmla="*/ 1209628 w 2635199"/>
              <a:gd name="T39" fmla="*/ 2631416 h 2635072"/>
              <a:gd name="T40" fmla="*/ 1425774 w 2635199"/>
              <a:gd name="T41" fmla="*/ 2631416 h 2635072"/>
              <a:gd name="T42" fmla="*/ 1634360 w 2635199"/>
              <a:gd name="T43" fmla="*/ 2597481 h 2635072"/>
              <a:gd name="T44" fmla="*/ 1830606 w 2635199"/>
              <a:gd name="T45" fmla="*/ 2532218 h 2635072"/>
              <a:gd name="T46" fmla="*/ 2011808 w 2635199"/>
              <a:gd name="T47" fmla="*/ 2438335 h 2635072"/>
              <a:gd name="T48" fmla="*/ 2175245 w 2635199"/>
              <a:gd name="T49" fmla="*/ 2318547 h 2635072"/>
              <a:gd name="T50" fmla="*/ 2318207 w 2635199"/>
              <a:gd name="T51" fmla="*/ 2175564 h 2635072"/>
              <a:gd name="T52" fmla="*/ 2437979 w 2635199"/>
              <a:gd name="T53" fmla="*/ 2012103 h 2635072"/>
              <a:gd name="T54" fmla="*/ 2531850 w 2635199"/>
              <a:gd name="T55" fmla="*/ 1830878 h 2635072"/>
              <a:gd name="T56" fmla="*/ 2597105 w 2635199"/>
              <a:gd name="T57" fmla="*/ 1634596 h 2635072"/>
              <a:gd name="T58" fmla="*/ 2631035 w 2635199"/>
              <a:gd name="T59" fmla="*/ 1425979 h 2635072"/>
              <a:gd name="T60" fmla="*/ 2631035 w 2635199"/>
              <a:gd name="T61" fmla="*/ 1209805 h 2635072"/>
              <a:gd name="T62" fmla="*/ 2597105 w 2635199"/>
              <a:gd name="T63" fmla="*/ 1001187 h 2635072"/>
              <a:gd name="T64" fmla="*/ 2531850 w 2635199"/>
              <a:gd name="T65" fmla="*/ 804905 h 2635072"/>
              <a:gd name="T66" fmla="*/ 2437979 w 2635199"/>
              <a:gd name="T67" fmla="*/ 623680 h 2635072"/>
              <a:gd name="T68" fmla="*/ 2318207 w 2635199"/>
              <a:gd name="T69" fmla="*/ 460220 h 2635072"/>
              <a:gd name="T70" fmla="*/ 2175245 w 2635199"/>
              <a:gd name="T71" fmla="*/ 317237 h 2635072"/>
              <a:gd name="T72" fmla="*/ 2011808 w 2635199"/>
              <a:gd name="T73" fmla="*/ 197448 h 2635072"/>
              <a:gd name="T74" fmla="*/ 1830606 w 2635199"/>
              <a:gd name="T75" fmla="*/ 103565 h 2635072"/>
              <a:gd name="T76" fmla="*/ 1634360 w 2635199"/>
              <a:gd name="T77" fmla="*/ 38302 h 2635072"/>
              <a:gd name="T78" fmla="*/ 1425774 w 2635199"/>
              <a:gd name="T79" fmla="*/ 4367 h 26350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35199" h="2635072">
                <a:moveTo>
                  <a:pt x="1317599" y="0"/>
                </a:moveTo>
                <a:lnTo>
                  <a:pt x="1209536" y="4367"/>
                </a:lnTo>
                <a:lnTo>
                  <a:pt x="1103879" y="17244"/>
                </a:lnTo>
                <a:lnTo>
                  <a:pt x="1000966" y="38290"/>
                </a:lnTo>
                <a:lnTo>
                  <a:pt x="901138" y="67168"/>
                </a:lnTo>
                <a:lnTo>
                  <a:pt x="804732" y="103537"/>
                </a:lnTo>
                <a:lnTo>
                  <a:pt x="712089" y="147060"/>
                </a:lnTo>
                <a:lnTo>
                  <a:pt x="623546" y="197396"/>
                </a:lnTo>
                <a:lnTo>
                  <a:pt x="539444" y="254206"/>
                </a:lnTo>
                <a:lnTo>
                  <a:pt x="460122" y="317153"/>
                </a:lnTo>
                <a:lnTo>
                  <a:pt x="385918" y="385895"/>
                </a:lnTo>
                <a:lnTo>
                  <a:pt x="317171" y="460096"/>
                </a:lnTo>
                <a:lnTo>
                  <a:pt x="254221" y="539414"/>
                </a:lnTo>
                <a:lnTo>
                  <a:pt x="197408" y="623512"/>
                </a:lnTo>
                <a:lnTo>
                  <a:pt x="147069" y="712050"/>
                </a:lnTo>
                <a:lnTo>
                  <a:pt x="103544" y="804689"/>
                </a:lnTo>
                <a:lnTo>
                  <a:pt x="67172" y="901091"/>
                </a:lnTo>
                <a:lnTo>
                  <a:pt x="38293" y="1000915"/>
                </a:lnTo>
                <a:lnTo>
                  <a:pt x="17245" y="1103823"/>
                </a:lnTo>
                <a:lnTo>
                  <a:pt x="4367" y="1209477"/>
                </a:lnTo>
                <a:lnTo>
                  <a:pt x="0" y="1317536"/>
                </a:lnTo>
                <a:lnTo>
                  <a:pt x="4367" y="1425595"/>
                </a:lnTo>
                <a:lnTo>
                  <a:pt x="17245" y="1531248"/>
                </a:lnTo>
                <a:lnTo>
                  <a:pt x="38293" y="1634156"/>
                </a:lnTo>
                <a:lnTo>
                  <a:pt x="67172" y="1733980"/>
                </a:lnTo>
                <a:lnTo>
                  <a:pt x="103544" y="1830382"/>
                </a:lnTo>
                <a:lnTo>
                  <a:pt x="147069" y="1923021"/>
                </a:lnTo>
                <a:lnTo>
                  <a:pt x="197408" y="2011559"/>
                </a:lnTo>
                <a:lnTo>
                  <a:pt x="254221" y="2095657"/>
                </a:lnTo>
                <a:lnTo>
                  <a:pt x="317171" y="2174976"/>
                </a:lnTo>
                <a:lnTo>
                  <a:pt x="385918" y="2249176"/>
                </a:lnTo>
                <a:lnTo>
                  <a:pt x="460122" y="2317919"/>
                </a:lnTo>
                <a:lnTo>
                  <a:pt x="539444" y="2380865"/>
                </a:lnTo>
                <a:lnTo>
                  <a:pt x="623546" y="2437675"/>
                </a:lnTo>
                <a:lnTo>
                  <a:pt x="712089" y="2488011"/>
                </a:lnTo>
                <a:lnTo>
                  <a:pt x="804732" y="2531534"/>
                </a:lnTo>
                <a:lnTo>
                  <a:pt x="901138" y="2567903"/>
                </a:lnTo>
                <a:lnTo>
                  <a:pt x="1000966" y="2596781"/>
                </a:lnTo>
                <a:lnTo>
                  <a:pt x="1103879" y="2617827"/>
                </a:lnTo>
                <a:lnTo>
                  <a:pt x="1209536" y="2630704"/>
                </a:lnTo>
                <a:lnTo>
                  <a:pt x="1317599" y="2635072"/>
                </a:lnTo>
                <a:lnTo>
                  <a:pt x="1425662" y="2630704"/>
                </a:lnTo>
                <a:lnTo>
                  <a:pt x="1531319" y="2617827"/>
                </a:lnTo>
                <a:lnTo>
                  <a:pt x="1634232" y="2596781"/>
                </a:lnTo>
                <a:lnTo>
                  <a:pt x="1734060" y="2567903"/>
                </a:lnTo>
                <a:lnTo>
                  <a:pt x="1830466" y="2531534"/>
                </a:lnTo>
                <a:lnTo>
                  <a:pt x="1923110" y="2488011"/>
                </a:lnTo>
                <a:lnTo>
                  <a:pt x="2011652" y="2437675"/>
                </a:lnTo>
                <a:lnTo>
                  <a:pt x="2095754" y="2380865"/>
                </a:lnTo>
                <a:lnTo>
                  <a:pt x="2175077" y="2317919"/>
                </a:lnTo>
                <a:lnTo>
                  <a:pt x="2249281" y="2249176"/>
                </a:lnTo>
                <a:lnTo>
                  <a:pt x="2318027" y="2174976"/>
                </a:lnTo>
                <a:lnTo>
                  <a:pt x="2380977" y="2095657"/>
                </a:lnTo>
                <a:lnTo>
                  <a:pt x="2437791" y="2011559"/>
                </a:lnTo>
                <a:lnTo>
                  <a:pt x="2488130" y="1923021"/>
                </a:lnTo>
                <a:lnTo>
                  <a:pt x="2531654" y="1830382"/>
                </a:lnTo>
                <a:lnTo>
                  <a:pt x="2568026" y="1733980"/>
                </a:lnTo>
                <a:lnTo>
                  <a:pt x="2596905" y="1634156"/>
                </a:lnTo>
                <a:lnTo>
                  <a:pt x="2617953" y="1531248"/>
                </a:lnTo>
                <a:lnTo>
                  <a:pt x="2630831" y="1425595"/>
                </a:lnTo>
                <a:lnTo>
                  <a:pt x="2635199" y="1317536"/>
                </a:lnTo>
                <a:lnTo>
                  <a:pt x="2630831" y="1209477"/>
                </a:lnTo>
                <a:lnTo>
                  <a:pt x="2617953" y="1103823"/>
                </a:lnTo>
                <a:lnTo>
                  <a:pt x="2596905" y="1000915"/>
                </a:lnTo>
                <a:lnTo>
                  <a:pt x="2568026" y="901091"/>
                </a:lnTo>
                <a:lnTo>
                  <a:pt x="2531654" y="804689"/>
                </a:lnTo>
                <a:lnTo>
                  <a:pt x="2488130" y="712050"/>
                </a:lnTo>
                <a:lnTo>
                  <a:pt x="2437791" y="623512"/>
                </a:lnTo>
                <a:lnTo>
                  <a:pt x="2380977" y="539414"/>
                </a:lnTo>
                <a:lnTo>
                  <a:pt x="2318027" y="460096"/>
                </a:lnTo>
                <a:lnTo>
                  <a:pt x="2249281" y="385895"/>
                </a:lnTo>
                <a:lnTo>
                  <a:pt x="2175077" y="317153"/>
                </a:lnTo>
                <a:lnTo>
                  <a:pt x="2095754" y="254206"/>
                </a:lnTo>
                <a:lnTo>
                  <a:pt x="2011652" y="197396"/>
                </a:lnTo>
                <a:lnTo>
                  <a:pt x="1923110" y="147060"/>
                </a:lnTo>
                <a:lnTo>
                  <a:pt x="1830466" y="103537"/>
                </a:lnTo>
                <a:lnTo>
                  <a:pt x="1734060" y="67168"/>
                </a:lnTo>
                <a:lnTo>
                  <a:pt x="1634232" y="38290"/>
                </a:lnTo>
                <a:lnTo>
                  <a:pt x="1531319" y="17244"/>
                </a:lnTo>
                <a:lnTo>
                  <a:pt x="1425662" y="4367"/>
                </a:lnTo>
                <a:lnTo>
                  <a:pt x="13175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95" name="object 28">
            <a:extLst>
              <a:ext uri="{FF2B5EF4-FFF2-40B4-BE49-F238E27FC236}">
                <a16:creationId xmlns:a16="http://schemas.microsoft.com/office/drawing/2014/main" id="{303B705A-C345-49E3-BE7A-897E96A79C38}"/>
              </a:ext>
            </a:extLst>
          </p:cNvPr>
          <p:cNvSpPr>
            <a:spLocks/>
          </p:cNvSpPr>
          <p:nvPr/>
        </p:nvSpPr>
        <p:spPr bwMode="auto">
          <a:xfrm>
            <a:off x="5282649" y="2851725"/>
            <a:ext cx="1521963" cy="1521963"/>
          </a:xfrm>
          <a:custGeom>
            <a:avLst/>
            <a:gdLst>
              <a:gd name="T0" fmla="*/ 1209628 w 2635199"/>
              <a:gd name="T1" fmla="*/ 4367 h 2635072"/>
              <a:gd name="T2" fmla="*/ 1001042 w 2635199"/>
              <a:gd name="T3" fmla="*/ 38302 h 2635072"/>
              <a:gd name="T4" fmla="*/ 804796 w 2635199"/>
              <a:gd name="T5" fmla="*/ 103565 h 2635072"/>
              <a:gd name="T6" fmla="*/ 623594 w 2635199"/>
              <a:gd name="T7" fmla="*/ 197448 h 2635072"/>
              <a:gd name="T8" fmla="*/ 460158 w 2635199"/>
              <a:gd name="T9" fmla="*/ 317237 h 2635072"/>
              <a:gd name="T10" fmla="*/ 317195 w 2635199"/>
              <a:gd name="T11" fmla="*/ 460220 h 2635072"/>
              <a:gd name="T12" fmla="*/ 197424 w 2635199"/>
              <a:gd name="T13" fmla="*/ 623680 h 2635072"/>
              <a:gd name="T14" fmla="*/ 103552 w 2635199"/>
              <a:gd name="T15" fmla="*/ 804905 h 2635072"/>
              <a:gd name="T16" fmla="*/ 38297 w 2635199"/>
              <a:gd name="T17" fmla="*/ 1001187 h 2635072"/>
              <a:gd name="T18" fmla="*/ 4367 w 2635199"/>
              <a:gd name="T19" fmla="*/ 1209805 h 2635072"/>
              <a:gd name="T20" fmla="*/ 4367 w 2635199"/>
              <a:gd name="T21" fmla="*/ 1425979 h 2635072"/>
              <a:gd name="T22" fmla="*/ 38297 w 2635199"/>
              <a:gd name="T23" fmla="*/ 1634596 h 2635072"/>
              <a:gd name="T24" fmla="*/ 103552 w 2635199"/>
              <a:gd name="T25" fmla="*/ 1830878 h 2635072"/>
              <a:gd name="T26" fmla="*/ 197424 w 2635199"/>
              <a:gd name="T27" fmla="*/ 2012103 h 2635072"/>
              <a:gd name="T28" fmla="*/ 317195 w 2635199"/>
              <a:gd name="T29" fmla="*/ 2175564 h 2635072"/>
              <a:gd name="T30" fmla="*/ 460158 w 2635199"/>
              <a:gd name="T31" fmla="*/ 2318547 h 2635072"/>
              <a:gd name="T32" fmla="*/ 623594 w 2635199"/>
              <a:gd name="T33" fmla="*/ 2438335 h 2635072"/>
              <a:gd name="T34" fmla="*/ 804796 w 2635199"/>
              <a:gd name="T35" fmla="*/ 2532218 h 2635072"/>
              <a:gd name="T36" fmla="*/ 1001042 w 2635199"/>
              <a:gd name="T37" fmla="*/ 2597481 h 2635072"/>
              <a:gd name="T38" fmla="*/ 1209628 w 2635199"/>
              <a:gd name="T39" fmla="*/ 2631416 h 2635072"/>
              <a:gd name="T40" fmla="*/ 1425774 w 2635199"/>
              <a:gd name="T41" fmla="*/ 2631416 h 2635072"/>
              <a:gd name="T42" fmla="*/ 1634360 w 2635199"/>
              <a:gd name="T43" fmla="*/ 2597481 h 2635072"/>
              <a:gd name="T44" fmla="*/ 1830606 w 2635199"/>
              <a:gd name="T45" fmla="*/ 2532218 h 2635072"/>
              <a:gd name="T46" fmla="*/ 2011808 w 2635199"/>
              <a:gd name="T47" fmla="*/ 2438335 h 2635072"/>
              <a:gd name="T48" fmla="*/ 2175245 w 2635199"/>
              <a:gd name="T49" fmla="*/ 2318547 h 2635072"/>
              <a:gd name="T50" fmla="*/ 2318207 w 2635199"/>
              <a:gd name="T51" fmla="*/ 2175564 h 2635072"/>
              <a:gd name="T52" fmla="*/ 2437979 w 2635199"/>
              <a:gd name="T53" fmla="*/ 2012103 h 2635072"/>
              <a:gd name="T54" fmla="*/ 2531850 w 2635199"/>
              <a:gd name="T55" fmla="*/ 1830878 h 2635072"/>
              <a:gd name="T56" fmla="*/ 2597105 w 2635199"/>
              <a:gd name="T57" fmla="*/ 1634596 h 2635072"/>
              <a:gd name="T58" fmla="*/ 2631035 w 2635199"/>
              <a:gd name="T59" fmla="*/ 1425979 h 2635072"/>
              <a:gd name="T60" fmla="*/ 2631035 w 2635199"/>
              <a:gd name="T61" fmla="*/ 1209805 h 2635072"/>
              <a:gd name="T62" fmla="*/ 2597105 w 2635199"/>
              <a:gd name="T63" fmla="*/ 1001187 h 2635072"/>
              <a:gd name="T64" fmla="*/ 2531850 w 2635199"/>
              <a:gd name="T65" fmla="*/ 804905 h 2635072"/>
              <a:gd name="T66" fmla="*/ 2437979 w 2635199"/>
              <a:gd name="T67" fmla="*/ 623680 h 2635072"/>
              <a:gd name="T68" fmla="*/ 2318207 w 2635199"/>
              <a:gd name="T69" fmla="*/ 460220 h 2635072"/>
              <a:gd name="T70" fmla="*/ 2175245 w 2635199"/>
              <a:gd name="T71" fmla="*/ 317237 h 2635072"/>
              <a:gd name="T72" fmla="*/ 2011808 w 2635199"/>
              <a:gd name="T73" fmla="*/ 197448 h 2635072"/>
              <a:gd name="T74" fmla="*/ 1830606 w 2635199"/>
              <a:gd name="T75" fmla="*/ 103565 h 2635072"/>
              <a:gd name="T76" fmla="*/ 1634360 w 2635199"/>
              <a:gd name="T77" fmla="*/ 38302 h 2635072"/>
              <a:gd name="T78" fmla="*/ 1425774 w 2635199"/>
              <a:gd name="T79" fmla="*/ 4367 h 263507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635199" h="2635072">
                <a:moveTo>
                  <a:pt x="1317599" y="0"/>
                </a:moveTo>
                <a:lnTo>
                  <a:pt x="1209536" y="4367"/>
                </a:lnTo>
                <a:lnTo>
                  <a:pt x="1103879" y="17244"/>
                </a:lnTo>
                <a:lnTo>
                  <a:pt x="1000966" y="38290"/>
                </a:lnTo>
                <a:lnTo>
                  <a:pt x="901138" y="67168"/>
                </a:lnTo>
                <a:lnTo>
                  <a:pt x="804732" y="103537"/>
                </a:lnTo>
                <a:lnTo>
                  <a:pt x="712089" y="147060"/>
                </a:lnTo>
                <a:lnTo>
                  <a:pt x="623546" y="197396"/>
                </a:lnTo>
                <a:lnTo>
                  <a:pt x="539444" y="254206"/>
                </a:lnTo>
                <a:lnTo>
                  <a:pt x="460122" y="317153"/>
                </a:lnTo>
                <a:lnTo>
                  <a:pt x="385918" y="385895"/>
                </a:lnTo>
                <a:lnTo>
                  <a:pt x="317171" y="460096"/>
                </a:lnTo>
                <a:lnTo>
                  <a:pt x="254221" y="539414"/>
                </a:lnTo>
                <a:lnTo>
                  <a:pt x="197408" y="623512"/>
                </a:lnTo>
                <a:lnTo>
                  <a:pt x="147069" y="712050"/>
                </a:lnTo>
                <a:lnTo>
                  <a:pt x="103544" y="804689"/>
                </a:lnTo>
                <a:lnTo>
                  <a:pt x="67172" y="901091"/>
                </a:lnTo>
                <a:lnTo>
                  <a:pt x="38293" y="1000915"/>
                </a:lnTo>
                <a:lnTo>
                  <a:pt x="17245" y="1103823"/>
                </a:lnTo>
                <a:lnTo>
                  <a:pt x="4367" y="1209477"/>
                </a:lnTo>
                <a:lnTo>
                  <a:pt x="0" y="1317536"/>
                </a:lnTo>
                <a:lnTo>
                  <a:pt x="4367" y="1425595"/>
                </a:lnTo>
                <a:lnTo>
                  <a:pt x="17245" y="1531248"/>
                </a:lnTo>
                <a:lnTo>
                  <a:pt x="38293" y="1634156"/>
                </a:lnTo>
                <a:lnTo>
                  <a:pt x="67172" y="1733980"/>
                </a:lnTo>
                <a:lnTo>
                  <a:pt x="103544" y="1830382"/>
                </a:lnTo>
                <a:lnTo>
                  <a:pt x="147069" y="1923021"/>
                </a:lnTo>
                <a:lnTo>
                  <a:pt x="197408" y="2011559"/>
                </a:lnTo>
                <a:lnTo>
                  <a:pt x="254221" y="2095657"/>
                </a:lnTo>
                <a:lnTo>
                  <a:pt x="317171" y="2174976"/>
                </a:lnTo>
                <a:lnTo>
                  <a:pt x="385918" y="2249176"/>
                </a:lnTo>
                <a:lnTo>
                  <a:pt x="460122" y="2317919"/>
                </a:lnTo>
                <a:lnTo>
                  <a:pt x="539444" y="2380865"/>
                </a:lnTo>
                <a:lnTo>
                  <a:pt x="623546" y="2437675"/>
                </a:lnTo>
                <a:lnTo>
                  <a:pt x="712089" y="2488011"/>
                </a:lnTo>
                <a:lnTo>
                  <a:pt x="804732" y="2531534"/>
                </a:lnTo>
                <a:lnTo>
                  <a:pt x="901138" y="2567903"/>
                </a:lnTo>
                <a:lnTo>
                  <a:pt x="1000966" y="2596781"/>
                </a:lnTo>
                <a:lnTo>
                  <a:pt x="1103879" y="2617827"/>
                </a:lnTo>
                <a:lnTo>
                  <a:pt x="1209536" y="2630704"/>
                </a:lnTo>
                <a:lnTo>
                  <a:pt x="1317599" y="2635072"/>
                </a:lnTo>
                <a:lnTo>
                  <a:pt x="1425662" y="2630704"/>
                </a:lnTo>
                <a:lnTo>
                  <a:pt x="1531319" y="2617827"/>
                </a:lnTo>
                <a:lnTo>
                  <a:pt x="1634232" y="2596781"/>
                </a:lnTo>
                <a:lnTo>
                  <a:pt x="1734060" y="2567903"/>
                </a:lnTo>
                <a:lnTo>
                  <a:pt x="1830466" y="2531534"/>
                </a:lnTo>
                <a:lnTo>
                  <a:pt x="1923110" y="2488011"/>
                </a:lnTo>
                <a:lnTo>
                  <a:pt x="2011652" y="2437675"/>
                </a:lnTo>
                <a:lnTo>
                  <a:pt x="2095754" y="2380865"/>
                </a:lnTo>
                <a:lnTo>
                  <a:pt x="2175077" y="2317919"/>
                </a:lnTo>
                <a:lnTo>
                  <a:pt x="2249281" y="2249176"/>
                </a:lnTo>
                <a:lnTo>
                  <a:pt x="2318027" y="2174976"/>
                </a:lnTo>
                <a:lnTo>
                  <a:pt x="2380977" y="2095657"/>
                </a:lnTo>
                <a:lnTo>
                  <a:pt x="2437791" y="2011559"/>
                </a:lnTo>
                <a:lnTo>
                  <a:pt x="2488130" y="1923021"/>
                </a:lnTo>
                <a:lnTo>
                  <a:pt x="2531654" y="1830382"/>
                </a:lnTo>
                <a:lnTo>
                  <a:pt x="2568026" y="1733980"/>
                </a:lnTo>
                <a:lnTo>
                  <a:pt x="2596905" y="1634156"/>
                </a:lnTo>
                <a:lnTo>
                  <a:pt x="2617953" y="1531248"/>
                </a:lnTo>
                <a:lnTo>
                  <a:pt x="2630831" y="1425595"/>
                </a:lnTo>
                <a:lnTo>
                  <a:pt x="2635199" y="1317536"/>
                </a:lnTo>
                <a:lnTo>
                  <a:pt x="2630831" y="1209477"/>
                </a:lnTo>
                <a:lnTo>
                  <a:pt x="2617953" y="1103823"/>
                </a:lnTo>
                <a:lnTo>
                  <a:pt x="2596905" y="1000915"/>
                </a:lnTo>
                <a:lnTo>
                  <a:pt x="2568026" y="901091"/>
                </a:lnTo>
                <a:lnTo>
                  <a:pt x="2531654" y="804689"/>
                </a:lnTo>
                <a:lnTo>
                  <a:pt x="2488130" y="712050"/>
                </a:lnTo>
                <a:lnTo>
                  <a:pt x="2437791" y="623512"/>
                </a:lnTo>
                <a:lnTo>
                  <a:pt x="2380977" y="539414"/>
                </a:lnTo>
                <a:lnTo>
                  <a:pt x="2318027" y="460096"/>
                </a:lnTo>
                <a:lnTo>
                  <a:pt x="2249281" y="385895"/>
                </a:lnTo>
                <a:lnTo>
                  <a:pt x="2175077" y="317153"/>
                </a:lnTo>
                <a:lnTo>
                  <a:pt x="2095754" y="254206"/>
                </a:lnTo>
                <a:lnTo>
                  <a:pt x="2011652" y="197396"/>
                </a:lnTo>
                <a:lnTo>
                  <a:pt x="1923110" y="147060"/>
                </a:lnTo>
                <a:lnTo>
                  <a:pt x="1830466" y="103537"/>
                </a:lnTo>
                <a:lnTo>
                  <a:pt x="1734060" y="67168"/>
                </a:lnTo>
                <a:lnTo>
                  <a:pt x="1634232" y="38290"/>
                </a:lnTo>
                <a:lnTo>
                  <a:pt x="1531319" y="17244"/>
                </a:lnTo>
                <a:lnTo>
                  <a:pt x="1425662" y="4367"/>
                </a:lnTo>
                <a:lnTo>
                  <a:pt x="131759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196" name="object 29">
            <a:extLst>
              <a:ext uri="{FF2B5EF4-FFF2-40B4-BE49-F238E27FC236}">
                <a16:creationId xmlns:a16="http://schemas.microsoft.com/office/drawing/2014/main" id="{9D73562D-8E5A-4B80-AD86-B4A4B2D1FE6E}"/>
              </a:ext>
            </a:extLst>
          </p:cNvPr>
          <p:cNvSpPr txBox="1">
            <a:spLocks noChangeArrowheads="1"/>
          </p:cNvSpPr>
          <p:nvPr/>
        </p:nvSpPr>
        <p:spPr bwMode="auto">
          <a:xfrm>
            <a:off x="4091573" y="1956884"/>
            <a:ext cx="1181813" cy="32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2772"/>
              <a:t>ခန္ဓာ</a:t>
            </a:r>
          </a:p>
        </p:txBody>
      </p:sp>
      <p:sp>
        <p:nvSpPr>
          <p:cNvPr id="7197" name="object 30">
            <a:extLst>
              <a:ext uri="{FF2B5EF4-FFF2-40B4-BE49-F238E27FC236}">
                <a16:creationId xmlns:a16="http://schemas.microsoft.com/office/drawing/2014/main" id="{81ABC091-253F-4141-A304-792ADE9CCCDF}"/>
              </a:ext>
            </a:extLst>
          </p:cNvPr>
          <p:cNvSpPr txBox="1">
            <a:spLocks noChangeArrowheads="1"/>
          </p:cNvSpPr>
          <p:nvPr/>
        </p:nvSpPr>
        <p:spPr bwMode="auto">
          <a:xfrm>
            <a:off x="5437597" y="3466011"/>
            <a:ext cx="1423860" cy="327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2079">
                <a:solidFill>
                  <a:srgbClr val="231F20"/>
                </a:solidFill>
                <a:latin typeface="Gill Sans Light"/>
                <a:ea typeface="Gill Sans Light"/>
                <a:cs typeface="Gill Sans Light"/>
              </a:rPr>
              <a:t>ခံစားမှု</a:t>
            </a:r>
            <a:endParaRPr lang="en-US" altLang="en-US" sz="2079">
              <a:latin typeface="Gill Sans Light"/>
              <a:ea typeface="Gill Sans Light"/>
              <a:cs typeface="Gill Sans Light"/>
            </a:endParaRPr>
          </a:p>
        </p:txBody>
      </p:sp>
      <p:sp>
        <p:nvSpPr>
          <p:cNvPr id="7199" name="object 32">
            <a:extLst>
              <a:ext uri="{FF2B5EF4-FFF2-40B4-BE49-F238E27FC236}">
                <a16:creationId xmlns:a16="http://schemas.microsoft.com/office/drawing/2014/main" id="{FC01B213-3952-489D-A0FF-88E174AEE003}"/>
              </a:ext>
            </a:extLst>
          </p:cNvPr>
          <p:cNvSpPr txBox="1">
            <a:spLocks noChangeArrowheads="1"/>
          </p:cNvSpPr>
          <p:nvPr/>
        </p:nvSpPr>
        <p:spPr bwMode="auto">
          <a:xfrm>
            <a:off x="4011594" y="4803687"/>
            <a:ext cx="1258828" cy="32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en-US" altLang="en-US" sz="2079">
                <a:solidFill>
                  <a:srgbClr val="231F20"/>
                </a:solidFill>
                <a:latin typeface="Gill Sans Light"/>
                <a:ea typeface="Gill Sans Light"/>
                <a:cs typeface="Gill Sans Light"/>
              </a:rPr>
              <a:t>အတွေး</a:t>
            </a:r>
            <a:endParaRPr lang="en-US" altLang="en-US" sz="2079">
              <a:latin typeface="Gill Sans Light"/>
              <a:ea typeface="Gill Sans Light"/>
              <a:cs typeface="Gill Sans Light"/>
            </a:endParaRPr>
          </a:p>
        </p:txBody>
      </p:sp>
      <p:sp>
        <p:nvSpPr>
          <p:cNvPr id="7200" name="object 33">
            <a:extLst>
              <a:ext uri="{FF2B5EF4-FFF2-40B4-BE49-F238E27FC236}">
                <a16:creationId xmlns:a16="http://schemas.microsoft.com/office/drawing/2014/main" id="{C229C50D-2728-445F-8F93-0BED6F83C4C8}"/>
              </a:ext>
            </a:extLst>
          </p:cNvPr>
          <p:cNvSpPr txBox="1">
            <a:spLocks noChangeArrowheads="1"/>
          </p:cNvSpPr>
          <p:nvPr/>
        </p:nvSpPr>
        <p:spPr bwMode="auto">
          <a:xfrm>
            <a:off x="2771412" y="3379258"/>
            <a:ext cx="1215736" cy="32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en-US" altLang="en-US" sz="2079">
                <a:solidFill>
                  <a:srgbClr val="231F20"/>
                </a:solidFill>
                <a:latin typeface="Gill Sans Light"/>
                <a:ea typeface="Gill Sans Light"/>
                <a:cs typeface="Gill Sans Light"/>
              </a:rPr>
              <a:t>အပြုအမူ</a:t>
            </a:r>
            <a:endParaRPr lang="en-US" altLang="en-US" sz="2079">
              <a:latin typeface="Gill Sans Light"/>
              <a:ea typeface="Gill Sans Light"/>
              <a:cs typeface="Gill Sans Light"/>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object 3">
            <a:extLst>
              <a:ext uri="{FF2B5EF4-FFF2-40B4-BE49-F238E27FC236}">
                <a16:creationId xmlns:a16="http://schemas.microsoft.com/office/drawing/2014/main" id="{8FFE0074-1D80-48D4-94AC-2141011DCA55}"/>
              </a:ext>
            </a:extLst>
          </p:cNvPr>
          <p:cNvSpPr>
            <a:spLocks/>
          </p:cNvSpPr>
          <p:nvPr/>
        </p:nvSpPr>
        <p:spPr bwMode="auto">
          <a:xfrm>
            <a:off x="2445" y="5795377"/>
            <a:ext cx="9140027" cy="118273"/>
          </a:xfrm>
          <a:custGeom>
            <a:avLst/>
            <a:gdLst>
              <a:gd name="T0" fmla="*/ 0 w 15825596"/>
              <a:gd name="T1" fmla="*/ 205399 h 204177"/>
              <a:gd name="T2" fmla="*/ 15825980 w 15825596"/>
              <a:gd name="T3" fmla="*/ 205399 h 204177"/>
              <a:gd name="T4" fmla="*/ 15825980 w 15825596"/>
              <a:gd name="T5" fmla="*/ 0 h 204177"/>
              <a:gd name="T6" fmla="*/ 0 w 15825596"/>
              <a:gd name="T7" fmla="*/ 0 h 204177"/>
              <a:gd name="T8" fmla="*/ 0 w 15825596"/>
              <a:gd name="T9" fmla="*/ 205399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6" name="object 4">
            <a:extLst>
              <a:ext uri="{FF2B5EF4-FFF2-40B4-BE49-F238E27FC236}">
                <a16:creationId xmlns:a16="http://schemas.microsoft.com/office/drawing/2014/main" id="{EFE241E2-ED4B-4794-B6CC-87FD010AB36D}"/>
              </a:ext>
            </a:extLst>
          </p:cNvPr>
          <p:cNvSpPr>
            <a:spLocks/>
          </p:cNvSpPr>
          <p:nvPr/>
        </p:nvSpPr>
        <p:spPr bwMode="auto">
          <a:xfrm>
            <a:off x="2445" y="5603756"/>
            <a:ext cx="1435779" cy="191621"/>
          </a:xfrm>
          <a:custGeom>
            <a:avLst/>
            <a:gdLst>
              <a:gd name="T0" fmla="*/ 0 w 2486525"/>
              <a:gd name="T1" fmla="*/ 330940 h 332638"/>
              <a:gd name="T2" fmla="*/ 2438021 w 2486525"/>
              <a:gd name="T3" fmla="*/ 330940 h 332638"/>
              <a:gd name="T4" fmla="*/ 2460182 w 2486525"/>
              <a:gd name="T5" fmla="*/ 330621 h 332638"/>
              <a:gd name="T6" fmla="*/ 2485517 w 2486525"/>
              <a:gd name="T7" fmla="*/ 291061 h 332638"/>
              <a:gd name="T8" fmla="*/ 2485525 w 2486525"/>
              <a:gd name="T9" fmla="*/ 47281 h 332638"/>
              <a:gd name="T10" fmla="*/ 2485204 w 2486525"/>
              <a:gd name="T11" fmla="*/ 25222 h 332638"/>
              <a:gd name="T12" fmla="*/ 2445458 w 2486525"/>
              <a:gd name="T13" fmla="*/ 7 h 332638"/>
              <a:gd name="T14" fmla="*/ 0 w 2486525"/>
              <a:gd name="T15" fmla="*/ 0 h 332638"/>
              <a:gd name="T16" fmla="*/ 0 w 2486525"/>
              <a:gd name="T17" fmla="*/ 330940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7" name="object 5">
            <a:extLst>
              <a:ext uri="{FF2B5EF4-FFF2-40B4-BE49-F238E27FC236}">
                <a16:creationId xmlns:a16="http://schemas.microsoft.com/office/drawing/2014/main" id="{2E38FDA3-E020-44D1-9AFE-1D32A8CA070B}"/>
              </a:ext>
            </a:extLst>
          </p:cNvPr>
          <p:cNvSpPr>
            <a:spLocks/>
          </p:cNvSpPr>
          <p:nvPr/>
        </p:nvSpPr>
        <p:spPr bwMode="auto">
          <a:xfrm>
            <a:off x="2445" y="0"/>
            <a:ext cx="9140027" cy="118273"/>
          </a:xfrm>
          <a:custGeom>
            <a:avLst/>
            <a:gdLst>
              <a:gd name="T0" fmla="*/ 0 w 15825596"/>
              <a:gd name="T1" fmla="*/ 205401 h 204177"/>
              <a:gd name="T2" fmla="*/ 15825980 w 15825596"/>
              <a:gd name="T3" fmla="*/ 205401 h 204177"/>
              <a:gd name="T4" fmla="*/ 15825980 w 15825596"/>
              <a:gd name="T5" fmla="*/ 0 h 204177"/>
              <a:gd name="T6" fmla="*/ 0 w 15825596"/>
              <a:gd name="T7" fmla="*/ 0 h 204177"/>
              <a:gd name="T8" fmla="*/ 0 w 15825596"/>
              <a:gd name="T9" fmla="*/ 205401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8" name="object 6">
            <a:extLst>
              <a:ext uri="{FF2B5EF4-FFF2-40B4-BE49-F238E27FC236}">
                <a16:creationId xmlns:a16="http://schemas.microsoft.com/office/drawing/2014/main" id="{46D7304E-38A1-4D51-8861-A563E8124B3E}"/>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99" name="object 7">
            <a:extLst>
              <a:ext uri="{FF2B5EF4-FFF2-40B4-BE49-F238E27FC236}">
                <a16:creationId xmlns:a16="http://schemas.microsoft.com/office/drawing/2014/main" id="{F0064E87-E01D-436D-B47E-E8352918CE6F}"/>
              </a:ext>
            </a:extLst>
          </p:cNvPr>
          <p:cNvSpPr txBox="1">
            <a:spLocks noChangeArrowheads="1"/>
          </p:cNvSpPr>
          <p:nvPr/>
        </p:nvSpPr>
        <p:spPr bwMode="auto">
          <a:xfrm>
            <a:off x="8580446" y="275053"/>
            <a:ext cx="166866"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9</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8200" name="object 8">
            <a:extLst>
              <a:ext uri="{FF2B5EF4-FFF2-40B4-BE49-F238E27FC236}">
                <a16:creationId xmlns:a16="http://schemas.microsoft.com/office/drawing/2014/main" id="{607719FC-DCCF-4C38-920E-0EFD305C1105}"/>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1" name="object 9">
            <a:extLst>
              <a:ext uri="{FF2B5EF4-FFF2-40B4-BE49-F238E27FC236}">
                <a16:creationId xmlns:a16="http://schemas.microsoft.com/office/drawing/2014/main" id="{67CC389D-4553-41EC-AD25-4CED73182274}"/>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2" name="object 10">
            <a:extLst>
              <a:ext uri="{FF2B5EF4-FFF2-40B4-BE49-F238E27FC236}">
                <a16:creationId xmlns:a16="http://schemas.microsoft.com/office/drawing/2014/main" id="{D5246322-C397-48A4-BB5E-21C1AB35189B}"/>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3" name="object 11">
            <a:extLst>
              <a:ext uri="{FF2B5EF4-FFF2-40B4-BE49-F238E27FC236}">
                <a16:creationId xmlns:a16="http://schemas.microsoft.com/office/drawing/2014/main" id="{8A5FCDBF-87D1-46C3-B873-F9B4010468BC}"/>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4" name="object 12">
            <a:extLst>
              <a:ext uri="{FF2B5EF4-FFF2-40B4-BE49-F238E27FC236}">
                <a16:creationId xmlns:a16="http://schemas.microsoft.com/office/drawing/2014/main" id="{2756C97E-0FFF-4A1F-82D9-10723517CD55}"/>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5" name="object 13">
            <a:extLst>
              <a:ext uri="{FF2B5EF4-FFF2-40B4-BE49-F238E27FC236}">
                <a16:creationId xmlns:a16="http://schemas.microsoft.com/office/drawing/2014/main" id="{181B0CE3-6E3B-41AE-BBB4-01F0193B1632}"/>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6" name="object 14">
            <a:extLst>
              <a:ext uri="{FF2B5EF4-FFF2-40B4-BE49-F238E27FC236}">
                <a16:creationId xmlns:a16="http://schemas.microsoft.com/office/drawing/2014/main" id="{8E7FC33F-854F-43AB-8431-4D9C10D6B71B}"/>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7" name="object 15">
            <a:extLst>
              <a:ext uri="{FF2B5EF4-FFF2-40B4-BE49-F238E27FC236}">
                <a16:creationId xmlns:a16="http://schemas.microsoft.com/office/drawing/2014/main" id="{0EA49E82-F21C-4196-A604-08D0A4108E17}"/>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8" name="object 16">
            <a:extLst>
              <a:ext uri="{FF2B5EF4-FFF2-40B4-BE49-F238E27FC236}">
                <a16:creationId xmlns:a16="http://schemas.microsoft.com/office/drawing/2014/main" id="{816F8A3F-3F5E-47F7-BA0E-5B96CA55C0FA}"/>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09" name="object 17">
            <a:extLst>
              <a:ext uri="{FF2B5EF4-FFF2-40B4-BE49-F238E27FC236}">
                <a16:creationId xmlns:a16="http://schemas.microsoft.com/office/drawing/2014/main" id="{03AB28DF-FAD1-4C88-AAF3-1AB1DA8E3BC7}"/>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0" name="object 18">
            <a:extLst>
              <a:ext uri="{FF2B5EF4-FFF2-40B4-BE49-F238E27FC236}">
                <a16:creationId xmlns:a16="http://schemas.microsoft.com/office/drawing/2014/main" id="{CB032E5F-B707-42AD-B48A-249F291F9C81}"/>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1" name="object 19">
            <a:extLst>
              <a:ext uri="{FF2B5EF4-FFF2-40B4-BE49-F238E27FC236}">
                <a16:creationId xmlns:a16="http://schemas.microsoft.com/office/drawing/2014/main" id="{61DFC4A7-6B66-48B2-B057-8F908EA665C3}"/>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2" name="object 20">
            <a:extLst>
              <a:ext uri="{FF2B5EF4-FFF2-40B4-BE49-F238E27FC236}">
                <a16:creationId xmlns:a16="http://schemas.microsoft.com/office/drawing/2014/main" id="{FD9CF958-1AF1-44D5-AA44-65E97BADFB55}"/>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3" name="object 21">
            <a:extLst>
              <a:ext uri="{FF2B5EF4-FFF2-40B4-BE49-F238E27FC236}">
                <a16:creationId xmlns:a16="http://schemas.microsoft.com/office/drawing/2014/main" id="{6D794779-88DA-404E-B96A-593CFCE299DF}"/>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4" name="object 22">
            <a:extLst>
              <a:ext uri="{FF2B5EF4-FFF2-40B4-BE49-F238E27FC236}">
                <a16:creationId xmlns:a16="http://schemas.microsoft.com/office/drawing/2014/main" id="{C5BF8E7E-A24C-47A1-86B7-87F0FA1B31B0}"/>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5" name="object 23">
            <a:extLst>
              <a:ext uri="{FF2B5EF4-FFF2-40B4-BE49-F238E27FC236}">
                <a16:creationId xmlns:a16="http://schemas.microsoft.com/office/drawing/2014/main" id="{CDCF7931-D3C6-44BA-A457-C67B7A9C2A10}"/>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6" name="object 24">
            <a:extLst>
              <a:ext uri="{FF2B5EF4-FFF2-40B4-BE49-F238E27FC236}">
                <a16:creationId xmlns:a16="http://schemas.microsoft.com/office/drawing/2014/main" id="{0AA350DA-FC81-4B53-B5AA-42C95DE8B820}"/>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17" name="object 25">
            <a:extLst>
              <a:ext uri="{FF2B5EF4-FFF2-40B4-BE49-F238E27FC236}">
                <a16:creationId xmlns:a16="http://schemas.microsoft.com/office/drawing/2014/main" id="{2090F4A6-9504-4E45-9A9C-817687648BB4}"/>
              </a:ext>
            </a:extLst>
          </p:cNvPr>
          <p:cNvSpPr>
            <a:spLocks/>
          </p:cNvSpPr>
          <p:nvPr/>
        </p:nvSpPr>
        <p:spPr bwMode="auto">
          <a:xfrm>
            <a:off x="7712194" y="3978191"/>
            <a:ext cx="738977" cy="595949"/>
          </a:xfrm>
          <a:custGeom>
            <a:avLst/>
            <a:gdLst>
              <a:gd name="T0" fmla="*/ 715914 w 1279931"/>
              <a:gd name="T1" fmla="*/ 0 h 1031581"/>
              <a:gd name="T2" fmla="*/ 675935 w 1279931"/>
              <a:gd name="T3" fmla="*/ 4227 h 1031581"/>
              <a:gd name="T4" fmla="*/ 632493 w 1279931"/>
              <a:gd name="T5" fmla="*/ 25826 h 1031581"/>
              <a:gd name="T6" fmla="*/ 601455 w 1279931"/>
              <a:gd name="T7" fmla="*/ 53244 h 1031581"/>
              <a:gd name="T8" fmla="*/ 575507 w 1279931"/>
              <a:gd name="T9" fmla="*/ 85955 h 1031581"/>
              <a:gd name="T10" fmla="*/ 557813 w 1279931"/>
              <a:gd name="T11" fmla="*/ 129205 h 1031581"/>
              <a:gd name="T12" fmla="*/ 555323 w 1279931"/>
              <a:gd name="T13" fmla="*/ 154768 h 1031581"/>
              <a:gd name="T14" fmla="*/ 555736 w 1279931"/>
              <a:gd name="T15" fmla="*/ 170406 h 1031581"/>
              <a:gd name="T16" fmla="*/ 567472 w 1279931"/>
              <a:gd name="T17" fmla="*/ 217149 h 1031581"/>
              <a:gd name="T18" fmla="*/ 588491 w 1279931"/>
              <a:gd name="T19" fmla="*/ 249109 h 1031581"/>
              <a:gd name="T20" fmla="*/ 620822 w 1279931"/>
              <a:gd name="T21" fmla="*/ 285527 h 1031581"/>
              <a:gd name="T22" fmla="*/ 695085 w 1279931"/>
              <a:gd name="T23" fmla="*/ 357391 h 1031581"/>
              <a:gd name="T24" fmla="*/ 167584 w 1279931"/>
              <a:gd name="T25" fmla="*/ 357391 h 1031581"/>
              <a:gd name="T26" fmla="*/ 125070 w 1279931"/>
              <a:gd name="T27" fmla="*/ 361186 h 1031581"/>
              <a:gd name="T28" fmla="*/ 79749 w 1279931"/>
              <a:gd name="T29" fmla="*/ 380555 h 1031581"/>
              <a:gd name="T30" fmla="*/ 42260 w 1279931"/>
              <a:gd name="T31" fmla="*/ 411417 h 1031581"/>
              <a:gd name="T32" fmla="*/ 19851 w 1279931"/>
              <a:gd name="T33" fmla="*/ 442274 h 1031581"/>
              <a:gd name="T34" fmla="*/ 4508 w 1279931"/>
              <a:gd name="T35" fmla="*/ 478535 h 1031581"/>
              <a:gd name="T36" fmla="*/ 0 w 1279931"/>
              <a:gd name="T37" fmla="*/ 515881 h 1031581"/>
              <a:gd name="T38" fmla="*/ 528 w 1279931"/>
              <a:gd name="T39" fmla="*/ 530124 h 1031581"/>
              <a:gd name="T40" fmla="*/ 8441 w 1279931"/>
              <a:gd name="T41" fmla="*/ 567812 h 1031581"/>
              <a:gd name="T42" fmla="*/ 29370 w 1279931"/>
              <a:gd name="T43" fmla="*/ 604322 h 1031581"/>
              <a:gd name="T44" fmla="*/ 62145 w 1279931"/>
              <a:gd name="T45" fmla="*/ 639298 h 1031581"/>
              <a:gd name="T46" fmla="*/ 94316 w 1279931"/>
              <a:gd name="T47" fmla="*/ 660086 h 1031581"/>
              <a:gd name="T48" fmla="*/ 142207 w 1279931"/>
              <a:gd name="T49" fmla="*/ 673752 h 1031581"/>
              <a:gd name="T50" fmla="*/ 687154 w 1279931"/>
              <a:gd name="T51" fmla="*/ 675071 h 1031581"/>
              <a:gd name="T52" fmla="*/ 601877 w 1279931"/>
              <a:gd name="T53" fmla="*/ 769384 h 1031581"/>
              <a:gd name="T54" fmla="*/ 574941 w 1279931"/>
              <a:gd name="T55" fmla="*/ 804951 h 1031581"/>
              <a:gd name="T56" fmla="*/ 556832 w 1279931"/>
              <a:gd name="T57" fmla="*/ 850481 h 1031581"/>
              <a:gd name="T58" fmla="*/ 555485 w 1279931"/>
              <a:gd name="T59" fmla="*/ 861525 h 1031581"/>
              <a:gd name="T60" fmla="*/ 555879 w 1279931"/>
              <a:gd name="T61" fmla="*/ 876350 h 1031581"/>
              <a:gd name="T62" fmla="*/ 562760 w 1279931"/>
              <a:gd name="T63" fmla="*/ 915168 h 1031581"/>
              <a:gd name="T64" fmla="*/ 586039 w 1279931"/>
              <a:gd name="T65" fmla="*/ 958235 h 1031581"/>
              <a:gd name="T66" fmla="*/ 611807 w 1279931"/>
              <a:gd name="T67" fmla="*/ 986604 h 1031581"/>
              <a:gd name="T68" fmla="*/ 649385 w 1279931"/>
              <a:gd name="T69" fmla="*/ 1015173 h 1031581"/>
              <a:gd name="T70" fmla="*/ 697436 w 1279931"/>
              <a:gd name="T71" fmla="*/ 1030862 h 1031581"/>
              <a:gd name="T72" fmla="*/ 710646 w 1279931"/>
              <a:gd name="T73" fmla="*/ 1032169 h 1031581"/>
              <a:gd name="T74" fmla="*/ 723672 w 1279931"/>
              <a:gd name="T75" fmla="*/ 1031691 h 1031581"/>
              <a:gd name="T76" fmla="*/ 771129 w 1279931"/>
              <a:gd name="T77" fmla="*/ 1018365 h 1031581"/>
              <a:gd name="T78" fmla="*/ 803981 w 1279931"/>
              <a:gd name="T79" fmla="*/ 996446 h 1031581"/>
              <a:gd name="T80" fmla="*/ 952774 w 1279931"/>
              <a:gd name="T81" fmla="*/ 852101 h 1031581"/>
              <a:gd name="T82" fmla="*/ 1030234 w 1279931"/>
              <a:gd name="T83" fmla="*/ 774843 h 1031581"/>
              <a:gd name="T84" fmla="*/ 1093694 w 1279931"/>
              <a:gd name="T85" fmla="*/ 710187 h 1031581"/>
              <a:gd name="T86" fmla="*/ 1143746 w 1279931"/>
              <a:gd name="T87" fmla="*/ 658287 h 1031581"/>
              <a:gd name="T88" fmla="*/ 1279119 w 1279931"/>
              <a:gd name="T89" fmla="*/ 516231 h 1031581"/>
              <a:gd name="T90" fmla="*/ 1131285 w 1279931"/>
              <a:gd name="T91" fmla="*/ 361179 h 1031581"/>
              <a:gd name="T92" fmla="*/ 1081081 w 1279931"/>
              <a:gd name="T93" fmla="*/ 309323 h 1031581"/>
              <a:gd name="T94" fmla="*/ 1017423 w 1279931"/>
              <a:gd name="T95" fmla="*/ 244719 h 1031581"/>
              <a:gd name="T96" fmla="*/ 952774 w 1279931"/>
              <a:gd name="T97" fmla="*/ 180361 h 1031581"/>
              <a:gd name="T98" fmla="*/ 812093 w 1279931"/>
              <a:gd name="T99" fmla="*/ 43673 h 1031581"/>
              <a:gd name="T100" fmla="*/ 777404 w 1279931"/>
              <a:gd name="T101" fmla="*/ 16048 h 1031581"/>
              <a:gd name="T102" fmla="*/ 732589 w 1279931"/>
              <a:gd name="T103" fmla="*/ 286 h 1031581"/>
              <a:gd name="T104" fmla="*/ 715914 w 1279931"/>
              <a:gd name="T105" fmla="*/ 0 h 10315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279931" h="1031581">
                <a:moveTo>
                  <a:pt x="716368" y="0"/>
                </a:moveTo>
                <a:lnTo>
                  <a:pt x="676364" y="4225"/>
                </a:lnTo>
                <a:lnTo>
                  <a:pt x="632895" y="25812"/>
                </a:lnTo>
                <a:lnTo>
                  <a:pt x="601837" y="53214"/>
                </a:lnTo>
                <a:lnTo>
                  <a:pt x="575873" y="85907"/>
                </a:lnTo>
                <a:lnTo>
                  <a:pt x="558167" y="129131"/>
                </a:lnTo>
                <a:lnTo>
                  <a:pt x="555675" y="154680"/>
                </a:lnTo>
                <a:lnTo>
                  <a:pt x="556088" y="170308"/>
                </a:lnTo>
                <a:lnTo>
                  <a:pt x="567832" y="217025"/>
                </a:lnTo>
                <a:lnTo>
                  <a:pt x="588865" y="248967"/>
                </a:lnTo>
                <a:lnTo>
                  <a:pt x="621216" y="285365"/>
                </a:lnTo>
                <a:lnTo>
                  <a:pt x="695527" y="357187"/>
                </a:lnTo>
                <a:lnTo>
                  <a:pt x="167690" y="357187"/>
                </a:lnTo>
                <a:lnTo>
                  <a:pt x="125150" y="360980"/>
                </a:lnTo>
                <a:lnTo>
                  <a:pt x="79799" y="380339"/>
                </a:lnTo>
                <a:lnTo>
                  <a:pt x="42286" y="411183"/>
                </a:lnTo>
                <a:lnTo>
                  <a:pt x="19863" y="442022"/>
                </a:lnTo>
                <a:lnTo>
                  <a:pt x="4510" y="478263"/>
                </a:lnTo>
                <a:lnTo>
                  <a:pt x="0" y="515587"/>
                </a:lnTo>
                <a:lnTo>
                  <a:pt x="528" y="529822"/>
                </a:lnTo>
                <a:lnTo>
                  <a:pt x="8447" y="567488"/>
                </a:lnTo>
                <a:lnTo>
                  <a:pt x="29388" y="603978"/>
                </a:lnTo>
                <a:lnTo>
                  <a:pt x="62185" y="638934"/>
                </a:lnTo>
                <a:lnTo>
                  <a:pt x="94376" y="659710"/>
                </a:lnTo>
                <a:lnTo>
                  <a:pt x="142297" y="673368"/>
                </a:lnTo>
                <a:lnTo>
                  <a:pt x="687590" y="674687"/>
                </a:lnTo>
                <a:lnTo>
                  <a:pt x="602259" y="768946"/>
                </a:lnTo>
                <a:lnTo>
                  <a:pt x="575305" y="804493"/>
                </a:lnTo>
                <a:lnTo>
                  <a:pt x="557186" y="849997"/>
                </a:lnTo>
                <a:lnTo>
                  <a:pt x="555837" y="861035"/>
                </a:lnTo>
                <a:lnTo>
                  <a:pt x="556231" y="875850"/>
                </a:lnTo>
                <a:lnTo>
                  <a:pt x="563118" y="914646"/>
                </a:lnTo>
                <a:lnTo>
                  <a:pt x="586411" y="957689"/>
                </a:lnTo>
                <a:lnTo>
                  <a:pt x="612195" y="986042"/>
                </a:lnTo>
                <a:lnTo>
                  <a:pt x="649797" y="1014595"/>
                </a:lnTo>
                <a:lnTo>
                  <a:pt x="697878" y="1030274"/>
                </a:lnTo>
                <a:lnTo>
                  <a:pt x="711097" y="1031581"/>
                </a:lnTo>
                <a:lnTo>
                  <a:pt x="724132" y="1031103"/>
                </a:lnTo>
                <a:lnTo>
                  <a:pt x="771619" y="1017785"/>
                </a:lnTo>
                <a:lnTo>
                  <a:pt x="804491" y="995878"/>
                </a:lnTo>
                <a:lnTo>
                  <a:pt x="953378" y="851615"/>
                </a:lnTo>
                <a:lnTo>
                  <a:pt x="1030888" y="774401"/>
                </a:lnTo>
                <a:lnTo>
                  <a:pt x="1094388" y="709783"/>
                </a:lnTo>
                <a:lnTo>
                  <a:pt x="1144472" y="657911"/>
                </a:lnTo>
                <a:lnTo>
                  <a:pt x="1279931" y="515937"/>
                </a:lnTo>
                <a:lnTo>
                  <a:pt x="1132003" y="360973"/>
                </a:lnTo>
                <a:lnTo>
                  <a:pt x="1081767" y="309147"/>
                </a:lnTo>
                <a:lnTo>
                  <a:pt x="1018069" y="244579"/>
                </a:lnTo>
                <a:lnTo>
                  <a:pt x="953378" y="180259"/>
                </a:lnTo>
                <a:lnTo>
                  <a:pt x="812609" y="43649"/>
                </a:lnTo>
                <a:lnTo>
                  <a:pt x="777898" y="16038"/>
                </a:lnTo>
                <a:lnTo>
                  <a:pt x="733054" y="286"/>
                </a:lnTo>
                <a:lnTo>
                  <a:pt x="71636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object 27">
            <a:extLst>
              <a:ext uri="{FF2B5EF4-FFF2-40B4-BE49-F238E27FC236}">
                <a16:creationId xmlns:a16="http://schemas.microsoft.com/office/drawing/2014/main" id="{1FE56207-60E4-4ECE-9393-F3A7497E0358}"/>
              </a:ext>
            </a:extLst>
          </p:cNvPr>
          <p:cNvSpPr txBox="1"/>
          <p:nvPr/>
        </p:nvSpPr>
        <p:spPr>
          <a:xfrm>
            <a:off x="3656512" y="2742283"/>
            <a:ext cx="3657295" cy="1533883"/>
          </a:xfrm>
          <a:prstGeom prst="rect">
            <a:avLst/>
          </a:prstGeom>
        </p:spPr>
        <p:txBody>
          <a:bodyPr lIns="0" tIns="0" rIns="0" bIns="0"/>
          <a:lstStyle/>
          <a:p>
            <a:pPr marL="0" marR="0" lvl="0" indent="0" algn="l" defTabSz="457200" rtl="0" eaLnBrk="1" fontAlgn="auto" latinLnBrk="0" hangingPunct="1">
              <a:lnSpc>
                <a:spcPts val="578"/>
              </a:lnSpc>
              <a:spcBef>
                <a:spcPts val="0"/>
              </a:spcBef>
              <a:spcAft>
                <a:spcPts val="0"/>
              </a:spcAft>
              <a:buClrTx/>
              <a:buSzTx/>
              <a:buFontTx/>
              <a:buNone/>
              <a:tabLst/>
              <a:defRPr/>
            </a:pPr>
            <a:endParaRPr lang="en-US" sz="2400" dirty="0">
              <a:solidFill>
                <a:prstClr val="black"/>
              </a:solidFill>
              <a:latin typeface="Calibri" panose="020F0502020204030204"/>
            </a:endParaRPr>
          </a:p>
          <a:p>
            <a:pPr marL="0" marR="0" lvl="0" indent="0" algn="l" defTabSz="457200" rtl="0" eaLnBrk="1" fontAlgn="auto" latinLnBrk="0" hangingPunct="1">
              <a:lnSpc>
                <a:spcPts val="578"/>
              </a:lnSpc>
              <a:spcBef>
                <a:spcPts val="0"/>
              </a:spcBef>
              <a:spcAft>
                <a:spcPts val="0"/>
              </a:spcAft>
              <a:buClrTx/>
              <a:buSzTx/>
              <a:buFontTx/>
              <a:buNone/>
              <a:tabLst/>
              <a:defRPr/>
            </a:pPr>
            <a:endParaRPr lang="en-US" sz="2400" dirty="0">
              <a:solidFill>
                <a:prstClr val="black"/>
              </a:solidFill>
              <a:latin typeface="Calibri" panose="020F0502020204030204"/>
            </a:endParaRPr>
          </a:p>
          <a:p>
            <a:pPr marL="0" marR="0" lvl="0" indent="0" algn="l" defTabSz="457200" rtl="0" eaLnBrk="1" fontAlgn="auto" latinLnBrk="0" hangingPunct="1">
              <a:lnSpc>
                <a:spcPts val="578"/>
              </a:lnSpc>
              <a:spcBef>
                <a:spcPts val="0"/>
              </a:spcBef>
              <a:spcAft>
                <a:spcPts val="0"/>
              </a:spcAft>
              <a:buClrTx/>
              <a:buSzTx/>
              <a:buFontTx/>
              <a:buNone/>
              <a:tabLst/>
              <a:defRPr/>
            </a:pPr>
            <a:endParaRPr lang="en-US" sz="2400" dirty="0">
              <a:solidFill>
                <a:prstClr val="black"/>
              </a:solidFill>
              <a:latin typeface="Calibri" panose="020F0502020204030204"/>
            </a:endParaRPr>
          </a:p>
          <a:p>
            <a:pPr marL="0" marR="0" lvl="0" indent="0" algn="l" defTabSz="457200" rtl="0" eaLnBrk="1" fontAlgn="auto" latinLnBrk="0" hangingPunct="1">
              <a:lnSpc>
                <a:spcPts val="578"/>
              </a:lnSpc>
              <a:spcBef>
                <a:spcPts val="0"/>
              </a:spcBef>
              <a:spcAft>
                <a:spcPts val="0"/>
              </a:spcAft>
              <a:buClrTx/>
              <a:buSzTx/>
              <a:buFontTx/>
              <a:buNone/>
              <a:tabLst/>
              <a:defRPr/>
            </a:pPr>
            <a:endParaRPr lang="en-US" sz="2400" dirty="0">
              <a:solidFill>
                <a:prstClr val="black"/>
              </a:solidFill>
              <a:latin typeface="Calibri" panose="020F0502020204030204"/>
            </a:endParaRPr>
          </a:p>
          <a:p>
            <a:pPr marL="0" marR="0" lvl="0" indent="0" algn="l" defTabSz="457200" rtl="0" eaLnBrk="1" fontAlgn="auto" latinLnBrk="0" hangingPunct="1">
              <a:lnSpc>
                <a:spcPts val="578"/>
              </a:lnSpc>
              <a:spcBef>
                <a:spcPts val="0"/>
              </a:spcBef>
              <a:spcAft>
                <a:spcPts val="0"/>
              </a:spcAft>
              <a:buClrTx/>
              <a:buSzTx/>
              <a:buFontTx/>
              <a:buNone/>
              <a:tabLst/>
              <a:defRPr/>
            </a:pPr>
            <a:endParaRPr lang="en-US" sz="2400" dirty="0">
              <a:solidFill>
                <a:prstClr val="black"/>
              </a:solidFill>
              <a:latin typeface="Calibri" panose="020F0502020204030204"/>
            </a:endParaRPr>
          </a:p>
          <a:p>
            <a:pPr marL="0" marR="0" lvl="0" indent="0" algn="l" defTabSz="457200" rtl="0" eaLnBrk="1" fontAlgn="auto" latinLnBrk="0" hangingPunct="1">
              <a:lnSpc>
                <a:spcPts val="578"/>
              </a:lnSpc>
              <a:spcBef>
                <a:spcPts val="0"/>
              </a:spcBef>
              <a:spcAft>
                <a:spcPts val="0"/>
              </a:spcAft>
              <a:buClrTx/>
              <a:buSzTx/>
              <a:buFontTx/>
              <a:buNone/>
              <a:tabLst/>
              <a:defRPr/>
            </a:pPr>
            <a:endParaRPr lang="en-US" sz="2400" dirty="0">
              <a:solidFill>
                <a:prstClr val="black"/>
              </a:solidFill>
              <a:latin typeface="Calibri" panose="020F0502020204030204"/>
            </a:endParaRPr>
          </a:p>
          <a:p>
            <a:pPr marL="0" marR="0" lvl="0" indent="0" algn="l" defTabSz="457200" rtl="0" eaLnBrk="1" fontAlgn="auto" latinLnBrk="0" hangingPunct="1">
              <a:lnSpc>
                <a:spcPts val="578"/>
              </a:lnSpc>
              <a:spcBef>
                <a:spcPts val="0"/>
              </a:spcBef>
              <a:spcAft>
                <a:spcPts val="0"/>
              </a:spcAft>
              <a:buClrTx/>
              <a:buSzTx/>
              <a:buFontTx/>
              <a:buNone/>
              <a:tabLst/>
              <a:defRPr/>
            </a:pPr>
            <a:r>
              <a:rPr lang="en-US" sz="2400" dirty="0" err="1">
                <a:solidFill>
                  <a:prstClr val="black"/>
                </a:solidFill>
                <a:latin typeface="Calibri" panose="020F0502020204030204"/>
              </a:rPr>
              <a:t>စိတ်ဖိစီးမှု</a:t>
            </a:r>
            <a:r>
              <a:rPr lang="en-US" sz="2400" dirty="0">
                <a:solidFill>
                  <a:prstClr val="black"/>
                </a:solidFill>
                <a:latin typeface="Calibri" panose="020F0502020204030204"/>
              </a:rPr>
              <a:t> </a:t>
            </a:r>
            <a:r>
              <a:rPr lang="en-US" sz="2400" dirty="0" err="1">
                <a:solidFill>
                  <a:prstClr val="black"/>
                </a:solidFill>
                <a:latin typeface="Calibri" panose="020F0502020204030204"/>
              </a:rPr>
              <a:t>ပုံစံများ</a:t>
            </a:r>
            <a:endParaRPr sz="2400" dirty="0"/>
          </a:p>
        </p:txBody>
      </p:sp>
      <p:sp>
        <p:nvSpPr>
          <p:cNvPr id="8219" name="object 28">
            <a:extLst>
              <a:ext uri="{FF2B5EF4-FFF2-40B4-BE49-F238E27FC236}">
                <a16:creationId xmlns:a16="http://schemas.microsoft.com/office/drawing/2014/main" id="{7AA1BCB8-1C07-4DD0-9C0B-EF3E66E0DB8C}"/>
              </a:ext>
            </a:extLst>
          </p:cNvPr>
          <p:cNvSpPr>
            <a:spLocks/>
          </p:cNvSpPr>
          <p:nvPr/>
        </p:nvSpPr>
        <p:spPr bwMode="auto">
          <a:xfrm>
            <a:off x="2445" y="622538"/>
            <a:ext cx="7335676" cy="780235"/>
          </a:xfrm>
          <a:custGeom>
            <a:avLst/>
            <a:gdLst>
              <a:gd name="T0" fmla="*/ 12702376 w 12700800"/>
              <a:gd name="T1" fmla="*/ 0 h 1349997"/>
              <a:gd name="T2" fmla="*/ 0 w 12700800"/>
              <a:gd name="T3" fmla="*/ 0 h 1349997"/>
              <a:gd name="T4" fmla="*/ 0 w 12700800"/>
              <a:gd name="T5" fmla="*/ 1351928 h 1349997"/>
              <a:gd name="T6" fmla="*/ 12220884 w 12700800"/>
              <a:gd name="T7" fmla="*/ 1351266 h 1349997"/>
              <a:gd name="T8" fmla="*/ 12296757 w 12700800"/>
              <a:gd name="T9" fmla="*/ 1349695 h 1349997"/>
              <a:gd name="T10" fmla="*/ 12364209 w 12700800"/>
              <a:gd name="T11" fmla="*/ 1346637 h 1349997"/>
              <a:gd name="T12" fmla="*/ 12423735 w 12700800"/>
              <a:gd name="T13" fmla="*/ 1341594 h 1349997"/>
              <a:gd name="T14" fmla="*/ 12475830 w 12700800"/>
              <a:gd name="T15" fmla="*/ 1334071 h 1349997"/>
              <a:gd name="T16" fmla="*/ 12520991 w 12700800"/>
              <a:gd name="T17" fmla="*/ 1323572 h 1349997"/>
              <a:gd name="T18" fmla="*/ 12559711 w 12700800"/>
              <a:gd name="T19" fmla="*/ 1309601 h 1349997"/>
              <a:gd name="T20" fmla="*/ 12619816 w 12700800"/>
              <a:gd name="T21" fmla="*/ 1269260 h 1349997"/>
              <a:gd name="T22" fmla="*/ 12660104 w 12700800"/>
              <a:gd name="T23" fmla="*/ 1209077 h 1349997"/>
              <a:gd name="T24" fmla="*/ 12674057 w 12700800"/>
              <a:gd name="T25" fmla="*/ 1170305 h 1349997"/>
              <a:gd name="T26" fmla="*/ 12684543 w 12700800"/>
              <a:gd name="T27" fmla="*/ 1125087 h 1349997"/>
              <a:gd name="T28" fmla="*/ 12692055 w 12700800"/>
              <a:gd name="T29" fmla="*/ 1072923 h 1349997"/>
              <a:gd name="T30" fmla="*/ 12697092 w 12700800"/>
              <a:gd name="T31" fmla="*/ 1013319 h 1349997"/>
              <a:gd name="T32" fmla="*/ 12700147 w 12700800"/>
              <a:gd name="T33" fmla="*/ 945780 h 1349997"/>
              <a:gd name="T34" fmla="*/ 12701715 w 12700800"/>
              <a:gd name="T35" fmla="*/ 869807 h 1349997"/>
              <a:gd name="T36" fmla="*/ 12702293 w 12700800"/>
              <a:gd name="T37" fmla="*/ 784907 h 1349997"/>
              <a:gd name="T38" fmla="*/ 12702376 w 12700800"/>
              <a:gd name="T39" fmla="*/ 0 h 13499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700800" h="1349997">
                <a:moveTo>
                  <a:pt x="12700800" y="0"/>
                </a:moveTo>
                <a:lnTo>
                  <a:pt x="0" y="0"/>
                </a:lnTo>
                <a:lnTo>
                  <a:pt x="0" y="1349997"/>
                </a:lnTo>
                <a:lnTo>
                  <a:pt x="12219368" y="1349336"/>
                </a:lnTo>
                <a:lnTo>
                  <a:pt x="12295231" y="1347768"/>
                </a:lnTo>
                <a:lnTo>
                  <a:pt x="12362675" y="1344714"/>
                </a:lnTo>
                <a:lnTo>
                  <a:pt x="12422193" y="1339678"/>
                </a:lnTo>
                <a:lnTo>
                  <a:pt x="12474282" y="1332166"/>
                </a:lnTo>
                <a:lnTo>
                  <a:pt x="12519437" y="1321682"/>
                </a:lnTo>
                <a:lnTo>
                  <a:pt x="12558153" y="1307731"/>
                </a:lnTo>
                <a:lnTo>
                  <a:pt x="12618250" y="1267447"/>
                </a:lnTo>
                <a:lnTo>
                  <a:pt x="12658534" y="1207350"/>
                </a:lnTo>
                <a:lnTo>
                  <a:pt x="12672485" y="1168634"/>
                </a:lnTo>
                <a:lnTo>
                  <a:pt x="12682969" y="1123480"/>
                </a:lnTo>
                <a:lnTo>
                  <a:pt x="12690481" y="1071391"/>
                </a:lnTo>
                <a:lnTo>
                  <a:pt x="12695516" y="1011872"/>
                </a:lnTo>
                <a:lnTo>
                  <a:pt x="12698571" y="944429"/>
                </a:lnTo>
                <a:lnTo>
                  <a:pt x="12700139" y="868565"/>
                </a:lnTo>
                <a:lnTo>
                  <a:pt x="12700717" y="783786"/>
                </a:lnTo>
                <a:lnTo>
                  <a:pt x="12700800"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object 29">
            <a:extLst>
              <a:ext uri="{FF2B5EF4-FFF2-40B4-BE49-F238E27FC236}">
                <a16:creationId xmlns:a16="http://schemas.microsoft.com/office/drawing/2014/main" id="{6ADAB920-8391-4CE7-A38E-B3A121029CD2}"/>
              </a:ext>
            </a:extLst>
          </p:cNvPr>
          <p:cNvSpPr txBox="1">
            <a:spLocks noGrp="1"/>
          </p:cNvSpPr>
          <p:nvPr>
            <p:ph type="title"/>
          </p:nvPr>
        </p:nvSpPr>
        <p:spPr>
          <a:xfrm>
            <a:off x="-228600" y="309894"/>
            <a:ext cx="8744226" cy="1380768"/>
          </a:xfrm>
        </p:spPr>
        <p:txBody>
          <a:bodyPr vert="horz" wrap="square" lIns="91440" tIns="278603" rIns="91440" bIns="45720" numCol="1" rtlCol="0" anchor="ctr" anchorCtr="0" compatLnSpc="1">
            <a:prstTxWarp prst="textNoShape">
              <a:avLst/>
            </a:prstTxWarp>
            <a:noAutofit/>
          </a:bodyPr>
          <a:lstStyle/>
          <a:p>
            <a:pPr marL="211960" eaLnBrk="1" fontAlgn="auto" hangingPunct="1">
              <a:lnSpc>
                <a:spcPct val="100000"/>
              </a:lnSpc>
              <a:spcAft>
                <a:spcPts val="0"/>
              </a:spcAft>
              <a:defRPr/>
            </a:pPr>
            <a:r>
              <a:rPr lang="en-US" sz="2400" dirty="0" err="1">
                <a:solidFill>
                  <a:schemeClr val="bg1"/>
                </a:solidFill>
              </a:rPr>
              <a:t>ဝန်ထမ်းများအတွက</a:t>
            </a:r>
            <a:r>
              <a:rPr lang="en-US" sz="2400" dirty="0">
                <a:solidFill>
                  <a:schemeClr val="bg1"/>
                </a:solidFill>
              </a:rPr>
              <a:t>် </a:t>
            </a:r>
            <a:r>
              <a:rPr lang="en-US" sz="2400" dirty="0" err="1">
                <a:solidFill>
                  <a:schemeClr val="bg1"/>
                </a:solidFill>
              </a:rPr>
              <a:t>စိတ်ဖိစီးမှုကို</a:t>
            </a:r>
            <a:r>
              <a:rPr lang="en-US" sz="2400" dirty="0">
                <a:solidFill>
                  <a:schemeClr val="bg1"/>
                </a:solidFill>
              </a:rPr>
              <a:t> </a:t>
            </a:r>
            <a:r>
              <a:rPr lang="en-US" sz="2400" dirty="0" err="1">
                <a:solidFill>
                  <a:schemeClr val="bg1"/>
                </a:solidFill>
              </a:rPr>
              <a:t>စီမံခန</a:t>
            </a:r>
            <a:r>
              <a:rPr lang="en-US" sz="2400" dirty="0">
                <a:solidFill>
                  <a:schemeClr val="bg1"/>
                </a:solidFill>
              </a:rPr>
              <a:t>့်</a:t>
            </a:r>
            <a:r>
              <a:rPr lang="en-US" sz="2400" dirty="0" err="1">
                <a:solidFill>
                  <a:schemeClr val="bg1"/>
                </a:solidFill>
              </a:rPr>
              <a:t>ခွဲခြင်းနည်းလမ်များ</a:t>
            </a:r>
            <a:endParaRPr sz="2400" dirty="0">
              <a:solidFill>
                <a:schemeClr val="bg1"/>
              </a:solidFill>
            </a:endParaRPr>
          </a:p>
        </p:txBody>
      </p:sp>
      <p:sp>
        <p:nvSpPr>
          <p:cNvPr id="30" name="object 30">
            <a:extLst>
              <a:ext uri="{FF2B5EF4-FFF2-40B4-BE49-F238E27FC236}">
                <a16:creationId xmlns:a16="http://schemas.microsoft.com/office/drawing/2014/main" id="{B1887571-DA8C-478C-809D-DFE3B7398926}"/>
              </a:ext>
            </a:extLst>
          </p:cNvPr>
          <p:cNvSpPr txBox="1"/>
          <p:nvPr/>
        </p:nvSpPr>
        <p:spPr>
          <a:xfrm>
            <a:off x="20816" y="4713813"/>
            <a:ext cx="69313" cy="855600"/>
          </a:xfrm>
          <a:prstGeom prst="rect">
            <a:avLst/>
          </a:prstGeom>
        </p:spPr>
        <p:txBody>
          <a:bodyPr vert="vert270"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sz="404" b="0" i="0" u="none" strike="noStrike" kern="1200" cap="none" spc="0" normalizeH="0" baseline="0" noProof="0" dirty="0">
                <a:ln>
                  <a:noFill/>
                </a:ln>
                <a:solidFill>
                  <a:srgbClr val="FFFFFF"/>
                </a:solidFill>
                <a:effectLst/>
                <a:uLnTx/>
                <a:uFillTx/>
                <a:latin typeface="Gill Sans"/>
                <a:ea typeface="+mn-ea"/>
                <a:cs typeface="Gill Sans"/>
              </a:rPr>
              <a:t>Karin Beate Nøsterud/S</a:t>
            </a:r>
            <a:r>
              <a:rPr kumimoji="0" sz="404" b="0" i="0" u="none" strike="noStrike" kern="1200" cap="none" spc="-17" normalizeH="0" baseline="0" noProof="0" dirty="0">
                <a:ln>
                  <a:noFill/>
                </a:ln>
                <a:solidFill>
                  <a:srgbClr val="FFFFFF"/>
                </a:solidFill>
                <a:effectLst/>
                <a:uLnTx/>
                <a:uFillTx/>
                <a:latin typeface="Gill Sans"/>
                <a:ea typeface="+mn-ea"/>
                <a:cs typeface="Gill Sans"/>
              </a:rPr>
              <a:t>a</a:t>
            </a:r>
            <a:r>
              <a:rPr kumimoji="0" sz="404" b="0" i="0" u="none" strike="noStrike" kern="1200" cap="none" spc="-9" normalizeH="0" baseline="0" noProof="0" dirty="0">
                <a:ln>
                  <a:noFill/>
                </a:ln>
                <a:solidFill>
                  <a:srgbClr val="FFFFFF"/>
                </a:solidFill>
                <a:effectLst/>
                <a:uLnTx/>
                <a:uFillTx/>
                <a:latin typeface="Gill Sans"/>
                <a:ea typeface="+mn-ea"/>
                <a:cs typeface="Gill Sans"/>
              </a:rPr>
              <a:t>v</a:t>
            </a:r>
            <a:r>
              <a:rPr kumimoji="0" sz="404" b="0" i="0" u="none" strike="noStrike" kern="1200" cap="none" spc="0" normalizeH="0" baseline="0" noProof="0" dirty="0">
                <a:ln>
                  <a:noFill/>
                </a:ln>
                <a:solidFill>
                  <a:srgbClr val="FFFFFF"/>
                </a:solidFill>
                <a:effectLst/>
                <a:uLnTx/>
                <a:uFillTx/>
                <a:latin typeface="Gill Sans"/>
                <a:ea typeface="+mn-ea"/>
                <a:cs typeface="Gill Sans"/>
              </a:rPr>
              <a:t>e the Child</a:t>
            </a:r>
            <a:r>
              <a:rPr kumimoji="0" sz="404" b="0" i="0" u="none" strike="noStrike" kern="1200" cap="none" spc="-9" normalizeH="0" baseline="0" noProof="0" dirty="0">
                <a:ln>
                  <a:noFill/>
                </a:ln>
                <a:solidFill>
                  <a:srgbClr val="FFFFFF"/>
                </a:solidFill>
                <a:effectLst/>
                <a:uLnTx/>
                <a:uFillTx/>
                <a:latin typeface="Gill Sans"/>
                <a:ea typeface="+mn-ea"/>
                <a:cs typeface="Gill Sans"/>
              </a:rPr>
              <a:t>r</a:t>
            </a:r>
            <a:r>
              <a:rPr kumimoji="0" sz="404" b="0" i="0" u="none" strike="noStrike" kern="1200" cap="none" spc="0" normalizeH="0" baseline="0" noProof="0" dirty="0">
                <a:ln>
                  <a:noFill/>
                </a:ln>
                <a:solidFill>
                  <a:srgbClr val="FFFFFF"/>
                </a:solidFill>
                <a:effectLst/>
                <a:uLnTx/>
                <a:uFillTx/>
                <a:latin typeface="Gill Sans"/>
                <a:ea typeface="+mn-ea"/>
                <a:cs typeface="Gill Sans"/>
              </a:rPr>
              <a:t>en</a:t>
            </a:r>
            <a:endParaRPr kumimoji="0" sz="404" b="0" i="0" u="none" strike="noStrike" kern="1200" cap="none" spc="0" normalizeH="0" baseline="0" noProof="0">
              <a:ln>
                <a:noFill/>
              </a:ln>
              <a:solidFill>
                <a:prstClr val="black"/>
              </a:solidFill>
              <a:effectLst/>
              <a:uLnTx/>
              <a:uFillTx/>
              <a:latin typeface="Gill Sans"/>
              <a:ea typeface="+mn-ea"/>
              <a:cs typeface="Gill Sans"/>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object 2">
            <a:extLst>
              <a:ext uri="{FF2B5EF4-FFF2-40B4-BE49-F238E27FC236}">
                <a16:creationId xmlns:a16="http://schemas.microsoft.com/office/drawing/2014/main" id="{3436E5C8-8D21-486E-A1B3-D2E99D47928B}"/>
              </a:ext>
            </a:extLst>
          </p:cNvPr>
          <p:cNvSpPr>
            <a:spLocks/>
          </p:cNvSpPr>
          <p:nvPr/>
        </p:nvSpPr>
        <p:spPr bwMode="auto">
          <a:xfrm>
            <a:off x="2445" y="5795377"/>
            <a:ext cx="9140027" cy="118273"/>
          </a:xfrm>
          <a:custGeom>
            <a:avLst/>
            <a:gdLst>
              <a:gd name="T0" fmla="*/ 0 w 15825596"/>
              <a:gd name="T1" fmla="*/ 0 h 204177"/>
              <a:gd name="T2" fmla="*/ 0 w 15825596"/>
              <a:gd name="T3" fmla="*/ 205399 h 204177"/>
              <a:gd name="T4" fmla="*/ 15825980 w 15825596"/>
              <a:gd name="T5" fmla="*/ 205399 h 204177"/>
              <a:gd name="T6" fmla="*/ 15825980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19" name="object 3">
            <a:extLst>
              <a:ext uri="{FF2B5EF4-FFF2-40B4-BE49-F238E27FC236}">
                <a16:creationId xmlns:a16="http://schemas.microsoft.com/office/drawing/2014/main" id="{0E408C43-854A-4F22-9C9E-0D153621DB0C}"/>
              </a:ext>
            </a:extLst>
          </p:cNvPr>
          <p:cNvSpPr>
            <a:spLocks/>
          </p:cNvSpPr>
          <p:nvPr/>
        </p:nvSpPr>
        <p:spPr bwMode="auto">
          <a:xfrm>
            <a:off x="2445" y="5603756"/>
            <a:ext cx="1435779" cy="191621"/>
          </a:xfrm>
          <a:custGeom>
            <a:avLst/>
            <a:gdLst>
              <a:gd name="T0" fmla="*/ 0 w 2486525"/>
              <a:gd name="T1" fmla="*/ 330940 h 332638"/>
              <a:gd name="T2" fmla="*/ 2438021 w 2486525"/>
              <a:gd name="T3" fmla="*/ 330940 h 332638"/>
              <a:gd name="T4" fmla="*/ 2460182 w 2486525"/>
              <a:gd name="T5" fmla="*/ 330621 h 332638"/>
              <a:gd name="T6" fmla="*/ 2485517 w 2486525"/>
              <a:gd name="T7" fmla="*/ 291061 h 332638"/>
              <a:gd name="T8" fmla="*/ 2485525 w 2486525"/>
              <a:gd name="T9" fmla="*/ 47281 h 332638"/>
              <a:gd name="T10" fmla="*/ 2485204 w 2486525"/>
              <a:gd name="T11" fmla="*/ 25222 h 332638"/>
              <a:gd name="T12" fmla="*/ 2445458 w 2486525"/>
              <a:gd name="T13" fmla="*/ 7 h 332638"/>
              <a:gd name="T14" fmla="*/ 0 w 2486525"/>
              <a:gd name="T15" fmla="*/ 0 h 332638"/>
              <a:gd name="T16" fmla="*/ 0 w 2486525"/>
              <a:gd name="T17" fmla="*/ 330940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0" name="object 4">
            <a:extLst>
              <a:ext uri="{FF2B5EF4-FFF2-40B4-BE49-F238E27FC236}">
                <a16:creationId xmlns:a16="http://schemas.microsoft.com/office/drawing/2014/main" id="{90BA590E-28AC-4D60-88E0-A9CE4B96BD70}"/>
              </a:ext>
            </a:extLst>
          </p:cNvPr>
          <p:cNvSpPr>
            <a:spLocks/>
          </p:cNvSpPr>
          <p:nvPr/>
        </p:nvSpPr>
        <p:spPr bwMode="auto">
          <a:xfrm>
            <a:off x="2445" y="0"/>
            <a:ext cx="9140027" cy="118273"/>
          </a:xfrm>
          <a:custGeom>
            <a:avLst/>
            <a:gdLst>
              <a:gd name="T0" fmla="*/ 0 w 15825596"/>
              <a:gd name="T1" fmla="*/ 205401 h 204177"/>
              <a:gd name="T2" fmla="*/ 15825980 w 15825596"/>
              <a:gd name="T3" fmla="*/ 205401 h 204177"/>
              <a:gd name="T4" fmla="*/ 15825980 w 15825596"/>
              <a:gd name="T5" fmla="*/ 0 h 204177"/>
              <a:gd name="T6" fmla="*/ 0 w 15825596"/>
              <a:gd name="T7" fmla="*/ 0 h 204177"/>
              <a:gd name="T8" fmla="*/ 0 w 15825596"/>
              <a:gd name="T9" fmla="*/ 205401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1" name="object 5">
            <a:extLst>
              <a:ext uri="{FF2B5EF4-FFF2-40B4-BE49-F238E27FC236}">
                <a16:creationId xmlns:a16="http://schemas.microsoft.com/office/drawing/2014/main" id="{0B556E06-9C2D-4D34-962F-F621BF0BECAA}"/>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2" name="object 6">
            <a:extLst>
              <a:ext uri="{FF2B5EF4-FFF2-40B4-BE49-F238E27FC236}">
                <a16:creationId xmlns:a16="http://schemas.microsoft.com/office/drawing/2014/main" id="{332B196D-BF94-453C-80C6-220028830E2E}"/>
              </a:ext>
            </a:extLst>
          </p:cNvPr>
          <p:cNvSpPr txBox="1">
            <a:spLocks noChangeArrowheads="1"/>
          </p:cNvSpPr>
          <p:nvPr/>
        </p:nvSpPr>
        <p:spPr bwMode="auto">
          <a:xfrm>
            <a:off x="8580445" y="275053"/>
            <a:ext cx="278721"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10</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9223" name="object 7">
            <a:extLst>
              <a:ext uri="{FF2B5EF4-FFF2-40B4-BE49-F238E27FC236}">
                <a16:creationId xmlns:a16="http://schemas.microsoft.com/office/drawing/2014/main" id="{7F3D787F-D848-4763-B7EA-8A654EC915A4}"/>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4" name="object 8">
            <a:extLst>
              <a:ext uri="{FF2B5EF4-FFF2-40B4-BE49-F238E27FC236}">
                <a16:creationId xmlns:a16="http://schemas.microsoft.com/office/drawing/2014/main" id="{67B5FFCC-C93C-4551-95C5-B39742A07E14}"/>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5" name="object 9">
            <a:extLst>
              <a:ext uri="{FF2B5EF4-FFF2-40B4-BE49-F238E27FC236}">
                <a16:creationId xmlns:a16="http://schemas.microsoft.com/office/drawing/2014/main" id="{FEB418DB-9A69-4B3C-9D7C-2B75ADE21B69}"/>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6" name="object 10">
            <a:extLst>
              <a:ext uri="{FF2B5EF4-FFF2-40B4-BE49-F238E27FC236}">
                <a16:creationId xmlns:a16="http://schemas.microsoft.com/office/drawing/2014/main" id="{DA91D657-401D-4236-9722-BF44BDA6CFCE}"/>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7" name="object 11">
            <a:extLst>
              <a:ext uri="{FF2B5EF4-FFF2-40B4-BE49-F238E27FC236}">
                <a16:creationId xmlns:a16="http://schemas.microsoft.com/office/drawing/2014/main" id="{27150CBB-B718-4770-87E8-DA7263BB65AB}"/>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8" name="object 12">
            <a:extLst>
              <a:ext uri="{FF2B5EF4-FFF2-40B4-BE49-F238E27FC236}">
                <a16:creationId xmlns:a16="http://schemas.microsoft.com/office/drawing/2014/main" id="{B23E8F61-CBD5-4DF8-A152-D469C3030993}"/>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9" name="object 13">
            <a:extLst>
              <a:ext uri="{FF2B5EF4-FFF2-40B4-BE49-F238E27FC236}">
                <a16:creationId xmlns:a16="http://schemas.microsoft.com/office/drawing/2014/main" id="{4B7376A8-665F-49C1-A6BF-FE34ABCED65D}"/>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0" name="object 14">
            <a:extLst>
              <a:ext uri="{FF2B5EF4-FFF2-40B4-BE49-F238E27FC236}">
                <a16:creationId xmlns:a16="http://schemas.microsoft.com/office/drawing/2014/main" id="{2657054D-2299-45FC-9001-A80710973940}"/>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1" name="object 15">
            <a:extLst>
              <a:ext uri="{FF2B5EF4-FFF2-40B4-BE49-F238E27FC236}">
                <a16:creationId xmlns:a16="http://schemas.microsoft.com/office/drawing/2014/main" id="{274A4403-4499-4AC0-8959-B6E3C80DD3D3}"/>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2" name="object 16">
            <a:extLst>
              <a:ext uri="{FF2B5EF4-FFF2-40B4-BE49-F238E27FC236}">
                <a16:creationId xmlns:a16="http://schemas.microsoft.com/office/drawing/2014/main" id="{D371261C-4B28-4050-95C8-D8E75D133C75}"/>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3" name="object 17">
            <a:extLst>
              <a:ext uri="{FF2B5EF4-FFF2-40B4-BE49-F238E27FC236}">
                <a16:creationId xmlns:a16="http://schemas.microsoft.com/office/drawing/2014/main" id="{C89A8D52-287F-453C-8A87-F9938CC056BC}"/>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4" name="object 18">
            <a:extLst>
              <a:ext uri="{FF2B5EF4-FFF2-40B4-BE49-F238E27FC236}">
                <a16:creationId xmlns:a16="http://schemas.microsoft.com/office/drawing/2014/main" id="{A08C73FB-F82B-47A8-AAF6-B40051EB582F}"/>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5" name="object 19">
            <a:extLst>
              <a:ext uri="{FF2B5EF4-FFF2-40B4-BE49-F238E27FC236}">
                <a16:creationId xmlns:a16="http://schemas.microsoft.com/office/drawing/2014/main" id="{3F7CDA1F-9B2C-4E8A-9417-6CA765FF1BEB}"/>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6" name="object 20">
            <a:extLst>
              <a:ext uri="{FF2B5EF4-FFF2-40B4-BE49-F238E27FC236}">
                <a16:creationId xmlns:a16="http://schemas.microsoft.com/office/drawing/2014/main" id="{0075EF11-C4F2-4882-9963-C1DB111515F1}"/>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7" name="object 21">
            <a:extLst>
              <a:ext uri="{FF2B5EF4-FFF2-40B4-BE49-F238E27FC236}">
                <a16:creationId xmlns:a16="http://schemas.microsoft.com/office/drawing/2014/main" id="{EACFBED3-637E-4363-AB1D-DCF1BB920AB1}"/>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8" name="object 22">
            <a:extLst>
              <a:ext uri="{FF2B5EF4-FFF2-40B4-BE49-F238E27FC236}">
                <a16:creationId xmlns:a16="http://schemas.microsoft.com/office/drawing/2014/main" id="{60FF1406-C67B-4D54-98E7-59BC8AA0BCEE}"/>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9" name="object 23">
            <a:extLst>
              <a:ext uri="{FF2B5EF4-FFF2-40B4-BE49-F238E27FC236}">
                <a16:creationId xmlns:a16="http://schemas.microsoft.com/office/drawing/2014/main" id="{7063EF43-C62F-472B-8CFF-1E3305B143BD}"/>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24">
            <a:extLst>
              <a:ext uri="{FF2B5EF4-FFF2-40B4-BE49-F238E27FC236}">
                <a16:creationId xmlns:a16="http://schemas.microsoft.com/office/drawing/2014/main" id="{3960F750-3317-4548-9D89-5EC82D109B53}"/>
              </a:ext>
            </a:extLst>
          </p:cNvPr>
          <p:cNvSpPr txBox="1"/>
          <p:nvPr/>
        </p:nvSpPr>
        <p:spPr>
          <a:xfrm>
            <a:off x="3000069" y="714893"/>
            <a:ext cx="3040258" cy="484094"/>
          </a:xfrm>
          <a:prstGeom prst="rect">
            <a:avLst/>
          </a:prstGeom>
        </p:spPr>
        <p:txBody>
          <a:bodyPr lIns="0" tIns="0" rIns="0" bIns="0"/>
          <a:lstStyle/>
          <a:p>
            <a:pPr marL="0" marR="0" lvl="0" indent="0" algn="l" defTabSz="457200" rtl="0" eaLnBrk="1" fontAlgn="auto" latinLnBrk="0" hangingPunct="1">
              <a:lnSpc>
                <a:spcPts val="578"/>
              </a:lnSpc>
              <a:spcBef>
                <a:spcPts val="0"/>
              </a:spcBef>
              <a:spcAft>
                <a:spcPts val="0"/>
              </a:spcAft>
              <a:buClrTx/>
              <a:buSzTx/>
              <a:buFontTx/>
              <a:buNone/>
              <a:tabLst/>
              <a:defRPr/>
            </a:pPr>
            <a:endParaRPr lang="my-MM" sz="2400" dirty="0">
              <a:solidFill>
                <a:srgbClr val="FA0007"/>
              </a:solidFill>
              <a:latin typeface="Calibri" panose="020F0502020204030204"/>
            </a:endParaRPr>
          </a:p>
          <a:p>
            <a:pPr marL="0" marR="0" lvl="0" indent="0" algn="l" defTabSz="457200" rtl="0" eaLnBrk="1" fontAlgn="auto" latinLnBrk="0" hangingPunct="1">
              <a:lnSpc>
                <a:spcPts val="578"/>
              </a:lnSpc>
              <a:spcBef>
                <a:spcPts val="0"/>
              </a:spcBef>
              <a:spcAft>
                <a:spcPts val="0"/>
              </a:spcAft>
              <a:buClrTx/>
              <a:buSzTx/>
              <a:buFontTx/>
              <a:buNone/>
              <a:tabLst/>
              <a:defRPr/>
            </a:pPr>
            <a:r>
              <a:rPr lang="my-MM" sz="2400" dirty="0">
                <a:solidFill>
                  <a:srgbClr val="FA0007"/>
                </a:solidFill>
                <a:latin typeface="Calibri" panose="020F0502020204030204"/>
              </a:rPr>
              <a:t>စိတ်ဖိစီးမှု ပုံစံများ</a:t>
            </a:r>
            <a:endParaRPr lang="my-MM" sz="2400" dirty="0">
              <a:solidFill>
                <a:srgbClr val="FA0007"/>
              </a:solidFill>
            </a:endParaRPr>
          </a:p>
        </p:txBody>
      </p:sp>
      <p:sp>
        <p:nvSpPr>
          <p:cNvPr id="9241" name="object 25">
            <a:extLst>
              <a:ext uri="{FF2B5EF4-FFF2-40B4-BE49-F238E27FC236}">
                <a16:creationId xmlns:a16="http://schemas.microsoft.com/office/drawing/2014/main" id="{8E1D0DFF-2D3C-4B0F-985F-10C5275517FA}"/>
              </a:ext>
            </a:extLst>
          </p:cNvPr>
          <p:cNvSpPr txBox="1">
            <a:spLocks noChangeArrowheads="1"/>
          </p:cNvSpPr>
          <p:nvPr/>
        </p:nvSpPr>
        <p:spPr bwMode="auto">
          <a:xfrm>
            <a:off x="4091573" y="1573917"/>
            <a:ext cx="836163" cy="254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1617" b="1" i="0" u="none" strike="noStrike" kern="1200" cap="none" spc="0" normalizeH="0" baseline="0" noProof="0" dirty="0" err="1">
                <a:ln>
                  <a:noFill/>
                </a:ln>
                <a:solidFill>
                  <a:srgbClr val="ED1C24"/>
                </a:solidFill>
                <a:effectLst/>
                <a:uLnTx/>
                <a:uFillTx/>
                <a:latin typeface="Gill Sans" pitchFamily="34" charset="0"/>
                <a:ea typeface="+mn-ea"/>
                <a:cs typeface="Gill Sans" pitchFamily="34" charset="0"/>
              </a:rPr>
              <a:t>စိတ်ဖိစီးမ</a:t>
            </a:r>
            <a:r>
              <a:rPr lang="en-US" altLang="en-US" sz="1617" b="1" dirty="0">
                <a:solidFill>
                  <a:srgbClr val="ED1C24"/>
                </a:solidFill>
                <a:latin typeface="Gill Sans" pitchFamily="34" charset="0"/>
                <a:cs typeface="Gill Sans" pitchFamily="34" charset="0"/>
              </a:rPr>
              <a:t>ှု</a:t>
            </a:r>
            <a:endParaRPr kumimoji="0" lang="en-US" altLang="en-US" sz="1617"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9242" name="object 26">
            <a:extLst>
              <a:ext uri="{FF2B5EF4-FFF2-40B4-BE49-F238E27FC236}">
                <a16:creationId xmlns:a16="http://schemas.microsoft.com/office/drawing/2014/main" id="{39C61D7B-83E9-48AC-8589-FB98A89BDDE0}"/>
              </a:ext>
            </a:extLst>
          </p:cNvPr>
          <p:cNvSpPr>
            <a:spLocks/>
          </p:cNvSpPr>
          <p:nvPr/>
        </p:nvSpPr>
        <p:spPr bwMode="auto">
          <a:xfrm>
            <a:off x="894535" y="4396272"/>
            <a:ext cx="1653988" cy="39424"/>
          </a:xfrm>
          <a:custGeom>
            <a:avLst/>
            <a:gdLst>
              <a:gd name="T0" fmla="*/ 0 w 2864523"/>
              <a:gd name="T1" fmla="*/ 67945 h 68580"/>
              <a:gd name="T2" fmla="*/ 2863177 w 2864523"/>
              <a:gd name="T3" fmla="*/ 67945 h 68580"/>
              <a:gd name="T4" fmla="*/ 2863177 w 2864523"/>
              <a:gd name="T5" fmla="*/ 0 h 68580"/>
              <a:gd name="T6" fmla="*/ 0 w 2864523"/>
              <a:gd name="T7" fmla="*/ 0 h 68580"/>
              <a:gd name="T8" fmla="*/ 0 w 2864523"/>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64523" h="68580">
                <a:moveTo>
                  <a:pt x="0" y="68580"/>
                </a:moveTo>
                <a:lnTo>
                  <a:pt x="2864523" y="68580"/>
                </a:lnTo>
                <a:lnTo>
                  <a:pt x="2864523"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3" name="object 27">
            <a:extLst>
              <a:ext uri="{FF2B5EF4-FFF2-40B4-BE49-F238E27FC236}">
                <a16:creationId xmlns:a16="http://schemas.microsoft.com/office/drawing/2014/main" id="{958A459C-2253-486C-B3A6-D1A3E6DE49D3}"/>
              </a:ext>
            </a:extLst>
          </p:cNvPr>
          <p:cNvSpPr>
            <a:spLocks/>
          </p:cNvSpPr>
          <p:nvPr/>
        </p:nvSpPr>
        <p:spPr bwMode="auto">
          <a:xfrm>
            <a:off x="894535" y="2966910"/>
            <a:ext cx="39424" cy="1429362"/>
          </a:xfrm>
          <a:custGeom>
            <a:avLst/>
            <a:gdLst>
              <a:gd name="T0" fmla="*/ 0 w 68922"/>
              <a:gd name="T1" fmla="*/ 2475867 h 2473959"/>
              <a:gd name="T2" fmla="*/ 67608 w 68922"/>
              <a:gd name="T3" fmla="*/ 2475867 h 2473959"/>
              <a:gd name="T4" fmla="*/ 67608 w 68922"/>
              <a:gd name="T5" fmla="*/ 0 h 2473959"/>
              <a:gd name="T6" fmla="*/ 0 w 68922"/>
              <a:gd name="T7" fmla="*/ 0 h 2473959"/>
              <a:gd name="T8" fmla="*/ 0 w 68922"/>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22" h="2473959">
                <a:moveTo>
                  <a:pt x="0" y="2473959"/>
                </a:moveTo>
                <a:lnTo>
                  <a:pt x="68922" y="2473959"/>
                </a:lnTo>
                <a:lnTo>
                  <a:pt x="68922"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4" name="object 28">
            <a:extLst>
              <a:ext uri="{FF2B5EF4-FFF2-40B4-BE49-F238E27FC236}">
                <a16:creationId xmlns:a16="http://schemas.microsoft.com/office/drawing/2014/main" id="{98484070-98E2-4B07-B7D3-0059369217D0}"/>
              </a:ext>
            </a:extLst>
          </p:cNvPr>
          <p:cNvSpPr>
            <a:spLocks/>
          </p:cNvSpPr>
          <p:nvPr/>
        </p:nvSpPr>
        <p:spPr bwMode="auto">
          <a:xfrm>
            <a:off x="894535" y="2927486"/>
            <a:ext cx="1653988" cy="39424"/>
          </a:xfrm>
          <a:custGeom>
            <a:avLst/>
            <a:gdLst>
              <a:gd name="T0" fmla="*/ 0 w 2864523"/>
              <a:gd name="T1" fmla="*/ 67946 h 68579"/>
              <a:gd name="T2" fmla="*/ 2863177 w 2864523"/>
              <a:gd name="T3" fmla="*/ 67946 h 68579"/>
              <a:gd name="T4" fmla="*/ 2863177 w 2864523"/>
              <a:gd name="T5" fmla="*/ 0 h 68579"/>
              <a:gd name="T6" fmla="*/ 0 w 2864523"/>
              <a:gd name="T7" fmla="*/ 0 h 68579"/>
              <a:gd name="T8" fmla="*/ 0 w 2864523"/>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64523" h="68579">
                <a:moveTo>
                  <a:pt x="0" y="68579"/>
                </a:moveTo>
                <a:lnTo>
                  <a:pt x="2864523" y="68579"/>
                </a:lnTo>
                <a:lnTo>
                  <a:pt x="2864523"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5" name="object 29">
            <a:extLst>
              <a:ext uri="{FF2B5EF4-FFF2-40B4-BE49-F238E27FC236}">
                <a16:creationId xmlns:a16="http://schemas.microsoft.com/office/drawing/2014/main" id="{6A91F6AB-ACBE-418A-8EE9-7CDCD6B2BCAD}"/>
              </a:ext>
            </a:extLst>
          </p:cNvPr>
          <p:cNvSpPr>
            <a:spLocks/>
          </p:cNvSpPr>
          <p:nvPr/>
        </p:nvSpPr>
        <p:spPr bwMode="auto">
          <a:xfrm>
            <a:off x="2509099" y="2966910"/>
            <a:ext cx="39425" cy="1429362"/>
          </a:xfrm>
          <a:custGeom>
            <a:avLst/>
            <a:gdLst>
              <a:gd name="T0" fmla="*/ 67598 w 68935"/>
              <a:gd name="T1" fmla="*/ 0 h 2473921"/>
              <a:gd name="T2" fmla="*/ 0 w 68935"/>
              <a:gd name="T3" fmla="*/ 0 h 2473921"/>
              <a:gd name="T4" fmla="*/ 0 w 68935"/>
              <a:gd name="T5" fmla="*/ 2475905 h 2473921"/>
              <a:gd name="T6" fmla="*/ 67598 w 68935"/>
              <a:gd name="T7" fmla="*/ 2475905 h 2473921"/>
              <a:gd name="T8" fmla="*/ 67598 w 68935"/>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21">
                <a:moveTo>
                  <a:pt x="68935" y="0"/>
                </a:moveTo>
                <a:lnTo>
                  <a:pt x="0" y="0"/>
                </a:lnTo>
                <a:lnTo>
                  <a:pt x="0" y="2473921"/>
                </a:lnTo>
                <a:lnTo>
                  <a:pt x="68935" y="2473921"/>
                </a:lnTo>
                <a:lnTo>
                  <a:pt x="6893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6" name="object 30">
            <a:extLst>
              <a:ext uri="{FF2B5EF4-FFF2-40B4-BE49-F238E27FC236}">
                <a16:creationId xmlns:a16="http://schemas.microsoft.com/office/drawing/2014/main" id="{AFCB70E4-24F0-4F48-9019-715A37A9364B}"/>
              </a:ext>
            </a:extLst>
          </p:cNvPr>
          <p:cNvSpPr>
            <a:spLocks/>
          </p:cNvSpPr>
          <p:nvPr/>
        </p:nvSpPr>
        <p:spPr bwMode="auto">
          <a:xfrm>
            <a:off x="2641125" y="4396272"/>
            <a:ext cx="1942795" cy="39424"/>
          </a:xfrm>
          <a:custGeom>
            <a:avLst/>
            <a:gdLst>
              <a:gd name="T0" fmla="*/ 0 w 3362375"/>
              <a:gd name="T1" fmla="*/ 67945 h 68580"/>
              <a:gd name="T2" fmla="*/ 3365452 w 3362375"/>
              <a:gd name="T3" fmla="*/ 67945 h 68580"/>
              <a:gd name="T4" fmla="*/ 3365452 w 3362375"/>
              <a:gd name="T5" fmla="*/ 0 h 68580"/>
              <a:gd name="T6" fmla="*/ 0 w 3362375"/>
              <a:gd name="T7" fmla="*/ 0 h 68580"/>
              <a:gd name="T8" fmla="*/ 0 w 3362375"/>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62375" h="68580">
                <a:moveTo>
                  <a:pt x="0" y="68580"/>
                </a:moveTo>
                <a:lnTo>
                  <a:pt x="3362375" y="68580"/>
                </a:lnTo>
                <a:lnTo>
                  <a:pt x="3362375"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7" name="object 31">
            <a:extLst>
              <a:ext uri="{FF2B5EF4-FFF2-40B4-BE49-F238E27FC236}">
                <a16:creationId xmlns:a16="http://schemas.microsoft.com/office/drawing/2014/main" id="{6B5D75F9-54C7-477B-9925-98E32B005724}"/>
              </a:ext>
            </a:extLst>
          </p:cNvPr>
          <p:cNvSpPr>
            <a:spLocks/>
          </p:cNvSpPr>
          <p:nvPr/>
        </p:nvSpPr>
        <p:spPr bwMode="auto">
          <a:xfrm>
            <a:off x="2641125" y="2966910"/>
            <a:ext cx="40341" cy="1429362"/>
          </a:xfrm>
          <a:custGeom>
            <a:avLst/>
            <a:gdLst>
              <a:gd name="T0" fmla="*/ 0 w 68935"/>
              <a:gd name="T1" fmla="*/ 2475867 h 2473959"/>
              <a:gd name="T2" fmla="*/ 70777 w 68935"/>
              <a:gd name="T3" fmla="*/ 2475867 h 2473959"/>
              <a:gd name="T4" fmla="*/ 70777 w 68935"/>
              <a:gd name="T5" fmla="*/ 0 h 2473959"/>
              <a:gd name="T6" fmla="*/ 0 w 68935"/>
              <a:gd name="T7" fmla="*/ 0 h 2473959"/>
              <a:gd name="T8" fmla="*/ 0 w 68935"/>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59">
                <a:moveTo>
                  <a:pt x="0" y="2473959"/>
                </a:moveTo>
                <a:lnTo>
                  <a:pt x="68935" y="2473959"/>
                </a:lnTo>
                <a:lnTo>
                  <a:pt x="68935"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8" name="object 32">
            <a:extLst>
              <a:ext uri="{FF2B5EF4-FFF2-40B4-BE49-F238E27FC236}">
                <a16:creationId xmlns:a16="http://schemas.microsoft.com/office/drawing/2014/main" id="{98D1FE92-E500-4DC9-A7DA-4B9AF3A8E2D7}"/>
              </a:ext>
            </a:extLst>
          </p:cNvPr>
          <p:cNvSpPr>
            <a:spLocks/>
          </p:cNvSpPr>
          <p:nvPr/>
        </p:nvSpPr>
        <p:spPr bwMode="auto">
          <a:xfrm>
            <a:off x="2641125" y="2927486"/>
            <a:ext cx="1942795" cy="39424"/>
          </a:xfrm>
          <a:custGeom>
            <a:avLst/>
            <a:gdLst>
              <a:gd name="T0" fmla="*/ 0 w 3362375"/>
              <a:gd name="T1" fmla="*/ 67946 h 68579"/>
              <a:gd name="T2" fmla="*/ 3365452 w 3362375"/>
              <a:gd name="T3" fmla="*/ 67946 h 68579"/>
              <a:gd name="T4" fmla="*/ 3365452 w 3362375"/>
              <a:gd name="T5" fmla="*/ 0 h 68579"/>
              <a:gd name="T6" fmla="*/ 0 w 3362375"/>
              <a:gd name="T7" fmla="*/ 0 h 68579"/>
              <a:gd name="T8" fmla="*/ 0 w 3362375"/>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62375" h="68579">
                <a:moveTo>
                  <a:pt x="0" y="68579"/>
                </a:moveTo>
                <a:lnTo>
                  <a:pt x="3362375" y="68579"/>
                </a:lnTo>
                <a:lnTo>
                  <a:pt x="3362375"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9" name="object 33">
            <a:extLst>
              <a:ext uri="{FF2B5EF4-FFF2-40B4-BE49-F238E27FC236}">
                <a16:creationId xmlns:a16="http://schemas.microsoft.com/office/drawing/2014/main" id="{F308F81D-DE7B-4E05-9C0C-A2DA798C8854}"/>
              </a:ext>
            </a:extLst>
          </p:cNvPr>
          <p:cNvSpPr>
            <a:spLocks/>
          </p:cNvSpPr>
          <p:nvPr/>
        </p:nvSpPr>
        <p:spPr bwMode="auto">
          <a:xfrm>
            <a:off x="4543578" y="2966910"/>
            <a:ext cx="40341" cy="1429362"/>
          </a:xfrm>
          <a:custGeom>
            <a:avLst/>
            <a:gdLst>
              <a:gd name="T0" fmla="*/ 70790 w 68922"/>
              <a:gd name="T1" fmla="*/ 0 h 2473921"/>
              <a:gd name="T2" fmla="*/ 0 w 68922"/>
              <a:gd name="T3" fmla="*/ 0 h 2473921"/>
              <a:gd name="T4" fmla="*/ 0 w 68922"/>
              <a:gd name="T5" fmla="*/ 2475905 h 2473921"/>
              <a:gd name="T6" fmla="*/ 70790 w 68922"/>
              <a:gd name="T7" fmla="*/ 2475905 h 2473921"/>
              <a:gd name="T8" fmla="*/ 70790 w 68922"/>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22" h="2473921">
                <a:moveTo>
                  <a:pt x="68922" y="0"/>
                </a:moveTo>
                <a:lnTo>
                  <a:pt x="0" y="0"/>
                </a:lnTo>
                <a:lnTo>
                  <a:pt x="0" y="2473921"/>
                </a:lnTo>
                <a:lnTo>
                  <a:pt x="68922" y="2473921"/>
                </a:lnTo>
                <a:lnTo>
                  <a:pt x="68922"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0" name="object 34">
            <a:extLst>
              <a:ext uri="{FF2B5EF4-FFF2-40B4-BE49-F238E27FC236}">
                <a16:creationId xmlns:a16="http://schemas.microsoft.com/office/drawing/2014/main" id="{44D32855-E6D4-4AE3-A795-577CF74D9AD8}"/>
              </a:ext>
            </a:extLst>
          </p:cNvPr>
          <p:cNvSpPr>
            <a:spLocks/>
          </p:cNvSpPr>
          <p:nvPr/>
        </p:nvSpPr>
        <p:spPr bwMode="auto">
          <a:xfrm>
            <a:off x="4836051" y="4396272"/>
            <a:ext cx="1362432" cy="39424"/>
          </a:xfrm>
          <a:custGeom>
            <a:avLst/>
            <a:gdLst>
              <a:gd name="T0" fmla="*/ 0 w 2359037"/>
              <a:gd name="T1" fmla="*/ 67945 h 68580"/>
              <a:gd name="T2" fmla="*/ 2359013 w 2359037"/>
              <a:gd name="T3" fmla="*/ 67945 h 68580"/>
              <a:gd name="T4" fmla="*/ 2359013 w 2359037"/>
              <a:gd name="T5" fmla="*/ 0 h 68580"/>
              <a:gd name="T6" fmla="*/ 0 w 2359037"/>
              <a:gd name="T7" fmla="*/ 0 h 68580"/>
              <a:gd name="T8" fmla="*/ 0 w 2359037"/>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59037" h="68580">
                <a:moveTo>
                  <a:pt x="0" y="68580"/>
                </a:moveTo>
                <a:lnTo>
                  <a:pt x="2359037" y="68580"/>
                </a:lnTo>
                <a:lnTo>
                  <a:pt x="2359037"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1" name="object 35">
            <a:extLst>
              <a:ext uri="{FF2B5EF4-FFF2-40B4-BE49-F238E27FC236}">
                <a16:creationId xmlns:a16="http://schemas.microsoft.com/office/drawing/2014/main" id="{FE88FB73-193E-4471-9E1F-8FD24FBED095}"/>
              </a:ext>
            </a:extLst>
          </p:cNvPr>
          <p:cNvSpPr>
            <a:spLocks/>
          </p:cNvSpPr>
          <p:nvPr/>
        </p:nvSpPr>
        <p:spPr bwMode="auto">
          <a:xfrm>
            <a:off x="4836051" y="2966910"/>
            <a:ext cx="39425" cy="1429362"/>
          </a:xfrm>
          <a:custGeom>
            <a:avLst/>
            <a:gdLst>
              <a:gd name="T0" fmla="*/ 0 w 68935"/>
              <a:gd name="T1" fmla="*/ 2475867 h 2473959"/>
              <a:gd name="T2" fmla="*/ 67598 w 68935"/>
              <a:gd name="T3" fmla="*/ 2475867 h 2473959"/>
              <a:gd name="T4" fmla="*/ 67598 w 68935"/>
              <a:gd name="T5" fmla="*/ 0 h 2473959"/>
              <a:gd name="T6" fmla="*/ 0 w 68935"/>
              <a:gd name="T7" fmla="*/ 0 h 2473959"/>
              <a:gd name="T8" fmla="*/ 0 w 68935"/>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59">
                <a:moveTo>
                  <a:pt x="0" y="2473959"/>
                </a:moveTo>
                <a:lnTo>
                  <a:pt x="68935" y="2473959"/>
                </a:lnTo>
                <a:lnTo>
                  <a:pt x="68935"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2" name="object 36">
            <a:extLst>
              <a:ext uri="{FF2B5EF4-FFF2-40B4-BE49-F238E27FC236}">
                <a16:creationId xmlns:a16="http://schemas.microsoft.com/office/drawing/2014/main" id="{C06A7F39-3173-4A72-840F-8AC7972584BD}"/>
              </a:ext>
            </a:extLst>
          </p:cNvPr>
          <p:cNvSpPr>
            <a:spLocks/>
          </p:cNvSpPr>
          <p:nvPr/>
        </p:nvSpPr>
        <p:spPr bwMode="auto">
          <a:xfrm>
            <a:off x="4836051" y="2927486"/>
            <a:ext cx="1362432" cy="39424"/>
          </a:xfrm>
          <a:custGeom>
            <a:avLst/>
            <a:gdLst>
              <a:gd name="T0" fmla="*/ 0 w 2359037"/>
              <a:gd name="T1" fmla="*/ 67946 h 68579"/>
              <a:gd name="T2" fmla="*/ 2359013 w 2359037"/>
              <a:gd name="T3" fmla="*/ 67946 h 68579"/>
              <a:gd name="T4" fmla="*/ 2359013 w 2359037"/>
              <a:gd name="T5" fmla="*/ 0 h 68579"/>
              <a:gd name="T6" fmla="*/ 0 w 2359037"/>
              <a:gd name="T7" fmla="*/ 0 h 68579"/>
              <a:gd name="T8" fmla="*/ 0 w 2359037"/>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59037" h="68579">
                <a:moveTo>
                  <a:pt x="0" y="68579"/>
                </a:moveTo>
                <a:lnTo>
                  <a:pt x="2359037" y="68579"/>
                </a:lnTo>
                <a:lnTo>
                  <a:pt x="2359037"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3" name="object 37">
            <a:extLst>
              <a:ext uri="{FF2B5EF4-FFF2-40B4-BE49-F238E27FC236}">
                <a16:creationId xmlns:a16="http://schemas.microsoft.com/office/drawing/2014/main" id="{BC4E6528-C9CB-4178-9144-6F2D850BB387}"/>
              </a:ext>
            </a:extLst>
          </p:cNvPr>
          <p:cNvSpPr>
            <a:spLocks/>
          </p:cNvSpPr>
          <p:nvPr/>
        </p:nvSpPr>
        <p:spPr bwMode="auto">
          <a:xfrm>
            <a:off x="6158142" y="2966910"/>
            <a:ext cx="40341" cy="1429362"/>
          </a:xfrm>
          <a:custGeom>
            <a:avLst/>
            <a:gdLst>
              <a:gd name="T0" fmla="*/ 70777 w 68935"/>
              <a:gd name="T1" fmla="*/ 0 h 2473921"/>
              <a:gd name="T2" fmla="*/ 0 w 68935"/>
              <a:gd name="T3" fmla="*/ 0 h 2473921"/>
              <a:gd name="T4" fmla="*/ 0 w 68935"/>
              <a:gd name="T5" fmla="*/ 2475905 h 2473921"/>
              <a:gd name="T6" fmla="*/ 70777 w 68935"/>
              <a:gd name="T7" fmla="*/ 2475905 h 2473921"/>
              <a:gd name="T8" fmla="*/ 70777 w 68935"/>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21">
                <a:moveTo>
                  <a:pt x="68935" y="0"/>
                </a:moveTo>
                <a:lnTo>
                  <a:pt x="0" y="0"/>
                </a:lnTo>
                <a:lnTo>
                  <a:pt x="0" y="2473921"/>
                </a:lnTo>
                <a:lnTo>
                  <a:pt x="68935" y="2473921"/>
                </a:lnTo>
                <a:lnTo>
                  <a:pt x="6893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4" name="object 38">
            <a:extLst>
              <a:ext uri="{FF2B5EF4-FFF2-40B4-BE49-F238E27FC236}">
                <a16:creationId xmlns:a16="http://schemas.microsoft.com/office/drawing/2014/main" id="{676FBF66-CF9D-49F5-AB43-136DDC626284}"/>
              </a:ext>
            </a:extLst>
          </p:cNvPr>
          <p:cNvSpPr>
            <a:spLocks/>
          </p:cNvSpPr>
          <p:nvPr/>
        </p:nvSpPr>
        <p:spPr bwMode="auto">
          <a:xfrm>
            <a:off x="6295669" y="4396272"/>
            <a:ext cx="1954713" cy="39424"/>
          </a:xfrm>
          <a:custGeom>
            <a:avLst/>
            <a:gdLst>
              <a:gd name="T0" fmla="*/ 0 w 3385350"/>
              <a:gd name="T1" fmla="*/ 67945 h 68580"/>
              <a:gd name="T2" fmla="*/ 3383750 w 3385350"/>
              <a:gd name="T3" fmla="*/ 67945 h 68580"/>
              <a:gd name="T4" fmla="*/ 3383750 w 3385350"/>
              <a:gd name="T5" fmla="*/ 0 h 68580"/>
              <a:gd name="T6" fmla="*/ 0 w 3385350"/>
              <a:gd name="T7" fmla="*/ 0 h 68580"/>
              <a:gd name="T8" fmla="*/ 0 w 3385350"/>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85350" h="68580">
                <a:moveTo>
                  <a:pt x="0" y="68580"/>
                </a:moveTo>
                <a:lnTo>
                  <a:pt x="3385350" y="68580"/>
                </a:lnTo>
                <a:lnTo>
                  <a:pt x="3385350"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5" name="object 39">
            <a:extLst>
              <a:ext uri="{FF2B5EF4-FFF2-40B4-BE49-F238E27FC236}">
                <a16:creationId xmlns:a16="http://schemas.microsoft.com/office/drawing/2014/main" id="{177A3A3E-0ED0-4836-98A6-4E020439CA6D}"/>
              </a:ext>
            </a:extLst>
          </p:cNvPr>
          <p:cNvSpPr>
            <a:spLocks/>
          </p:cNvSpPr>
          <p:nvPr/>
        </p:nvSpPr>
        <p:spPr bwMode="auto">
          <a:xfrm>
            <a:off x="6295669" y="2966910"/>
            <a:ext cx="39425" cy="1429362"/>
          </a:xfrm>
          <a:custGeom>
            <a:avLst/>
            <a:gdLst>
              <a:gd name="T0" fmla="*/ 0 w 68935"/>
              <a:gd name="T1" fmla="*/ 2475867 h 2473959"/>
              <a:gd name="T2" fmla="*/ 67598 w 68935"/>
              <a:gd name="T3" fmla="*/ 2475867 h 2473959"/>
              <a:gd name="T4" fmla="*/ 67598 w 68935"/>
              <a:gd name="T5" fmla="*/ 0 h 2473959"/>
              <a:gd name="T6" fmla="*/ 0 w 68935"/>
              <a:gd name="T7" fmla="*/ 0 h 2473959"/>
              <a:gd name="T8" fmla="*/ 0 w 68935"/>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59">
                <a:moveTo>
                  <a:pt x="0" y="2473959"/>
                </a:moveTo>
                <a:lnTo>
                  <a:pt x="68935" y="2473959"/>
                </a:lnTo>
                <a:lnTo>
                  <a:pt x="68935"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6" name="object 40">
            <a:extLst>
              <a:ext uri="{FF2B5EF4-FFF2-40B4-BE49-F238E27FC236}">
                <a16:creationId xmlns:a16="http://schemas.microsoft.com/office/drawing/2014/main" id="{77C49B17-763E-4FBB-891D-F4AF154B6C50}"/>
              </a:ext>
            </a:extLst>
          </p:cNvPr>
          <p:cNvSpPr>
            <a:spLocks/>
          </p:cNvSpPr>
          <p:nvPr/>
        </p:nvSpPr>
        <p:spPr bwMode="auto">
          <a:xfrm>
            <a:off x="6295669" y="2927486"/>
            <a:ext cx="1954713" cy="39424"/>
          </a:xfrm>
          <a:custGeom>
            <a:avLst/>
            <a:gdLst>
              <a:gd name="T0" fmla="*/ 0 w 3385350"/>
              <a:gd name="T1" fmla="*/ 67946 h 68579"/>
              <a:gd name="T2" fmla="*/ 3383750 w 3385350"/>
              <a:gd name="T3" fmla="*/ 67946 h 68579"/>
              <a:gd name="T4" fmla="*/ 3383750 w 3385350"/>
              <a:gd name="T5" fmla="*/ 0 h 68579"/>
              <a:gd name="T6" fmla="*/ 0 w 3385350"/>
              <a:gd name="T7" fmla="*/ 0 h 68579"/>
              <a:gd name="T8" fmla="*/ 0 w 3385350"/>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85350" h="68579">
                <a:moveTo>
                  <a:pt x="0" y="68579"/>
                </a:moveTo>
                <a:lnTo>
                  <a:pt x="3385350" y="68579"/>
                </a:lnTo>
                <a:lnTo>
                  <a:pt x="3385350"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7" name="object 41">
            <a:extLst>
              <a:ext uri="{FF2B5EF4-FFF2-40B4-BE49-F238E27FC236}">
                <a16:creationId xmlns:a16="http://schemas.microsoft.com/office/drawing/2014/main" id="{B6B2CE18-77F0-475D-9F98-67255CE3F0BB}"/>
              </a:ext>
            </a:extLst>
          </p:cNvPr>
          <p:cNvSpPr>
            <a:spLocks/>
          </p:cNvSpPr>
          <p:nvPr/>
        </p:nvSpPr>
        <p:spPr bwMode="auto">
          <a:xfrm>
            <a:off x="8210958" y="2966910"/>
            <a:ext cx="39424" cy="1429362"/>
          </a:xfrm>
          <a:custGeom>
            <a:avLst/>
            <a:gdLst>
              <a:gd name="T0" fmla="*/ 67596 w 68935"/>
              <a:gd name="T1" fmla="*/ 0 h 2473921"/>
              <a:gd name="T2" fmla="*/ 0 w 68935"/>
              <a:gd name="T3" fmla="*/ 0 h 2473921"/>
              <a:gd name="T4" fmla="*/ 0 w 68935"/>
              <a:gd name="T5" fmla="*/ 2475905 h 2473921"/>
              <a:gd name="T6" fmla="*/ 67596 w 68935"/>
              <a:gd name="T7" fmla="*/ 2475905 h 2473921"/>
              <a:gd name="T8" fmla="*/ 67596 w 68935"/>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21">
                <a:moveTo>
                  <a:pt x="68935" y="0"/>
                </a:moveTo>
                <a:lnTo>
                  <a:pt x="0" y="0"/>
                </a:lnTo>
                <a:lnTo>
                  <a:pt x="0" y="2473921"/>
                </a:lnTo>
                <a:lnTo>
                  <a:pt x="68935" y="2473921"/>
                </a:lnTo>
                <a:lnTo>
                  <a:pt x="6893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08" name="object 92">
            <a:extLst>
              <a:ext uri="{FF2B5EF4-FFF2-40B4-BE49-F238E27FC236}">
                <a16:creationId xmlns:a16="http://schemas.microsoft.com/office/drawing/2014/main" id="{1C1EC999-22DB-4003-AD7E-777567DDF98B}"/>
              </a:ext>
            </a:extLst>
          </p:cNvPr>
          <p:cNvSpPr>
            <a:spLocks noChangeArrowheads="1"/>
          </p:cNvSpPr>
          <p:nvPr/>
        </p:nvSpPr>
        <p:spPr bwMode="auto">
          <a:xfrm>
            <a:off x="1011892" y="3339149"/>
            <a:ext cx="1298252" cy="707804"/>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altLang="en-US" sz="104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309" name="object 93">
            <a:extLst>
              <a:ext uri="{FF2B5EF4-FFF2-40B4-BE49-F238E27FC236}">
                <a16:creationId xmlns:a16="http://schemas.microsoft.com/office/drawing/2014/main" id="{130EF3F8-3005-4997-B47F-72A2ECD31FA2}"/>
              </a:ext>
            </a:extLst>
          </p:cNvPr>
          <p:cNvSpPr>
            <a:spLocks/>
          </p:cNvSpPr>
          <p:nvPr/>
        </p:nvSpPr>
        <p:spPr bwMode="auto">
          <a:xfrm>
            <a:off x="1041230" y="4104715"/>
            <a:ext cx="1301003" cy="124691"/>
          </a:xfrm>
          <a:custGeom>
            <a:avLst/>
            <a:gdLst>
              <a:gd name="T0" fmla="*/ 2086074 w 2251606"/>
              <a:gd name="T1" fmla="*/ 0 h 216522"/>
              <a:gd name="T2" fmla="*/ 2079337 w 2251606"/>
              <a:gd name="T3" fmla="*/ 3724 h 216522"/>
              <a:gd name="T4" fmla="*/ 2079337 w 2251606"/>
              <a:gd name="T5" fmla="*/ 73376 h 216522"/>
              <a:gd name="T6" fmla="*/ 32413 w 2251606"/>
              <a:gd name="T7" fmla="*/ 73376 h 216522"/>
              <a:gd name="T8" fmla="*/ 18464 w 2251606"/>
              <a:gd name="T9" fmla="*/ 76292 h 216522"/>
              <a:gd name="T10" fmla="*/ 7240 w 2251606"/>
              <a:gd name="T11" fmla="*/ 84210 h 216522"/>
              <a:gd name="T12" fmla="*/ 0 w 2251606"/>
              <a:gd name="T13" fmla="*/ 95881 h 216522"/>
              <a:gd name="T14" fmla="*/ 950 w 2251606"/>
              <a:gd name="T15" fmla="*/ 113565 h 216522"/>
              <a:gd name="T16" fmla="*/ 5944 w 2251606"/>
              <a:gd name="T17" fmla="*/ 126985 h 216522"/>
              <a:gd name="T18" fmla="*/ 14147 w 2251606"/>
              <a:gd name="T19" fmla="*/ 136141 h 216522"/>
              <a:gd name="T20" fmla="*/ 24723 w 2251606"/>
              <a:gd name="T21" fmla="*/ 141029 h 216522"/>
              <a:gd name="T22" fmla="*/ 2079337 w 2251606"/>
              <a:gd name="T23" fmla="*/ 141916 h 216522"/>
              <a:gd name="T24" fmla="*/ 2079337 w 2251606"/>
              <a:gd name="T25" fmla="*/ 211555 h 216522"/>
              <a:gd name="T26" fmla="*/ 2086074 w 2251606"/>
              <a:gd name="T27" fmla="*/ 215280 h 216522"/>
              <a:gd name="T28" fmla="*/ 2253718 w 2251606"/>
              <a:gd name="T29" fmla="*/ 111800 h 216522"/>
              <a:gd name="T30" fmla="*/ 2253718 w 2251606"/>
              <a:gd name="T31" fmla="*/ 103479 h 216522"/>
              <a:gd name="T32" fmla="*/ 2086074 w 2251606"/>
              <a:gd name="T33" fmla="*/ 0 h 2165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51606" h="216522">
                <a:moveTo>
                  <a:pt x="2084119" y="0"/>
                </a:moveTo>
                <a:lnTo>
                  <a:pt x="2077388" y="3746"/>
                </a:lnTo>
                <a:lnTo>
                  <a:pt x="2077388" y="73799"/>
                </a:lnTo>
                <a:lnTo>
                  <a:pt x="32383" y="73799"/>
                </a:lnTo>
                <a:lnTo>
                  <a:pt x="18446" y="76732"/>
                </a:lnTo>
                <a:lnTo>
                  <a:pt x="7234" y="84696"/>
                </a:lnTo>
                <a:lnTo>
                  <a:pt x="0" y="96434"/>
                </a:lnTo>
                <a:lnTo>
                  <a:pt x="950" y="114220"/>
                </a:lnTo>
                <a:lnTo>
                  <a:pt x="5938" y="127718"/>
                </a:lnTo>
                <a:lnTo>
                  <a:pt x="14133" y="136926"/>
                </a:lnTo>
                <a:lnTo>
                  <a:pt x="24699" y="141842"/>
                </a:lnTo>
                <a:lnTo>
                  <a:pt x="2077388" y="142735"/>
                </a:lnTo>
                <a:lnTo>
                  <a:pt x="2077388" y="212775"/>
                </a:lnTo>
                <a:lnTo>
                  <a:pt x="2084119" y="216522"/>
                </a:lnTo>
                <a:lnTo>
                  <a:pt x="2251606" y="112445"/>
                </a:lnTo>
                <a:lnTo>
                  <a:pt x="2251606" y="104076"/>
                </a:lnTo>
                <a:lnTo>
                  <a:pt x="2084119"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0" name="object 94">
            <a:extLst>
              <a:ext uri="{FF2B5EF4-FFF2-40B4-BE49-F238E27FC236}">
                <a16:creationId xmlns:a16="http://schemas.microsoft.com/office/drawing/2014/main" id="{CB8CCAD4-CAE7-4632-83C8-117D141AF10C}"/>
              </a:ext>
            </a:extLst>
          </p:cNvPr>
          <p:cNvSpPr>
            <a:spLocks/>
          </p:cNvSpPr>
          <p:nvPr/>
        </p:nvSpPr>
        <p:spPr bwMode="auto">
          <a:xfrm>
            <a:off x="3250827" y="3497764"/>
            <a:ext cx="762815" cy="813241"/>
          </a:xfrm>
          <a:custGeom>
            <a:avLst/>
            <a:gdLst>
              <a:gd name="T0" fmla="*/ 1288203 w 1321026"/>
              <a:gd name="T1" fmla="*/ 0 h 1407692"/>
              <a:gd name="T2" fmla="*/ 1002994 w 1321026"/>
              <a:gd name="T3" fmla="*/ 0 h 1407692"/>
              <a:gd name="T4" fmla="*/ 1002994 w 1321026"/>
              <a:gd name="T5" fmla="*/ 268333 h 1407692"/>
              <a:gd name="T6" fmla="*/ 752255 w 1321026"/>
              <a:gd name="T7" fmla="*/ 268333 h 1407692"/>
              <a:gd name="T8" fmla="*/ 752255 w 1321026"/>
              <a:gd name="T9" fmla="*/ 536653 h 1407692"/>
              <a:gd name="T10" fmla="*/ 501490 w 1321026"/>
              <a:gd name="T11" fmla="*/ 536653 h 1407692"/>
              <a:gd name="T12" fmla="*/ 501490 w 1321026"/>
              <a:gd name="T13" fmla="*/ 804986 h 1407692"/>
              <a:gd name="T14" fmla="*/ 250739 w 1321026"/>
              <a:gd name="T15" fmla="*/ 804986 h 1407692"/>
              <a:gd name="T16" fmla="*/ 250739 w 1321026"/>
              <a:gd name="T17" fmla="*/ 1073307 h 1407692"/>
              <a:gd name="T18" fmla="*/ 0 w 1321026"/>
              <a:gd name="T19" fmla="*/ 1073307 h 1407692"/>
              <a:gd name="T20" fmla="*/ 0 w 1321026"/>
              <a:gd name="T21" fmla="*/ 1376128 h 1407692"/>
              <a:gd name="T22" fmla="*/ 2930 w 1321026"/>
              <a:gd name="T23" fmla="*/ 1390070 h 1407692"/>
              <a:gd name="T24" fmla="*/ 10889 w 1321026"/>
              <a:gd name="T25" fmla="*/ 1401292 h 1407692"/>
              <a:gd name="T26" fmla="*/ 22623 w 1321026"/>
              <a:gd name="T27" fmla="*/ 1408532 h 1407692"/>
              <a:gd name="T28" fmla="*/ 40410 w 1321026"/>
              <a:gd name="T29" fmla="*/ 1407580 h 1407692"/>
              <a:gd name="T30" fmla="*/ 53903 w 1321026"/>
              <a:gd name="T31" fmla="*/ 1402583 h 1407692"/>
              <a:gd name="T32" fmla="*/ 63101 w 1321026"/>
              <a:gd name="T33" fmla="*/ 1394381 h 1407692"/>
              <a:gd name="T34" fmla="*/ 68008 w 1321026"/>
              <a:gd name="T35" fmla="*/ 1383807 h 1407692"/>
              <a:gd name="T36" fmla="*/ 68898 w 1321026"/>
              <a:gd name="T37" fmla="*/ 1142285 h 1407692"/>
              <a:gd name="T38" fmla="*/ 285194 w 1321026"/>
              <a:gd name="T39" fmla="*/ 1142285 h 1407692"/>
              <a:gd name="T40" fmla="*/ 299127 w 1321026"/>
              <a:gd name="T41" fmla="*/ 1139349 h 1407692"/>
              <a:gd name="T42" fmla="*/ 310335 w 1321026"/>
              <a:gd name="T43" fmla="*/ 1131380 h 1407692"/>
              <a:gd name="T44" fmla="*/ 317568 w 1321026"/>
              <a:gd name="T45" fmla="*/ 1119636 h 1407692"/>
              <a:gd name="T46" fmla="*/ 319650 w 1321026"/>
              <a:gd name="T47" fmla="*/ 873964 h 1407692"/>
              <a:gd name="T48" fmla="*/ 535946 w 1321026"/>
              <a:gd name="T49" fmla="*/ 873964 h 1407692"/>
              <a:gd name="T50" fmla="*/ 549878 w 1321026"/>
              <a:gd name="T51" fmla="*/ 871027 h 1407692"/>
              <a:gd name="T52" fmla="*/ 561087 w 1321026"/>
              <a:gd name="T53" fmla="*/ 863055 h 1407692"/>
              <a:gd name="T54" fmla="*/ 568319 w 1321026"/>
              <a:gd name="T55" fmla="*/ 851310 h 1407692"/>
              <a:gd name="T56" fmla="*/ 570402 w 1321026"/>
              <a:gd name="T57" fmla="*/ 605631 h 1407692"/>
              <a:gd name="T58" fmla="*/ 786710 w 1321026"/>
              <a:gd name="T59" fmla="*/ 605631 h 1407692"/>
              <a:gd name="T60" fmla="*/ 800643 w 1321026"/>
              <a:gd name="T61" fmla="*/ 602693 h 1407692"/>
              <a:gd name="T62" fmla="*/ 811848 w 1321026"/>
              <a:gd name="T63" fmla="*/ 594718 h 1407692"/>
              <a:gd name="T64" fmla="*/ 819075 w 1321026"/>
              <a:gd name="T65" fmla="*/ 582969 h 1407692"/>
              <a:gd name="T66" fmla="*/ 821154 w 1321026"/>
              <a:gd name="T67" fmla="*/ 337298 h 1407692"/>
              <a:gd name="T68" fmla="*/ 1037449 w 1321026"/>
              <a:gd name="T69" fmla="*/ 337298 h 1407692"/>
              <a:gd name="T70" fmla="*/ 1051382 w 1321026"/>
              <a:gd name="T71" fmla="*/ 334362 h 1407692"/>
              <a:gd name="T72" fmla="*/ 1062590 w 1321026"/>
              <a:gd name="T73" fmla="*/ 326393 h 1407692"/>
              <a:gd name="T74" fmla="*/ 1069823 w 1321026"/>
              <a:gd name="T75" fmla="*/ 314649 h 1407692"/>
              <a:gd name="T76" fmla="*/ 1071907 w 1321026"/>
              <a:gd name="T77" fmla="*/ 68977 h 1407692"/>
              <a:gd name="T78" fmla="*/ 1288203 w 1321026"/>
              <a:gd name="T79" fmla="*/ 68977 h 1407692"/>
              <a:gd name="T80" fmla="*/ 1302133 w 1321026"/>
              <a:gd name="T81" fmla="*/ 66040 h 1407692"/>
              <a:gd name="T82" fmla="*/ 1313342 w 1321026"/>
              <a:gd name="T83" fmla="*/ 58068 h 1407692"/>
              <a:gd name="T84" fmla="*/ 1320574 w 1321026"/>
              <a:gd name="T85" fmla="*/ 46323 h 1407692"/>
              <a:gd name="T86" fmla="*/ 1319624 w 1321026"/>
              <a:gd name="T87" fmla="*/ 28528 h 1407692"/>
              <a:gd name="T88" fmla="*/ 1314637 w 1321026"/>
              <a:gd name="T89" fmla="*/ 15021 h 1407692"/>
              <a:gd name="T90" fmla="*/ 1306443 w 1321026"/>
              <a:gd name="T91" fmla="*/ 5811 h 1407692"/>
              <a:gd name="T92" fmla="*/ 1295879 w 1321026"/>
              <a:gd name="T93" fmla="*/ 892 h 1407692"/>
              <a:gd name="T94" fmla="*/ 1288203 w 1321026"/>
              <a:gd name="T95" fmla="*/ 0 h 14076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321026" h="1407692">
                <a:moveTo>
                  <a:pt x="1288643" y="0"/>
                </a:moveTo>
                <a:lnTo>
                  <a:pt x="1003338" y="0"/>
                </a:lnTo>
                <a:lnTo>
                  <a:pt x="1003338" y="268173"/>
                </a:lnTo>
                <a:lnTo>
                  <a:pt x="752513" y="268173"/>
                </a:lnTo>
                <a:lnTo>
                  <a:pt x="752513" y="536333"/>
                </a:lnTo>
                <a:lnTo>
                  <a:pt x="501662" y="536333"/>
                </a:lnTo>
                <a:lnTo>
                  <a:pt x="501662" y="804506"/>
                </a:lnTo>
                <a:lnTo>
                  <a:pt x="250825" y="804506"/>
                </a:lnTo>
                <a:lnTo>
                  <a:pt x="250825" y="1072667"/>
                </a:lnTo>
                <a:lnTo>
                  <a:pt x="0" y="1072667"/>
                </a:lnTo>
                <a:lnTo>
                  <a:pt x="0" y="1375308"/>
                </a:lnTo>
                <a:lnTo>
                  <a:pt x="2932" y="1389241"/>
                </a:lnTo>
                <a:lnTo>
                  <a:pt x="10893" y="1400456"/>
                </a:lnTo>
                <a:lnTo>
                  <a:pt x="22631" y="1407692"/>
                </a:lnTo>
                <a:lnTo>
                  <a:pt x="40424" y="1406740"/>
                </a:lnTo>
                <a:lnTo>
                  <a:pt x="53921" y="1401747"/>
                </a:lnTo>
                <a:lnTo>
                  <a:pt x="63123" y="1393549"/>
                </a:lnTo>
                <a:lnTo>
                  <a:pt x="68032" y="1382981"/>
                </a:lnTo>
                <a:lnTo>
                  <a:pt x="68922" y="1141603"/>
                </a:lnTo>
                <a:lnTo>
                  <a:pt x="285292" y="1141603"/>
                </a:lnTo>
                <a:lnTo>
                  <a:pt x="299229" y="1138669"/>
                </a:lnTo>
                <a:lnTo>
                  <a:pt x="310441" y="1130706"/>
                </a:lnTo>
                <a:lnTo>
                  <a:pt x="317676" y="1118968"/>
                </a:lnTo>
                <a:lnTo>
                  <a:pt x="319760" y="873442"/>
                </a:lnTo>
                <a:lnTo>
                  <a:pt x="536130" y="873442"/>
                </a:lnTo>
                <a:lnTo>
                  <a:pt x="550066" y="870507"/>
                </a:lnTo>
                <a:lnTo>
                  <a:pt x="561279" y="862541"/>
                </a:lnTo>
                <a:lnTo>
                  <a:pt x="568513" y="850802"/>
                </a:lnTo>
                <a:lnTo>
                  <a:pt x="570598" y="605269"/>
                </a:lnTo>
                <a:lnTo>
                  <a:pt x="786980" y="605269"/>
                </a:lnTo>
                <a:lnTo>
                  <a:pt x="800917" y="602333"/>
                </a:lnTo>
                <a:lnTo>
                  <a:pt x="812126" y="594364"/>
                </a:lnTo>
                <a:lnTo>
                  <a:pt x="819355" y="582621"/>
                </a:lnTo>
                <a:lnTo>
                  <a:pt x="821436" y="337096"/>
                </a:lnTo>
                <a:lnTo>
                  <a:pt x="1037805" y="337096"/>
                </a:lnTo>
                <a:lnTo>
                  <a:pt x="1051742" y="334162"/>
                </a:lnTo>
                <a:lnTo>
                  <a:pt x="1062954" y="326199"/>
                </a:lnTo>
                <a:lnTo>
                  <a:pt x="1070189" y="314461"/>
                </a:lnTo>
                <a:lnTo>
                  <a:pt x="1072273" y="68935"/>
                </a:lnTo>
                <a:lnTo>
                  <a:pt x="1288643" y="68935"/>
                </a:lnTo>
                <a:lnTo>
                  <a:pt x="1302579" y="66000"/>
                </a:lnTo>
                <a:lnTo>
                  <a:pt x="1313792" y="58034"/>
                </a:lnTo>
                <a:lnTo>
                  <a:pt x="1321026" y="46295"/>
                </a:lnTo>
                <a:lnTo>
                  <a:pt x="1320076" y="28510"/>
                </a:lnTo>
                <a:lnTo>
                  <a:pt x="1315087" y="15013"/>
                </a:lnTo>
                <a:lnTo>
                  <a:pt x="1306891" y="5807"/>
                </a:lnTo>
                <a:lnTo>
                  <a:pt x="1296323" y="892"/>
                </a:lnTo>
                <a:lnTo>
                  <a:pt x="1288643"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1" name="object 95">
            <a:extLst>
              <a:ext uri="{FF2B5EF4-FFF2-40B4-BE49-F238E27FC236}">
                <a16:creationId xmlns:a16="http://schemas.microsoft.com/office/drawing/2014/main" id="{88656441-7842-4597-8DDE-59060A085046}"/>
              </a:ext>
            </a:extLst>
          </p:cNvPr>
          <p:cNvSpPr>
            <a:spLocks/>
          </p:cNvSpPr>
          <p:nvPr/>
        </p:nvSpPr>
        <p:spPr bwMode="auto">
          <a:xfrm>
            <a:off x="5019420" y="3672168"/>
            <a:ext cx="818743" cy="523518"/>
          </a:xfrm>
          <a:custGeom>
            <a:avLst/>
            <a:gdLst>
              <a:gd name="T0" fmla="*/ 1387963 w 1416240"/>
              <a:gd name="T1" fmla="*/ 781930 h 907122"/>
              <a:gd name="T2" fmla="*/ 25896 w 1416240"/>
              <a:gd name="T3" fmla="*/ 781930 h 907122"/>
              <a:gd name="T4" fmla="*/ 25896 w 1416240"/>
              <a:gd name="T5" fmla="*/ 905802 h 907122"/>
              <a:gd name="T6" fmla="*/ 1387963 w 1416240"/>
              <a:gd name="T7" fmla="*/ 905802 h 907122"/>
              <a:gd name="T8" fmla="*/ 1387963 w 1416240"/>
              <a:gd name="T9" fmla="*/ 781930 h 907122"/>
              <a:gd name="T10" fmla="*/ 1286976 w 1416240"/>
              <a:gd name="T11" fmla="*/ 0 h 907122"/>
              <a:gd name="T12" fmla="*/ 106178 w 1416240"/>
              <a:gd name="T13" fmla="*/ 0 h 907122"/>
              <a:gd name="T14" fmla="*/ 0 w 1416240"/>
              <a:gd name="T15" fmla="*/ 301934 h 907122"/>
              <a:gd name="T16" fmla="*/ 106178 w 1416240"/>
              <a:gd name="T17" fmla="*/ 301934 h 907122"/>
              <a:gd name="T18" fmla="*/ 106178 w 1416240"/>
              <a:gd name="T19" fmla="*/ 781930 h 907122"/>
              <a:gd name="T20" fmla="*/ 706928 w 1416240"/>
              <a:gd name="T21" fmla="*/ 781930 h 907122"/>
              <a:gd name="T22" fmla="*/ 706928 w 1416240"/>
              <a:gd name="T23" fmla="*/ 699347 h 907122"/>
              <a:gd name="T24" fmla="*/ 233047 w 1416240"/>
              <a:gd name="T25" fmla="*/ 699347 h 907122"/>
              <a:gd name="T26" fmla="*/ 233047 w 1416240"/>
              <a:gd name="T27" fmla="*/ 433542 h 907122"/>
              <a:gd name="T28" fmla="*/ 1286976 w 1416240"/>
              <a:gd name="T29" fmla="*/ 433542 h 907122"/>
              <a:gd name="T30" fmla="*/ 1286976 w 1416240"/>
              <a:gd name="T31" fmla="*/ 334082 h 907122"/>
              <a:gd name="T32" fmla="*/ 218960 w 1416240"/>
              <a:gd name="T33" fmla="*/ 334082 h 907122"/>
              <a:gd name="T34" fmla="*/ 218960 w 1416240"/>
              <a:gd name="T35" fmla="*/ 86627 h 907122"/>
              <a:gd name="T36" fmla="*/ 1324866 w 1416240"/>
              <a:gd name="T37" fmla="*/ 86627 h 907122"/>
              <a:gd name="T38" fmla="*/ 1286976 w 1416240"/>
              <a:gd name="T39" fmla="*/ 0 h 907122"/>
              <a:gd name="T40" fmla="*/ 959407 w 1416240"/>
              <a:gd name="T41" fmla="*/ 433542 h 907122"/>
              <a:gd name="T42" fmla="*/ 916676 w 1416240"/>
              <a:gd name="T43" fmla="*/ 433542 h 907122"/>
              <a:gd name="T44" fmla="*/ 916676 w 1416240"/>
              <a:gd name="T45" fmla="*/ 781930 h 907122"/>
              <a:gd name="T46" fmla="*/ 959407 w 1416240"/>
              <a:gd name="T47" fmla="*/ 781930 h 907122"/>
              <a:gd name="T48" fmla="*/ 959407 w 1416240"/>
              <a:gd name="T49" fmla="*/ 433542 h 907122"/>
              <a:gd name="T50" fmla="*/ 1286976 w 1416240"/>
              <a:gd name="T51" fmla="*/ 433542 h 907122"/>
              <a:gd name="T52" fmla="*/ 1169155 w 1416240"/>
              <a:gd name="T53" fmla="*/ 433542 h 907122"/>
              <a:gd name="T54" fmla="*/ 1169155 w 1416240"/>
              <a:gd name="T55" fmla="*/ 781930 h 907122"/>
              <a:gd name="T56" fmla="*/ 1286976 w 1416240"/>
              <a:gd name="T57" fmla="*/ 781930 h 907122"/>
              <a:gd name="T58" fmla="*/ 1286976 w 1416240"/>
              <a:gd name="T59" fmla="*/ 433542 h 907122"/>
              <a:gd name="T60" fmla="*/ 706928 w 1416240"/>
              <a:gd name="T61" fmla="*/ 433542 h 907122"/>
              <a:gd name="T62" fmla="*/ 624063 w 1416240"/>
              <a:gd name="T63" fmla="*/ 433542 h 907122"/>
              <a:gd name="T64" fmla="*/ 624063 w 1416240"/>
              <a:gd name="T65" fmla="*/ 699347 h 907122"/>
              <a:gd name="T66" fmla="*/ 706928 w 1416240"/>
              <a:gd name="T67" fmla="*/ 699347 h 907122"/>
              <a:gd name="T68" fmla="*/ 706928 w 1416240"/>
              <a:gd name="T69" fmla="*/ 433542 h 907122"/>
              <a:gd name="T70" fmla="*/ 1324866 w 1416240"/>
              <a:gd name="T71" fmla="*/ 86627 h 907122"/>
              <a:gd name="T72" fmla="*/ 1180658 w 1416240"/>
              <a:gd name="T73" fmla="*/ 86627 h 907122"/>
              <a:gd name="T74" fmla="*/ 1180658 w 1416240"/>
              <a:gd name="T75" fmla="*/ 334082 h 907122"/>
              <a:gd name="T76" fmla="*/ 1286976 w 1416240"/>
              <a:gd name="T77" fmla="*/ 334082 h 907122"/>
              <a:gd name="T78" fmla="*/ 1286976 w 1416240"/>
              <a:gd name="T79" fmla="*/ 301934 h 907122"/>
              <a:gd name="T80" fmla="*/ 1419037 w 1416240"/>
              <a:gd name="T81" fmla="*/ 301934 h 907122"/>
              <a:gd name="T82" fmla="*/ 1324866 w 1416240"/>
              <a:gd name="T83" fmla="*/ 86627 h 907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16240" h="907122">
                <a:moveTo>
                  <a:pt x="1385227" y="783069"/>
                </a:moveTo>
                <a:lnTo>
                  <a:pt x="25844" y="783069"/>
                </a:lnTo>
                <a:lnTo>
                  <a:pt x="25844" y="907122"/>
                </a:lnTo>
                <a:lnTo>
                  <a:pt x="1385227" y="907122"/>
                </a:lnTo>
                <a:lnTo>
                  <a:pt x="1385227" y="783069"/>
                </a:lnTo>
                <a:close/>
              </a:path>
              <a:path w="1416240" h="907122">
                <a:moveTo>
                  <a:pt x="1284439" y="0"/>
                </a:moveTo>
                <a:lnTo>
                  <a:pt x="105968" y="0"/>
                </a:lnTo>
                <a:lnTo>
                  <a:pt x="0" y="302374"/>
                </a:lnTo>
                <a:lnTo>
                  <a:pt x="105968" y="302374"/>
                </a:lnTo>
                <a:lnTo>
                  <a:pt x="105968" y="783069"/>
                </a:lnTo>
                <a:lnTo>
                  <a:pt x="705535" y="783069"/>
                </a:lnTo>
                <a:lnTo>
                  <a:pt x="705535" y="700366"/>
                </a:lnTo>
                <a:lnTo>
                  <a:pt x="232587" y="700366"/>
                </a:lnTo>
                <a:lnTo>
                  <a:pt x="232587" y="434174"/>
                </a:lnTo>
                <a:lnTo>
                  <a:pt x="1284439" y="434174"/>
                </a:lnTo>
                <a:lnTo>
                  <a:pt x="1284439" y="334568"/>
                </a:lnTo>
                <a:lnTo>
                  <a:pt x="218528" y="334568"/>
                </a:lnTo>
                <a:lnTo>
                  <a:pt x="218528" y="86753"/>
                </a:lnTo>
                <a:lnTo>
                  <a:pt x="1322254" y="86753"/>
                </a:lnTo>
                <a:lnTo>
                  <a:pt x="1284439" y="0"/>
                </a:lnTo>
                <a:close/>
              </a:path>
              <a:path w="1416240" h="907122">
                <a:moveTo>
                  <a:pt x="957516" y="434174"/>
                </a:moveTo>
                <a:lnTo>
                  <a:pt x="914869" y="434174"/>
                </a:lnTo>
                <a:lnTo>
                  <a:pt x="914869" y="783069"/>
                </a:lnTo>
                <a:lnTo>
                  <a:pt x="957516" y="783069"/>
                </a:lnTo>
                <a:lnTo>
                  <a:pt x="957516" y="434174"/>
                </a:lnTo>
                <a:close/>
              </a:path>
              <a:path w="1416240" h="907122">
                <a:moveTo>
                  <a:pt x="1284439" y="434174"/>
                </a:moveTo>
                <a:lnTo>
                  <a:pt x="1166850" y="434174"/>
                </a:lnTo>
                <a:lnTo>
                  <a:pt x="1166850" y="783069"/>
                </a:lnTo>
                <a:lnTo>
                  <a:pt x="1284439" y="783069"/>
                </a:lnTo>
                <a:lnTo>
                  <a:pt x="1284439" y="434174"/>
                </a:lnTo>
                <a:close/>
              </a:path>
              <a:path w="1416240" h="907122">
                <a:moveTo>
                  <a:pt x="705535" y="434174"/>
                </a:moveTo>
                <a:lnTo>
                  <a:pt x="622833" y="434174"/>
                </a:lnTo>
                <a:lnTo>
                  <a:pt x="622833" y="700366"/>
                </a:lnTo>
                <a:lnTo>
                  <a:pt x="705535" y="700366"/>
                </a:lnTo>
                <a:lnTo>
                  <a:pt x="705535" y="434174"/>
                </a:lnTo>
                <a:close/>
              </a:path>
              <a:path w="1416240" h="907122">
                <a:moveTo>
                  <a:pt x="1322254" y="86753"/>
                </a:moveTo>
                <a:lnTo>
                  <a:pt x="1178331" y="86753"/>
                </a:lnTo>
                <a:lnTo>
                  <a:pt x="1178331" y="334568"/>
                </a:lnTo>
                <a:lnTo>
                  <a:pt x="1284439" y="334568"/>
                </a:lnTo>
                <a:lnTo>
                  <a:pt x="1284439" y="302374"/>
                </a:lnTo>
                <a:lnTo>
                  <a:pt x="1416240" y="302374"/>
                </a:lnTo>
                <a:lnTo>
                  <a:pt x="1322254" y="86753"/>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2" name="object 96">
            <a:extLst>
              <a:ext uri="{FF2B5EF4-FFF2-40B4-BE49-F238E27FC236}">
                <a16:creationId xmlns:a16="http://schemas.microsoft.com/office/drawing/2014/main" id="{1FBA2605-CB68-4E5F-9E9C-4C425CBB612C}"/>
              </a:ext>
            </a:extLst>
          </p:cNvPr>
          <p:cNvSpPr>
            <a:spLocks/>
          </p:cNvSpPr>
          <p:nvPr/>
        </p:nvSpPr>
        <p:spPr bwMode="auto">
          <a:xfrm>
            <a:off x="5277054" y="3779439"/>
            <a:ext cx="29339" cy="28422"/>
          </a:xfrm>
          <a:custGeom>
            <a:avLst/>
            <a:gdLst>
              <a:gd name="T0" fmla="*/ 29398 w 50977"/>
              <a:gd name="T1" fmla="*/ 0 h 50266"/>
              <a:gd name="T2" fmla="*/ 17416 w 50977"/>
              <a:gd name="T3" fmla="*/ 0 h 50266"/>
              <a:gd name="T4" fmla="*/ 11237 w 50977"/>
              <a:gd name="T5" fmla="*/ 2216 h 50266"/>
              <a:gd name="T6" fmla="*/ 2257 w 50977"/>
              <a:gd name="T7" fmla="*/ 11065 h 50266"/>
              <a:gd name="T8" fmla="*/ 0 w 50977"/>
              <a:gd name="T9" fmla="*/ 16872 h 50266"/>
              <a:gd name="T10" fmla="*/ 0 w 50977"/>
              <a:gd name="T11" fmla="*/ 31237 h 50266"/>
              <a:gd name="T12" fmla="*/ 2257 w 50977"/>
              <a:gd name="T13" fmla="*/ 37055 h 50266"/>
              <a:gd name="T14" fmla="*/ 11300 w 50977"/>
              <a:gd name="T15" fmla="*/ 45955 h 50266"/>
              <a:gd name="T16" fmla="*/ 17454 w 50977"/>
              <a:gd name="T17" fmla="*/ 48182 h 50266"/>
              <a:gd name="T18" fmla="*/ 30659 w 50977"/>
              <a:gd name="T19" fmla="*/ 48182 h 50266"/>
              <a:gd name="T20" fmla="*/ 50624 w 50977"/>
              <a:gd name="T21" fmla="*/ 28754 h 50266"/>
              <a:gd name="T22" fmla="*/ 50624 w 50977"/>
              <a:gd name="T23" fmla="*/ 20536 h 50266"/>
              <a:gd name="T24" fmla="*/ 29398 w 50977"/>
              <a:gd name="T25" fmla="*/ 0 h 502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0977" h="50266">
                <a:moveTo>
                  <a:pt x="29603" y="0"/>
                </a:moveTo>
                <a:lnTo>
                  <a:pt x="17538" y="0"/>
                </a:lnTo>
                <a:lnTo>
                  <a:pt x="11315" y="2311"/>
                </a:lnTo>
                <a:lnTo>
                  <a:pt x="2273" y="11544"/>
                </a:lnTo>
                <a:lnTo>
                  <a:pt x="0" y="17602"/>
                </a:lnTo>
                <a:lnTo>
                  <a:pt x="0" y="32588"/>
                </a:lnTo>
                <a:lnTo>
                  <a:pt x="2273" y="38658"/>
                </a:lnTo>
                <a:lnTo>
                  <a:pt x="11379" y="47942"/>
                </a:lnTo>
                <a:lnTo>
                  <a:pt x="17576" y="50266"/>
                </a:lnTo>
                <a:lnTo>
                  <a:pt x="30873" y="50266"/>
                </a:lnTo>
                <a:lnTo>
                  <a:pt x="50977" y="29997"/>
                </a:lnTo>
                <a:lnTo>
                  <a:pt x="50977" y="21424"/>
                </a:lnTo>
                <a:lnTo>
                  <a:pt x="29603"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3" name="object 97">
            <a:extLst>
              <a:ext uri="{FF2B5EF4-FFF2-40B4-BE49-F238E27FC236}">
                <a16:creationId xmlns:a16="http://schemas.microsoft.com/office/drawing/2014/main" id="{36401BEC-25B6-47A4-995E-A062602B829F}"/>
              </a:ext>
            </a:extLst>
          </p:cNvPr>
          <p:cNvSpPr>
            <a:spLocks/>
          </p:cNvSpPr>
          <p:nvPr/>
        </p:nvSpPr>
        <p:spPr bwMode="auto">
          <a:xfrm>
            <a:off x="5159698" y="3735430"/>
            <a:ext cx="527186" cy="116440"/>
          </a:xfrm>
          <a:custGeom>
            <a:avLst/>
            <a:gdLst>
              <a:gd name="T0" fmla="*/ 0 w 913841"/>
              <a:gd name="T1" fmla="*/ 0 h 201853"/>
              <a:gd name="T2" fmla="*/ 911784 w 913841"/>
              <a:gd name="T3" fmla="*/ 201373 h 201853"/>
              <a:gd name="T4" fmla="*/ 576523 w 913841"/>
              <a:gd name="T5" fmla="*/ 150833 h 201853"/>
              <a:gd name="T6" fmla="*/ 235442 w 913841"/>
              <a:gd name="T7" fmla="*/ 150534 h 201853"/>
              <a:gd name="T8" fmla="*/ 179502 w 913841"/>
              <a:gd name="T9" fmla="*/ 126444 h 201853"/>
              <a:gd name="T10" fmla="*/ 174105 w 913841"/>
              <a:gd name="T11" fmla="*/ 88671 h 201853"/>
              <a:gd name="T12" fmla="*/ 219530 w 913841"/>
              <a:gd name="T13" fmla="*/ 50908 h 201853"/>
              <a:gd name="T14" fmla="*/ 578019 w 913841"/>
              <a:gd name="T15" fmla="*/ 50464 h 201853"/>
              <a:gd name="T16" fmla="*/ 911784 w 913841"/>
              <a:gd name="T17" fmla="*/ 0 h 201853"/>
              <a:gd name="T18" fmla="*/ 623623 w 913841"/>
              <a:gd name="T19" fmla="*/ 117474 h 201853"/>
              <a:gd name="T20" fmla="*/ 619569 w 913841"/>
              <a:gd name="T21" fmla="*/ 144347 h 201853"/>
              <a:gd name="T22" fmla="*/ 911784 w 913841"/>
              <a:gd name="T23" fmla="*/ 150833 h 201853"/>
              <a:gd name="T24" fmla="*/ 643442 w 913841"/>
              <a:gd name="T25" fmla="*/ 149567 h 201853"/>
              <a:gd name="T26" fmla="*/ 574877 w 913841"/>
              <a:gd name="T27" fmla="*/ 50908 h 201853"/>
              <a:gd name="T28" fmla="*/ 236081 w 913841"/>
              <a:gd name="T29" fmla="*/ 51157 h 201853"/>
              <a:gd name="T30" fmla="*/ 277807 w 913841"/>
              <a:gd name="T31" fmla="*/ 75308 h 201853"/>
              <a:gd name="T32" fmla="*/ 283687 w 913841"/>
              <a:gd name="T33" fmla="*/ 100610 h 201853"/>
              <a:gd name="T34" fmla="*/ 235442 w 913841"/>
              <a:gd name="T35" fmla="*/ 150534 h 201853"/>
              <a:gd name="T36" fmla="*/ 568896 w 913841"/>
              <a:gd name="T37" fmla="*/ 149656 h 201853"/>
              <a:gd name="T38" fmla="*/ 302036 w 913841"/>
              <a:gd name="T39" fmla="*/ 149567 h 201853"/>
              <a:gd name="T40" fmla="*/ 569816 w 913841"/>
              <a:gd name="T41" fmla="*/ 51806 h 201853"/>
              <a:gd name="T42" fmla="*/ 574877 w 913841"/>
              <a:gd name="T43" fmla="*/ 50908 h 201853"/>
              <a:gd name="T44" fmla="*/ 372071 w 913841"/>
              <a:gd name="T45" fmla="*/ 51806 h 201853"/>
              <a:gd name="T46" fmla="*/ 331509 w 913841"/>
              <a:gd name="T47" fmla="*/ 71419 h 201853"/>
              <a:gd name="T48" fmla="*/ 372071 w 913841"/>
              <a:gd name="T49" fmla="*/ 90322 h 201853"/>
              <a:gd name="T50" fmla="*/ 331509 w 913841"/>
              <a:gd name="T51" fmla="*/ 109999 h 201853"/>
              <a:gd name="T52" fmla="*/ 391901 w 913841"/>
              <a:gd name="T53" fmla="*/ 149567 h 201853"/>
              <a:gd name="T54" fmla="*/ 481906 w 913841"/>
              <a:gd name="T55" fmla="*/ 51806 h 201853"/>
              <a:gd name="T56" fmla="*/ 461949 w 913841"/>
              <a:gd name="T57" fmla="*/ 71419 h 201853"/>
              <a:gd name="T58" fmla="*/ 421387 w 913841"/>
              <a:gd name="T59" fmla="*/ 90322 h 201853"/>
              <a:gd name="T60" fmla="*/ 461949 w 913841"/>
              <a:gd name="T61" fmla="*/ 109999 h 201853"/>
              <a:gd name="T62" fmla="*/ 421387 w 913841"/>
              <a:gd name="T63" fmla="*/ 149567 h 201853"/>
              <a:gd name="T64" fmla="*/ 481906 w 913841"/>
              <a:gd name="T65" fmla="*/ 51806 h 201853"/>
              <a:gd name="T66" fmla="*/ 511393 w 913841"/>
              <a:gd name="T67" fmla="*/ 51806 h 201853"/>
              <a:gd name="T68" fmla="*/ 568641 w 913841"/>
              <a:gd name="T69" fmla="*/ 149567 h 201853"/>
              <a:gd name="T70" fmla="*/ 549547 w 913841"/>
              <a:gd name="T71" fmla="*/ 141483 h 201853"/>
              <a:gd name="T72" fmla="*/ 535899 w 913841"/>
              <a:gd name="T73" fmla="*/ 126952 h 201853"/>
              <a:gd name="T74" fmla="*/ 529728 w 913841"/>
              <a:gd name="T75" fmla="*/ 107947 h 201853"/>
              <a:gd name="T76" fmla="*/ 551586 w 913841"/>
              <a:gd name="T77" fmla="*/ 58559 h 201853"/>
              <a:gd name="T78" fmla="*/ 569816 w 913841"/>
              <a:gd name="T79" fmla="*/ 51806 h 201853"/>
              <a:gd name="T80" fmla="*/ 715947 w 913841"/>
              <a:gd name="T81" fmla="*/ 51806 h 201853"/>
              <a:gd name="T82" fmla="*/ 672928 w 913841"/>
              <a:gd name="T83" fmla="*/ 71419 h 201853"/>
              <a:gd name="T84" fmla="*/ 713983 w 913841"/>
              <a:gd name="T85" fmla="*/ 89335 h 201853"/>
              <a:gd name="T86" fmla="*/ 672928 w 913841"/>
              <a:gd name="T87" fmla="*/ 109010 h 201853"/>
              <a:gd name="T88" fmla="*/ 717152 w 913841"/>
              <a:gd name="T89" fmla="*/ 129890 h 201853"/>
              <a:gd name="T90" fmla="*/ 911784 w 913841"/>
              <a:gd name="T91" fmla="*/ 149567 h 201853"/>
              <a:gd name="T92" fmla="*/ 598547 w 913841"/>
              <a:gd name="T93" fmla="*/ 73320 h 201853"/>
              <a:gd name="T94" fmla="*/ 581161 w 913841"/>
              <a:gd name="T95" fmla="*/ 74447 h 201853"/>
              <a:gd name="T96" fmla="*/ 567298 w 913841"/>
              <a:gd name="T97" fmla="*/ 82188 h 201853"/>
              <a:gd name="T98" fmla="*/ 559784 w 913841"/>
              <a:gd name="T99" fmla="*/ 95441 h 201853"/>
              <a:gd name="T100" fmla="*/ 584658 w 913841"/>
              <a:gd name="T101" fmla="*/ 128053 h 201853"/>
              <a:gd name="T102" fmla="*/ 623623 w 913841"/>
              <a:gd name="T103" fmla="*/ 117474 h 201853"/>
              <a:gd name="T104" fmla="*/ 643442 w 913841"/>
              <a:gd name="T105" fmla="*/ 83823 h 201853"/>
              <a:gd name="T106" fmla="*/ 618352 w 913841"/>
              <a:gd name="T107" fmla="*/ 80821 h 201853"/>
              <a:gd name="T108" fmla="*/ 604109 w 913841"/>
              <a:gd name="T109" fmla="*/ 74321 h 201853"/>
              <a:gd name="T110" fmla="*/ 911784 w 913841"/>
              <a:gd name="T111" fmla="*/ 50464 h 201853"/>
              <a:gd name="T112" fmla="*/ 596911 w 913841"/>
              <a:gd name="T113" fmla="*/ 51268 h 201853"/>
              <a:gd name="T114" fmla="*/ 622708 w 913841"/>
              <a:gd name="T115" fmla="*/ 57705 h 201853"/>
              <a:gd name="T116" fmla="*/ 643442 w 913841"/>
              <a:gd name="T117" fmla="*/ 83823 h 201853"/>
              <a:gd name="T118" fmla="*/ 911784 w 913841"/>
              <a:gd name="T119" fmla="*/ 51806 h 2018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13841" h="201853">
                <a:moveTo>
                  <a:pt x="913841" y="0"/>
                </a:moveTo>
                <a:lnTo>
                  <a:pt x="0" y="0"/>
                </a:lnTo>
                <a:lnTo>
                  <a:pt x="0" y="201853"/>
                </a:lnTo>
                <a:lnTo>
                  <a:pt x="913841" y="201853"/>
                </a:lnTo>
                <a:lnTo>
                  <a:pt x="913841" y="151193"/>
                </a:lnTo>
                <a:lnTo>
                  <a:pt x="577824" y="151193"/>
                </a:lnTo>
                <a:lnTo>
                  <a:pt x="575876" y="150892"/>
                </a:lnTo>
                <a:lnTo>
                  <a:pt x="235973" y="150892"/>
                </a:lnTo>
                <a:lnTo>
                  <a:pt x="219587" y="150343"/>
                </a:lnTo>
                <a:lnTo>
                  <a:pt x="179907" y="126746"/>
                </a:lnTo>
                <a:lnTo>
                  <a:pt x="173142" y="102190"/>
                </a:lnTo>
                <a:lnTo>
                  <a:pt x="174497" y="88883"/>
                </a:lnTo>
                <a:lnTo>
                  <a:pt x="207721" y="53597"/>
                </a:lnTo>
                <a:lnTo>
                  <a:pt x="220025" y="51030"/>
                </a:lnTo>
                <a:lnTo>
                  <a:pt x="576174" y="51030"/>
                </a:lnTo>
                <a:lnTo>
                  <a:pt x="579323" y="50584"/>
                </a:lnTo>
                <a:lnTo>
                  <a:pt x="913841" y="50584"/>
                </a:lnTo>
                <a:lnTo>
                  <a:pt x="913841" y="0"/>
                </a:lnTo>
                <a:close/>
              </a:path>
              <a:path w="913841" h="201853">
                <a:moveTo>
                  <a:pt x="644893" y="117754"/>
                </a:moveTo>
                <a:lnTo>
                  <a:pt x="625030" y="117754"/>
                </a:lnTo>
                <a:lnTo>
                  <a:pt x="625030" y="142570"/>
                </a:lnTo>
                <a:lnTo>
                  <a:pt x="620966" y="144691"/>
                </a:lnTo>
                <a:lnTo>
                  <a:pt x="590969" y="151193"/>
                </a:lnTo>
                <a:lnTo>
                  <a:pt x="913841" y="151193"/>
                </a:lnTo>
                <a:lnTo>
                  <a:pt x="913841" y="149923"/>
                </a:lnTo>
                <a:lnTo>
                  <a:pt x="644893" y="149923"/>
                </a:lnTo>
                <a:lnTo>
                  <a:pt x="644893" y="117754"/>
                </a:lnTo>
                <a:close/>
              </a:path>
              <a:path w="913841" h="201853">
                <a:moveTo>
                  <a:pt x="576174" y="51030"/>
                </a:moveTo>
                <a:lnTo>
                  <a:pt x="220025" y="51030"/>
                </a:lnTo>
                <a:lnTo>
                  <a:pt x="236613" y="51279"/>
                </a:lnTo>
                <a:lnTo>
                  <a:pt x="247639" y="52950"/>
                </a:lnTo>
                <a:lnTo>
                  <a:pt x="278434" y="75488"/>
                </a:lnTo>
                <a:lnTo>
                  <a:pt x="284327" y="94119"/>
                </a:lnTo>
                <a:lnTo>
                  <a:pt x="284327" y="100850"/>
                </a:lnTo>
                <a:lnTo>
                  <a:pt x="259978" y="143944"/>
                </a:lnTo>
                <a:lnTo>
                  <a:pt x="235973" y="150892"/>
                </a:lnTo>
                <a:lnTo>
                  <a:pt x="575876" y="150892"/>
                </a:lnTo>
                <a:lnTo>
                  <a:pt x="570179" y="150012"/>
                </a:lnTo>
                <a:lnTo>
                  <a:pt x="569924" y="149923"/>
                </a:lnTo>
                <a:lnTo>
                  <a:pt x="302717" y="149923"/>
                </a:lnTo>
                <a:lnTo>
                  <a:pt x="302717" y="51930"/>
                </a:lnTo>
                <a:lnTo>
                  <a:pt x="571101" y="51930"/>
                </a:lnTo>
                <a:lnTo>
                  <a:pt x="572249" y="51587"/>
                </a:lnTo>
                <a:lnTo>
                  <a:pt x="576174" y="51030"/>
                </a:lnTo>
                <a:close/>
              </a:path>
              <a:path w="913841" h="201853">
                <a:moveTo>
                  <a:pt x="392785" y="51930"/>
                </a:moveTo>
                <a:lnTo>
                  <a:pt x="372910" y="51930"/>
                </a:lnTo>
                <a:lnTo>
                  <a:pt x="372910" y="71589"/>
                </a:lnTo>
                <a:lnTo>
                  <a:pt x="332257" y="71589"/>
                </a:lnTo>
                <a:lnTo>
                  <a:pt x="332257" y="90538"/>
                </a:lnTo>
                <a:lnTo>
                  <a:pt x="372910" y="90538"/>
                </a:lnTo>
                <a:lnTo>
                  <a:pt x="372910" y="110261"/>
                </a:lnTo>
                <a:lnTo>
                  <a:pt x="332257" y="110261"/>
                </a:lnTo>
                <a:lnTo>
                  <a:pt x="332257" y="149923"/>
                </a:lnTo>
                <a:lnTo>
                  <a:pt x="392785" y="149923"/>
                </a:lnTo>
                <a:lnTo>
                  <a:pt x="392785" y="51930"/>
                </a:lnTo>
                <a:close/>
              </a:path>
              <a:path w="913841" h="201853">
                <a:moveTo>
                  <a:pt x="482993" y="51930"/>
                </a:moveTo>
                <a:lnTo>
                  <a:pt x="462991" y="51930"/>
                </a:lnTo>
                <a:lnTo>
                  <a:pt x="462991" y="71589"/>
                </a:lnTo>
                <a:lnTo>
                  <a:pt x="422338" y="71589"/>
                </a:lnTo>
                <a:lnTo>
                  <a:pt x="422338" y="90538"/>
                </a:lnTo>
                <a:lnTo>
                  <a:pt x="462991" y="90538"/>
                </a:lnTo>
                <a:lnTo>
                  <a:pt x="462991" y="110261"/>
                </a:lnTo>
                <a:lnTo>
                  <a:pt x="422338" y="110261"/>
                </a:lnTo>
                <a:lnTo>
                  <a:pt x="422338" y="149923"/>
                </a:lnTo>
                <a:lnTo>
                  <a:pt x="482993" y="149923"/>
                </a:lnTo>
                <a:lnTo>
                  <a:pt x="482993" y="51930"/>
                </a:lnTo>
                <a:close/>
              </a:path>
              <a:path w="913841" h="201853">
                <a:moveTo>
                  <a:pt x="571101" y="51930"/>
                </a:moveTo>
                <a:lnTo>
                  <a:pt x="512546" y="51930"/>
                </a:lnTo>
                <a:lnTo>
                  <a:pt x="512546" y="149923"/>
                </a:lnTo>
                <a:lnTo>
                  <a:pt x="569924" y="149923"/>
                </a:lnTo>
                <a:lnTo>
                  <a:pt x="556653" y="145300"/>
                </a:lnTo>
                <a:lnTo>
                  <a:pt x="550786" y="141820"/>
                </a:lnTo>
                <a:lnTo>
                  <a:pt x="540829" y="132626"/>
                </a:lnTo>
                <a:lnTo>
                  <a:pt x="537108" y="127254"/>
                </a:lnTo>
                <a:lnTo>
                  <a:pt x="532155" y="114947"/>
                </a:lnTo>
                <a:lnTo>
                  <a:pt x="530923" y="108204"/>
                </a:lnTo>
                <a:lnTo>
                  <a:pt x="530923" y="92417"/>
                </a:lnTo>
                <a:lnTo>
                  <a:pt x="552830" y="58699"/>
                </a:lnTo>
                <a:lnTo>
                  <a:pt x="558812" y="55600"/>
                </a:lnTo>
                <a:lnTo>
                  <a:pt x="571101" y="51930"/>
                </a:lnTo>
                <a:close/>
              </a:path>
              <a:path w="913841" h="201853">
                <a:moveTo>
                  <a:pt x="913841" y="51930"/>
                </a:moveTo>
                <a:lnTo>
                  <a:pt x="717562" y="51930"/>
                </a:lnTo>
                <a:lnTo>
                  <a:pt x="717562" y="71589"/>
                </a:lnTo>
                <a:lnTo>
                  <a:pt x="674446" y="71589"/>
                </a:lnTo>
                <a:lnTo>
                  <a:pt x="674446" y="89547"/>
                </a:lnTo>
                <a:lnTo>
                  <a:pt x="715594" y="89547"/>
                </a:lnTo>
                <a:lnTo>
                  <a:pt x="715594" y="109270"/>
                </a:lnTo>
                <a:lnTo>
                  <a:pt x="674446" y="109270"/>
                </a:lnTo>
                <a:lnTo>
                  <a:pt x="674446" y="130200"/>
                </a:lnTo>
                <a:lnTo>
                  <a:pt x="718769" y="130200"/>
                </a:lnTo>
                <a:lnTo>
                  <a:pt x="718769" y="149923"/>
                </a:lnTo>
                <a:lnTo>
                  <a:pt x="913841" y="149923"/>
                </a:lnTo>
                <a:lnTo>
                  <a:pt x="913841" y="51930"/>
                </a:lnTo>
                <a:close/>
              </a:path>
              <a:path w="913841" h="201853">
                <a:moveTo>
                  <a:pt x="599897" y="73494"/>
                </a:moveTo>
                <a:lnTo>
                  <a:pt x="587794" y="73494"/>
                </a:lnTo>
                <a:lnTo>
                  <a:pt x="582472" y="74625"/>
                </a:lnTo>
                <a:lnTo>
                  <a:pt x="572566" y="79146"/>
                </a:lnTo>
                <a:lnTo>
                  <a:pt x="568578" y="82384"/>
                </a:lnTo>
                <a:lnTo>
                  <a:pt x="562559" y="90766"/>
                </a:lnTo>
                <a:lnTo>
                  <a:pt x="561047" y="95669"/>
                </a:lnTo>
                <a:lnTo>
                  <a:pt x="561047" y="106222"/>
                </a:lnTo>
                <a:lnTo>
                  <a:pt x="585977" y="128358"/>
                </a:lnTo>
                <a:lnTo>
                  <a:pt x="596633" y="128358"/>
                </a:lnTo>
                <a:lnTo>
                  <a:pt x="625030" y="117754"/>
                </a:lnTo>
                <a:lnTo>
                  <a:pt x="644893" y="117754"/>
                </a:lnTo>
                <a:lnTo>
                  <a:pt x="644893" y="84023"/>
                </a:lnTo>
                <a:lnTo>
                  <a:pt x="624598" y="84023"/>
                </a:lnTo>
                <a:lnTo>
                  <a:pt x="619747" y="81013"/>
                </a:lnTo>
                <a:lnTo>
                  <a:pt x="614946" y="78498"/>
                </a:lnTo>
                <a:lnTo>
                  <a:pt x="605472" y="74498"/>
                </a:lnTo>
                <a:lnTo>
                  <a:pt x="599897" y="73494"/>
                </a:lnTo>
                <a:close/>
              </a:path>
              <a:path w="913841" h="201853">
                <a:moveTo>
                  <a:pt x="913841" y="50584"/>
                </a:moveTo>
                <a:lnTo>
                  <a:pt x="586778" y="50584"/>
                </a:lnTo>
                <a:lnTo>
                  <a:pt x="598258" y="51390"/>
                </a:lnTo>
                <a:lnTo>
                  <a:pt x="610704" y="53810"/>
                </a:lnTo>
                <a:lnTo>
                  <a:pt x="624113" y="57843"/>
                </a:lnTo>
                <a:lnTo>
                  <a:pt x="624598" y="84023"/>
                </a:lnTo>
                <a:lnTo>
                  <a:pt x="644893" y="84023"/>
                </a:lnTo>
                <a:lnTo>
                  <a:pt x="644893" y="51930"/>
                </a:lnTo>
                <a:lnTo>
                  <a:pt x="913841" y="51930"/>
                </a:lnTo>
                <a:lnTo>
                  <a:pt x="913841" y="50584"/>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4" name="object 98">
            <a:extLst>
              <a:ext uri="{FF2B5EF4-FFF2-40B4-BE49-F238E27FC236}">
                <a16:creationId xmlns:a16="http://schemas.microsoft.com/office/drawing/2014/main" id="{303425CD-C2E4-4C8A-95BE-54C176FBDE82}"/>
              </a:ext>
            </a:extLst>
          </p:cNvPr>
          <p:cNvSpPr>
            <a:spLocks/>
          </p:cNvSpPr>
          <p:nvPr/>
        </p:nvSpPr>
        <p:spPr bwMode="auto">
          <a:xfrm>
            <a:off x="5912427" y="3980228"/>
            <a:ext cx="63263" cy="64179"/>
          </a:xfrm>
          <a:custGeom>
            <a:avLst/>
            <a:gdLst>
              <a:gd name="T0" fmla="*/ 59798 w 110297"/>
              <a:gd name="T1" fmla="*/ 0 h 110133"/>
              <a:gd name="T2" fmla="*/ 18988 w 110297"/>
              <a:gd name="T3" fmla="*/ 14082 h 110133"/>
              <a:gd name="T4" fmla="*/ 382 w 110297"/>
              <a:gd name="T5" fmla="*/ 49271 h 110133"/>
              <a:gd name="T6" fmla="*/ 0 w 110297"/>
              <a:gd name="T7" fmla="*/ 55950 h 110133"/>
              <a:gd name="T8" fmla="*/ 1854 w 110297"/>
              <a:gd name="T9" fmla="*/ 70548 h 110133"/>
              <a:gd name="T10" fmla="*/ 25812 w 110297"/>
              <a:gd name="T11" fmla="*/ 103769 h 110133"/>
              <a:gd name="T12" fmla="*/ 52286 w 110297"/>
              <a:gd name="T13" fmla="*/ 112126 h 110133"/>
              <a:gd name="T14" fmla="*/ 67037 w 110297"/>
              <a:gd name="T15" fmla="*/ 110304 h 110133"/>
              <a:gd name="T16" fmla="*/ 100093 w 110297"/>
              <a:gd name="T17" fmla="*/ 86483 h 110133"/>
              <a:gd name="T18" fmla="*/ 108784 w 110297"/>
              <a:gd name="T19" fmla="*/ 60003 h 110133"/>
              <a:gd name="T20" fmla="*/ 107117 w 110297"/>
              <a:gd name="T21" fmla="*/ 44294 h 110133"/>
              <a:gd name="T22" fmla="*/ 84781 w 110297"/>
              <a:gd name="T23" fmla="*/ 9460 h 110133"/>
              <a:gd name="T24" fmla="*/ 59798 w 110297"/>
              <a:gd name="T25" fmla="*/ 0 h 1101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7" h="110133">
                <a:moveTo>
                  <a:pt x="60629" y="0"/>
                </a:moveTo>
                <a:lnTo>
                  <a:pt x="19252" y="13831"/>
                </a:lnTo>
                <a:lnTo>
                  <a:pt x="388" y="48395"/>
                </a:lnTo>
                <a:lnTo>
                  <a:pt x="0" y="54956"/>
                </a:lnTo>
                <a:lnTo>
                  <a:pt x="1880" y="69294"/>
                </a:lnTo>
                <a:lnTo>
                  <a:pt x="26171" y="101925"/>
                </a:lnTo>
                <a:lnTo>
                  <a:pt x="53013" y="110133"/>
                </a:lnTo>
                <a:lnTo>
                  <a:pt x="67970" y="108343"/>
                </a:lnTo>
                <a:lnTo>
                  <a:pt x="101485" y="84946"/>
                </a:lnTo>
                <a:lnTo>
                  <a:pt x="110297" y="58936"/>
                </a:lnTo>
                <a:lnTo>
                  <a:pt x="108606" y="43507"/>
                </a:lnTo>
                <a:lnTo>
                  <a:pt x="85960" y="9292"/>
                </a:lnTo>
                <a:lnTo>
                  <a:pt x="60629"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5" name="object 99">
            <a:extLst>
              <a:ext uri="{FF2B5EF4-FFF2-40B4-BE49-F238E27FC236}">
                <a16:creationId xmlns:a16="http://schemas.microsoft.com/office/drawing/2014/main" id="{9F7CDE17-AE60-47C8-981C-5FBEF127EC69}"/>
              </a:ext>
            </a:extLst>
          </p:cNvPr>
          <p:cNvSpPr>
            <a:spLocks/>
          </p:cNvSpPr>
          <p:nvPr/>
        </p:nvSpPr>
        <p:spPr bwMode="auto">
          <a:xfrm>
            <a:off x="5895008" y="4187434"/>
            <a:ext cx="114605" cy="18337"/>
          </a:xfrm>
          <a:custGeom>
            <a:avLst/>
            <a:gdLst>
              <a:gd name="T0" fmla="*/ 191848 w 198094"/>
              <a:gd name="T1" fmla="*/ 0 h 30886"/>
              <a:gd name="T2" fmla="*/ 6932 w 198094"/>
              <a:gd name="T3" fmla="*/ 0 h 30886"/>
              <a:gd name="T4" fmla="*/ 0 w 198094"/>
              <a:gd name="T5" fmla="*/ 7300 h 30886"/>
              <a:gd name="T6" fmla="*/ 0 w 198094"/>
              <a:gd name="T7" fmla="*/ 25323 h 30886"/>
              <a:gd name="T8" fmla="*/ 6932 w 198094"/>
              <a:gd name="T9" fmla="*/ 32638 h 30886"/>
              <a:gd name="T10" fmla="*/ 191848 w 198094"/>
              <a:gd name="T11" fmla="*/ 32638 h 30886"/>
              <a:gd name="T12" fmla="*/ 198781 w 198094"/>
              <a:gd name="T13" fmla="*/ 25323 h 30886"/>
              <a:gd name="T14" fmla="*/ 198781 w 198094"/>
              <a:gd name="T15" fmla="*/ 7300 h 30886"/>
              <a:gd name="T16" fmla="*/ 191848 w 198094"/>
              <a:gd name="T17" fmla="*/ 0 h 308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8094" h="30886">
                <a:moveTo>
                  <a:pt x="191185" y="0"/>
                </a:moveTo>
                <a:lnTo>
                  <a:pt x="6908" y="0"/>
                </a:lnTo>
                <a:lnTo>
                  <a:pt x="0" y="6908"/>
                </a:lnTo>
                <a:lnTo>
                  <a:pt x="0" y="23964"/>
                </a:lnTo>
                <a:lnTo>
                  <a:pt x="6908" y="30886"/>
                </a:lnTo>
                <a:lnTo>
                  <a:pt x="191185" y="30886"/>
                </a:lnTo>
                <a:lnTo>
                  <a:pt x="198094" y="23964"/>
                </a:lnTo>
                <a:lnTo>
                  <a:pt x="198094" y="6908"/>
                </a:lnTo>
                <a:lnTo>
                  <a:pt x="19118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6" name="object 100">
            <a:extLst>
              <a:ext uri="{FF2B5EF4-FFF2-40B4-BE49-F238E27FC236}">
                <a16:creationId xmlns:a16="http://schemas.microsoft.com/office/drawing/2014/main" id="{29666F29-744C-4DFE-80F4-24C6AD1B82AD}"/>
              </a:ext>
            </a:extLst>
          </p:cNvPr>
          <p:cNvSpPr>
            <a:spLocks/>
          </p:cNvSpPr>
          <p:nvPr/>
        </p:nvSpPr>
        <p:spPr bwMode="auto">
          <a:xfrm>
            <a:off x="5839997" y="4036155"/>
            <a:ext cx="175117" cy="231045"/>
          </a:xfrm>
          <a:custGeom>
            <a:avLst/>
            <a:gdLst>
              <a:gd name="T0" fmla="*/ 78465 w 304642"/>
              <a:gd name="T1" fmla="*/ 346641 h 400024"/>
              <a:gd name="T2" fmla="*/ 26633 w 304642"/>
              <a:gd name="T3" fmla="*/ 346641 h 400024"/>
              <a:gd name="T4" fmla="*/ 22380 w 304642"/>
              <a:gd name="T5" fmla="*/ 368894 h 400024"/>
              <a:gd name="T6" fmla="*/ 44612 w 304642"/>
              <a:gd name="T7" fmla="*/ 399911 h 400024"/>
              <a:gd name="T8" fmla="*/ 46272 w 304642"/>
              <a:gd name="T9" fmla="*/ 400076 h 400024"/>
              <a:gd name="T10" fmla="*/ 47895 w 304642"/>
              <a:gd name="T11" fmla="*/ 400076 h 400024"/>
              <a:gd name="T12" fmla="*/ 60854 w 304642"/>
              <a:gd name="T13" fmla="*/ 396556 h 400024"/>
              <a:gd name="T14" fmla="*/ 70294 w 304642"/>
              <a:gd name="T15" fmla="*/ 387073 h 400024"/>
              <a:gd name="T16" fmla="*/ 78465 w 304642"/>
              <a:gd name="T17" fmla="*/ 346641 h 400024"/>
              <a:gd name="T18" fmla="*/ 245883 w 304642"/>
              <a:gd name="T19" fmla="*/ 0 h 400024"/>
              <a:gd name="T20" fmla="*/ 207626 w 304642"/>
              <a:gd name="T21" fmla="*/ 10395 h 400024"/>
              <a:gd name="T22" fmla="*/ 182933 w 304642"/>
              <a:gd name="T23" fmla="*/ 38122 h 400024"/>
              <a:gd name="T24" fmla="*/ 139347 w 304642"/>
              <a:gd name="T25" fmla="*/ 95554 h 400024"/>
              <a:gd name="T26" fmla="*/ 61583 w 304642"/>
              <a:gd name="T27" fmla="*/ 154261 h 400024"/>
              <a:gd name="T28" fmla="*/ 58815 w 304642"/>
              <a:gd name="T29" fmla="*/ 159049 h 400024"/>
              <a:gd name="T30" fmla="*/ 57733 w 304642"/>
              <a:gd name="T31" fmla="*/ 164169 h 400024"/>
              <a:gd name="T32" fmla="*/ 51681 w 304642"/>
              <a:gd name="T33" fmla="*/ 167192 h 400024"/>
              <a:gd name="T34" fmla="*/ 46800 w 304642"/>
              <a:gd name="T35" fmla="*/ 172475 h 400024"/>
              <a:gd name="T36" fmla="*/ 979 w 304642"/>
              <a:gd name="T37" fmla="*/ 312269 h 400024"/>
              <a:gd name="T38" fmla="*/ 0 w 304642"/>
              <a:gd name="T39" fmla="*/ 324738 h 400024"/>
              <a:gd name="T40" fmla="*/ 4616 w 304642"/>
              <a:gd name="T41" fmla="*/ 335909 h 400024"/>
              <a:gd name="T42" fmla="*/ 13890 w 304642"/>
              <a:gd name="T43" fmla="*/ 343887 h 400024"/>
              <a:gd name="T44" fmla="*/ 17461 w 304642"/>
              <a:gd name="T45" fmla="*/ 345382 h 400024"/>
              <a:gd name="T46" fmla="*/ 20166 w 304642"/>
              <a:gd name="T47" fmla="*/ 346286 h 400024"/>
              <a:gd name="T48" fmla="*/ 22909 w 304642"/>
              <a:gd name="T49" fmla="*/ 346717 h 400024"/>
              <a:gd name="T50" fmla="*/ 26633 w 304642"/>
              <a:gd name="T51" fmla="*/ 346641 h 400024"/>
              <a:gd name="T52" fmla="*/ 78465 w 304642"/>
              <a:gd name="T53" fmla="*/ 346641 h 400024"/>
              <a:gd name="T54" fmla="*/ 97741 w 304642"/>
              <a:gd name="T55" fmla="*/ 251263 h 400024"/>
              <a:gd name="T56" fmla="*/ 260312 w 304642"/>
              <a:gd name="T57" fmla="*/ 251258 h 400024"/>
              <a:gd name="T58" fmla="*/ 275034 w 304642"/>
              <a:gd name="T59" fmla="*/ 246435 h 400024"/>
              <a:gd name="T60" fmla="*/ 294749 w 304642"/>
              <a:gd name="T61" fmla="*/ 202103 h 400024"/>
              <a:gd name="T62" fmla="*/ 296396 w 304642"/>
              <a:gd name="T63" fmla="*/ 184619 h 400024"/>
              <a:gd name="T64" fmla="*/ 296955 w 304642"/>
              <a:gd name="T65" fmla="*/ 178420 h 400024"/>
              <a:gd name="T66" fmla="*/ 170347 w 304642"/>
              <a:gd name="T67" fmla="*/ 178420 h 400024"/>
              <a:gd name="T68" fmla="*/ 129080 w 304642"/>
              <a:gd name="T69" fmla="*/ 171319 h 400024"/>
              <a:gd name="T70" fmla="*/ 116462 w 304642"/>
              <a:gd name="T71" fmla="*/ 168932 h 400024"/>
              <a:gd name="T72" fmla="*/ 169881 w 304642"/>
              <a:gd name="T73" fmla="*/ 128590 h 400024"/>
              <a:gd name="T74" fmla="*/ 171277 w 304642"/>
              <a:gd name="T75" fmla="*/ 127219 h 400024"/>
              <a:gd name="T76" fmla="*/ 173214 w 304642"/>
              <a:gd name="T77" fmla="*/ 124742 h 400024"/>
              <a:gd name="T78" fmla="*/ 301789 w 304642"/>
              <a:gd name="T79" fmla="*/ 124742 h 400024"/>
              <a:gd name="T80" fmla="*/ 306524 w 304642"/>
              <a:gd name="T81" fmla="*/ 72171 h 400024"/>
              <a:gd name="T82" fmla="*/ 298116 w 304642"/>
              <a:gd name="T83" fmla="*/ 32392 h 400024"/>
              <a:gd name="T84" fmla="*/ 269939 w 304642"/>
              <a:gd name="T85" fmla="*/ 5866 h 400024"/>
              <a:gd name="T86" fmla="*/ 257410 w 304642"/>
              <a:gd name="T87" fmla="*/ 1558 h 400024"/>
              <a:gd name="T88" fmla="*/ 245883 w 304642"/>
              <a:gd name="T89" fmla="*/ 0 h 400024"/>
              <a:gd name="T90" fmla="*/ 301789 w 304642"/>
              <a:gd name="T91" fmla="*/ 124742 h 400024"/>
              <a:gd name="T92" fmla="*/ 173214 w 304642"/>
              <a:gd name="T93" fmla="*/ 124742 h 400024"/>
              <a:gd name="T94" fmla="*/ 174373 w 304642"/>
              <a:gd name="T95" fmla="*/ 133710 h 400024"/>
              <a:gd name="T96" fmla="*/ 170347 w 304642"/>
              <a:gd name="T97" fmla="*/ 178420 h 400024"/>
              <a:gd name="T98" fmla="*/ 296955 w 304642"/>
              <a:gd name="T99" fmla="*/ 178420 h 400024"/>
              <a:gd name="T100" fmla="*/ 301789 w 304642"/>
              <a:gd name="T101" fmla="*/ 124742 h 4000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04642" h="400024">
                <a:moveTo>
                  <a:pt x="79207" y="346595"/>
                </a:moveTo>
                <a:lnTo>
                  <a:pt x="26885" y="346595"/>
                </a:lnTo>
                <a:lnTo>
                  <a:pt x="22592" y="368846"/>
                </a:lnTo>
                <a:lnTo>
                  <a:pt x="45033" y="399859"/>
                </a:lnTo>
                <a:lnTo>
                  <a:pt x="46709" y="400024"/>
                </a:lnTo>
                <a:lnTo>
                  <a:pt x="48348" y="400024"/>
                </a:lnTo>
                <a:lnTo>
                  <a:pt x="61429" y="396504"/>
                </a:lnTo>
                <a:lnTo>
                  <a:pt x="70959" y="387023"/>
                </a:lnTo>
                <a:lnTo>
                  <a:pt x="79207" y="346595"/>
                </a:lnTo>
                <a:close/>
              </a:path>
              <a:path w="304642" h="400024">
                <a:moveTo>
                  <a:pt x="248208" y="0"/>
                </a:moveTo>
                <a:lnTo>
                  <a:pt x="209589" y="10393"/>
                </a:lnTo>
                <a:lnTo>
                  <a:pt x="184663" y="38118"/>
                </a:lnTo>
                <a:lnTo>
                  <a:pt x="140664" y="95542"/>
                </a:lnTo>
                <a:lnTo>
                  <a:pt x="62165" y="154241"/>
                </a:lnTo>
                <a:lnTo>
                  <a:pt x="59371" y="159029"/>
                </a:lnTo>
                <a:lnTo>
                  <a:pt x="58279" y="164147"/>
                </a:lnTo>
                <a:lnTo>
                  <a:pt x="52170" y="167170"/>
                </a:lnTo>
                <a:lnTo>
                  <a:pt x="47243" y="172453"/>
                </a:lnTo>
                <a:lnTo>
                  <a:pt x="989" y="312229"/>
                </a:lnTo>
                <a:lnTo>
                  <a:pt x="0" y="324696"/>
                </a:lnTo>
                <a:lnTo>
                  <a:pt x="4660" y="335865"/>
                </a:lnTo>
                <a:lnTo>
                  <a:pt x="14022" y="343843"/>
                </a:lnTo>
                <a:lnTo>
                  <a:pt x="17626" y="345338"/>
                </a:lnTo>
                <a:lnTo>
                  <a:pt x="20357" y="346240"/>
                </a:lnTo>
                <a:lnTo>
                  <a:pt x="23126" y="346671"/>
                </a:lnTo>
                <a:lnTo>
                  <a:pt x="26885" y="346595"/>
                </a:lnTo>
                <a:lnTo>
                  <a:pt x="79207" y="346595"/>
                </a:lnTo>
                <a:lnTo>
                  <a:pt x="98665" y="251231"/>
                </a:lnTo>
                <a:lnTo>
                  <a:pt x="262773" y="251226"/>
                </a:lnTo>
                <a:lnTo>
                  <a:pt x="277634" y="246403"/>
                </a:lnTo>
                <a:lnTo>
                  <a:pt x="297536" y="202077"/>
                </a:lnTo>
                <a:lnTo>
                  <a:pt x="299198" y="184595"/>
                </a:lnTo>
                <a:lnTo>
                  <a:pt x="299762" y="178396"/>
                </a:lnTo>
                <a:lnTo>
                  <a:pt x="171957" y="178396"/>
                </a:lnTo>
                <a:lnTo>
                  <a:pt x="130301" y="171297"/>
                </a:lnTo>
                <a:lnTo>
                  <a:pt x="117563" y="168910"/>
                </a:lnTo>
                <a:lnTo>
                  <a:pt x="171487" y="128574"/>
                </a:lnTo>
                <a:lnTo>
                  <a:pt x="172897" y="127203"/>
                </a:lnTo>
                <a:lnTo>
                  <a:pt x="174852" y="124726"/>
                </a:lnTo>
                <a:lnTo>
                  <a:pt x="304642" y="124726"/>
                </a:lnTo>
                <a:lnTo>
                  <a:pt x="309422" y="72161"/>
                </a:lnTo>
                <a:lnTo>
                  <a:pt x="300935" y="32388"/>
                </a:lnTo>
                <a:lnTo>
                  <a:pt x="272491" y="5866"/>
                </a:lnTo>
                <a:lnTo>
                  <a:pt x="259844" y="1558"/>
                </a:lnTo>
                <a:lnTo>
                  <a:pt x="248208" y="0"/>
                </a:lnTo>
                <a:close/>
              </a:path>
              <a:path w="304642" h="400024">
                <a:moveTo>
                  <a:pt x="304642" y="124726"/>
                </a:moveTo>
                <a:lnTo>
                  <a:pt x="174852" y="124726"/>
                </a:lnTo>
                <a:lnTo>
                  <a:pt x="176021" y="133692"/>
                </a:lnTo>
                <a:lnTo>
                  <a:pt x="171957" y="178396"/>
                </a:lnTo>
                <a:lnTo>
                  <a:pt x="299762" y="178396"/>
                </a:lnTo>
                <a:lnTo>
                  <a:pt x="304642" y="12472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7" name="object 101">
            <a:extLst>
              <a:ext uri="{FF2B5EF4-FFF2-40B4-BE49-F238E27FC236}">
                <a16:creationId xmlns:a16="http://schemas.microsoft.com/office/drawing/2014/main" id="{0336CC82-3ED9-494C-9F31-302418642429}"/>
              </a:ext>
            </a:extLst>
          </p:cNvPr>
          <p:cNvSpPr>
            <a:spLocks/>
          </p:cNvSpPr>
          <p:nvPr/>
        </p:nvSpPr>
        <p:spPr bwMode="auto">
          <a:xfrm>
            <a:off x="5976607" y="4200271"/>
            <a:ext cx="22004" cy="66929"/>
          </a:xfrm>
          <a:custGeom>
            <a:avLst/>
            <a:gdLst>
              <a:gd name="T0" fmla="*/ 22159 w 38557"/>
              <a:gd name="T1" fmla="*/ 0 h 115646"/>
              <a:gd name="T2" fmla="*/ 0 w 38557"/>
              <a:gd name="T3" fmla="*/ 0 h 115646"/>
              <a:gd name="T4" fmla="*/ 15873 w 38557"/>
              <a:gd name="T5" fmla="*/ 112086 h 115646"/>
              <a:gd name="T6" fmla="*/ 20548 w 38557"/>
              <a:gd name="T7" fmla="*/ 116129 h 115646"/>
              <a:gd name="T8" fmla="*/ 27504 w 38557"/>
              <a:gd name="T9" fmla="*/ 116013 h 115646"/>
              <a:gd name="T10" fmla="*/ 33493 w 38557"/>
              <a:gd name="T11" fmla="*/ 115108 h 115646"/>
              <a:gd name="T12" fmla="*/ 37648 w 38557"/>
              <a:gd name="T13" fmla="*/ 109394 h 115646"/>
              <a:gd name="T14" fmla="*/ 22159 w 38557"/>
              <a:gd name="T15" fmla="*/ 0 h 1156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8557" h="115646">
                <a:moveTo>
                  <a:pt x="22694" y="0"/>
                </a:moveTo>
                <a:lnTo>
                  <a:pt x="0" y="0"/>
                </a:lnTo>
                <a:lnTo>
                  <a:pt x="16256" y="111620"/>
                </a:lnTo>
                <a:lnTo>
                  <a:pt x="21043" y="115646"/>
                </a:lnTo>
                <a:lnTo>
                  <a:pt x="28168" y="115531"/>
                </a:lnTo>
                <a:lnTo>
                  <a:pt x="34302" y="114630"/>
                </a:lnTo>
                <a:lnTo>
                  <a:pt x="38557" y="108940"/>
                </a:lnTo>
                <a:lnTo>
                  <a:pt x="22694"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8" name="object 102">
            <a:extLst>
              <a:ext uri="{FF2B5EF4-FFF2-40B4-BE49-F238E27FC236}">
                <a16:creationId xmlns:a16="http://schemas.microsoft.com/office/drawing/2014/main" id="{AFB45F0E-1879-4630-A148-C4967336E5D8}"/>
              </a:ext>
            </a:extLst>
          </p:cNvPr>
          <p:cNvSpPr>
            <a:spLocks/>
          </p:cNvSpPr>
          <p:nvPr/>
        </p:nvSpPr>
        <p:spPr bwMode="auto">
          <a:xfrm>
            <a:off x="5908760" y="4200271"/>
            <a:ext cx="22921" cy="66929"/>
          </a:xfrm>
          <a:custGeom>
            <a:avLst/>
            <a:gdLst>
              <a:gd name="T0" fmla="*/ 40852 w 38557"/>
              <a:gd name="T1" fmla="*/ 0 h 115646"/>
              <a:gd name="T2" fmla="*/ 16806 w 38557"/>
              <a:gd name="T3" fmla="*/ 0 h 115646"/>
              <a:gd name="T4" fmla="*/ 0 w 38557"/>
              <a:gd name="T5" fmla="*/ 109394 h 115646"/>
              <a:gd name="T6" fmla="*/ 4507 w 38557"/>
              <a:gd name="T7" fmla="*/ 115108 h 115646"/>
              <a:gd name="T8" fmla="*/ 11007 w 38557"/>
              <a:gd name="T9" fmla="*/ 116013 h 115646"/>
              <a:gd name="T10" fmla="*/ 18556 w 38557"/>
              <a:gd name="T11" fmla="*/ 116129 h 115646"/>
              <a:gd name="T12" fmla="*/ 23628 w 38557"/>
              <a:gd name="T13" fmla="*/ 112086 h 115646"/>
              <a:gd name="T14" fmla="*/ 40852 w 38557"/>
              <a:gd name="T15" fmla="*/ 0 h 1156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8557" h="115646">
                <a:moveTo>
                  <a:pt x="38557" y="0"/>
                </a:moveTo>
                <a:lnTo>
                  <a:pt x="15862" y="0"/>
                </a:lnTo>
                <a:lnTo>
                  <a:pt x="0" y="108940"/>
                </a:lnTo>
                <a:lnTo>
                  <a:pt x="4254" y="114630"/>
                </a:lnTo>
                <a:lnTo>
                  <a:pt x="10388" y="115531"/>
                </a:lnTo>
                <a:lnTo>
                  <a:pt x="17513" y="115646"/>
                </a:lnTo>
                <a:lnTo>
                  <a:pt x="22301" y="111620"/>
                </a:lnTo>
                <a:lnTo>
                  <a:pt x="38557"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9" name="object 103">
            <a:extLst>
              <a:ext uri="{FF2B5EF4-FFF2-40B4-BE49-F238E27FC236}">
                <a16:creationId xmlns:a16="http://schemas.microsoft.com/office/drawing/2014/main" id="{0334EB4D-68C1-45B5-91C0-77018A4B75CB}"/>
              </a:ext>
            </a:extLst>
          </p:cNvPr>
          <p:cNvSpPr>
            <a:spLocks/>
          </p:cNvSpPr>
          <p:nvPr/>
        </p:nvSpPr>
        <p:spPr bwMode="auto">
          <a:xfrm>
            <a:off x="6926458" y="3605952"/>
            <a:ext cx="538188" cy="537271"/>
          </a:xfrm>
          <a:custGeom>
            <a:avLst/>
            <a:gdLst>
              <a:gd name="T0" fmla="*/ 428363 w 930579"/>
              <a:gd name="T1" fmla="*/ 1543 h 930592"/>
              <a:gd name="T2" fmla="*/ 285134 w 930579"/>
              <a:gd name="T3" fmla="*/ 36598 h 930592"/>
              <a:gd name="T4" fmla="*/ 163099 w 930579"/>
              <a:gd name="T5" fmla="*/ 112064 h 930592"/>
              <a:gd name="T6" fmla="*/ 70000 w 930579"/>
              <a:gd name="T7" fmla="*/ 220229 h 930592"/>
              <a:gd name="T8" fmla="*/ 13583 w 930579"/>
              <a:gd name="T9" fmla="*/ 353375 h 930592"/>
              <a:gd name="T10" fmla="*/ 0 w 930579"/>
              <a:gd name="T11" fmla="*/ 464985 h 930592"/>
              <a:gd name="T12" fmla="*/ 13583 w 930579"/>
              <a:gd name="T13" fmla="*/ 576591 h 930592"/>
              <a:gd name="T14" fmla="*/ 70000 w 930579"/>
              <a:gd name="T15" fmla="*/ 709732 h 930592"/>
              <a:gd name="T16" fmla="*/ 163099 w 930579"/>
              <a:gd name="T17" fmla="*/ 817894 h 930592"/>
              <a:gd name="T18" fmla="*/ 285134 w 930579"/>
              <a:gd name="T19" fmla="*/ 893361 h 930592"/>
              <a:gd name="T20" fmla="*/ 428363 w 930579"/>
              <a:gd name="T21" fmla="*/ 928415 h 930592"/>
              <a:gd name="T22" fmla="*/ 504786 w 930579"/>
              <a:gd name="T23" fmla="*/ 928415 h 930592"/>
              <a:gd name="T24" fmla="*/ 648014 w 930579"/>
              <a:gd name="T25" fmla="*/ 893361 h 930592"/>
              <a:gd name="T26" fmla="*/ 466574 w 930579"/>
              <a:gd name="T27" fmla="*/ 861069 h 930592"/>
              <a:gd name="T28" fmla="*/ 371175 w 930579"/>
              <a:gd name="T29" fmla="*/ 849538 h 930592"/>
              <a:gd name="T30" fmla="*/ 257366 w 930579"/>
              <a:gd name="T31" fmla="*/ 801645 h 930592"/>
              <a:gd name="T32" fmla="*/ 164907 w 930579"/>
              <a:gd name="T33" fmla="*/ 722612 h 930592"/>
              <a:gd name="T34" fmla="*/ 100397 w 930579"/>
              <a:gd name="T35" fmla="*/ 619013 h 930592"/>
              <a:gd name="T36" fmla="*/ 70433 w 930579"/>
              <a:gd name="T37" fmla="*/ 497422 h 930592"/>
              <a:gd name="T38" fmla="*/ 70433 w 930579"/>
              <a:gd name="T39" fmla="*/ 432548 h 930592"/>
              <a:gd name="T40" fmla="*/ 100397 w 930579"/>
              <a:gd name="T41" fmla="*/ 310955 h 930592"/>
              <a:gd name="T42" fmla="*/ 164907 w 930579"/>
              <a:gd name="T43" fmla="*/ 207353 h 930592"/>
              <a:gd name="T44" fmla="*/ 257366 w 930579"/>
              <a:gd name="T45" fmla="*/ 128316 h 930592"/>
              <a:gd name="T46" fmla="*/ 371175 w 930579"/>
              <a:gd name="T47" fmla="*/ 80421 h 930592"/>
              <a:gd name="T48" fmla="*/ 466574 w 930579"/>
              <a:gd name="T49" fmla="*/ 68889 h 930592"/>
              <a:gd name="T50" fmla="*/ 680812 w 930579"/>
              <a:gd name="T51" fmla="*/ 51976 h 930592"/>
              <a:gd name="T52" fmla="*/ 542156 w 930579"/>
              <a:gd name="T53" fmla="*/ 6096 h 930592"/>
              <a:gd name="T54" fmla="*/ 466574 w 930579"/>
              <a:gd name="T55" fmla="*/ 0 h 930592"/>
              <a:gd name="T56" fmla="*/ 466574 w 930579"/>
              <a:gd name="T57" fmla="*/ 68889 h 930592"/>
              <a:gd name="T58" fmla="*/ 530959 w 930579"/>
              <a:gd name="T59" fmla="*/ 74082 h 930592"/>
              <a:gd name="T60" fmla="*/ 649074 w 930579"/>
              <a:gd name="T61" fmla="*/ 113166 h 930592"/>
              <a:gd name="T62" fmla="*/ 747490 w 930579"/>
              <a:gd name="T63" fmla="*/ 185035 h 930592"/>
              <a:gd name="T64" fmla="*/ 819605 w 930579"/>
              <a:gd name="T65" fmla="*/ 283111 h 930592"/>
              <a:gd name="T66" fmla="*/ 858824 w 930579"/>
              <a:gd name="T67" fmla="*/ 400821 h 930592"/>
              <a:gd name="T68" fmla="*/ 862716 w 930579"/>
              <a:gd name="T69" fmla="*/ 497422 h 930592"/>
              <a:gd name="T70" fmla="*/ 832751 w 930579"/>
              <a:gd name="T71" fmla="*/ 619013 h 930592"/>
              <a:gd name="T72" fmla="*/ 768242 w 930579"/>
              <a:gd name="T73" fmla="*/ 722612 h 930592"/>
              <a:gd name="T74" fmla="*/ 675783 w 930579"/>
              <a:gd name="T75" fmla="*/ 801645 h 930592"/>
              <a:gd name="T76" fmla="*/ 561973 w 930579"/>
              <a:gd name="T77" fmla="*/ 849538 h 930592"/>
              <a:gd name="T78" fmla="*/ 466574 w 930579"/>
              <a:gd name="T79" fmla="*/ 861069 h 930592"/>
              <a:gd name="T80" fmla="*/ 770050 w 930579"/>
              <a:gd name="T81" fmla="*/ 817894 h 930592"/>
              <a:gd name="T82" fmla="*/ 863148 w 930579"/>
              <a:gd name="T83" fmla="*/ 709732 h 930592"/>
              <a:gd name="T84" fmla="*/ 919565 w 930579"/>
              <a:gd name="T85" fmla="*/ 576591 h 930592"/>
              <a:gd name="T86" fmla="*/ 933149 w 930579"/>
              <a:gd name="T87" fmla="*/ 464985 h 930592"/>
              <a:gd name="T88" fmla="*/ 919565 w 930579"/>
              <a:gd name="T89" fmla="*/ 353375 h 930592"/>
              <a:gd name="T90" fmla="*/ 863148 w 930579"/>
              <a:gd name="T91" fmla="*/ 220229 h 930592"/>
              <a:gd name="T92" fmla="*/ 770050 w 930579"/>
              <a:gd name="T93" fmla="*/ 112064 h 930592"/>
              <a:gd name="T94" fmla="*/ 710626 w 930579"/>
              <a:gd name="T95" fmla="*/ 68889 h 9305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30579" h="930592">
                <a:moveTo>
                  <a:pt x="465289" y="0"/>
                </a:moveTo>
                <a:lnTo>
                  <a:pt x="427184" y="1545"/>
                </a:lnTo>
                <a:lnTo>
                  <a:pt x="353607" y="13545"/>
                </a:lnTo>
                <a:lnTo>
                  <a:pt x="284349" y="36622"/>
                </a:lnTo>
                <a:lnTo>
                  <a:pt x="220375" y="69808"/>
                </a:lnTo>
                <a:lnTo>
                  <a:pt x="162650" y="112140"/>
                </a:lnTo>
                <a:lnTo>
                  <a:pt x="112139" y="162652"/>
                </a:lnTo>
                <a:lnTo>
                  <a:pt x="69808" y="220379"/>
                </a:lnTo>
                <a:lnTo>
                  <a:pt x="36622" y="284355"/>
                </a:lnTo>
                <a:lnTo>
                  <a:pt x="13545" y="353615"/>
                </a:lnTo>
                <a:lnTo>
                  <a:pt x="1545" y="427194"/>
                </a:lnTo>
                <a:lnTo>
                  <a:pt x="0" y="465302"/>
                </a:lnTo>
                <a:lnTo>
                  <a:pt x="1545" y="503408"/>
                </a:lnTo>
                <a:lnTo>
                  <a:pt x="13545" y="576984"/>
                </a:lnTo>
                <a:lnTo>
                  <a:pt x="36622" y="646242"/>
                </a:lnTo>
                <a:lnTo>
                  <a:pt x="69808" y="710216"/>
                </a:lnTo>
                <a:lnTo>
                  <a:pt x="112139" y="767942"/>
                </a:lnTo>
                <a:lnTo>
                  <a:pt x="162650" y="818452"/>
                </a:lnTo>
                <a:lnTo>
                  <a:pt x="220375" y="860784"/>
                </a:lnTo>
                <a:lnTo>
                  <a:pt x="284349" y="893970"/>
                </a:lnTo>
                <a:lnTo>
                  <a:pt x="353607" y="917046"/>
                </a:lnTo>
                <a:lnTo>
                  <a:pt x="427184" y="929047"/>
                </a:lnTo>
                <a:lnTo>
                  <a:pt x="465289" y="930592"/>
                </a:lnTo>
                <a:lnTo>
                  <a:pt x="503395" y="929047"/>
                </a:lnTo>
                <a:lnTo>
                  <a:pt x="576972" y="917046"/>
                </a:lnTo>
                <a:lnTo>
                  <a:pt x="646229" y="893970"/>
                </a:lnTo>
                <a:lnTo>
                  <a:pt x="708670" y="861656"/>
                </a:lnTo>
                <a:lnTo>
                  <a:pt x="465289" y="861656"/>
                </a:lnTo>
                <a:lnTo>
                  <a:pt x="432829" y="860340"/>
                </a:lnTo>
                <a:lnTo>
                  <a:pt x="370153" y="850117"/>
                </a:lnTo>
                <a:lnTo>
                  <a:pt x="311154" y="830460"/>
                </a:lnTo>
                <a:lnTo>
                  <a:pt x="256657" y="802191"/>
                </a:lnTo>
                <a:lnTo>
                  <a:pt x="207482" y="766131"/>
                </a:lnTo>
                <a:lnTo>
                  <a:pt x="164453" y="723104"/>
                </a:lnTo>
                <a:lnTo>
                  <a:pt x="128392" y="673931"/>
                </a:lnTo>
                <a:lnTo>
                  <a:pt x="100121" y="619435"/>
                </a:lnTo>
                <a:lnTo>
                  <a:pt x="80462" y="560438"/>
                </a:lnTo>
                <a:lnTo>
                  <a:pt x="70239" y="497762"/>
                </a:lnTo>
                <a:lnTo>
                  <a:pt x="68922" y="465302"/>
                </a:lnTo>
                <a:lnTo>
                  <a:pt x="70239" y="432842"/>
                </a:lnTo>
                <a:lnTo>
                  <a:pt x="80462" y="370165"/>
                </a:lnTo>
                <a:lnTo>
                  <a:pt x="100121" y="311167"/>
                </a:lnTo>
                <a:lnTo>
                  <a:pt x="128392" y="256670"/>
                </a:lnTo>
                <a:lnTo>
                  <a:pt x="164453" y="207495"/>
                </a:lnTo>
                <a:lnTo>
                  <a:pt x="207482" y="164466"/>
                </a:lnTo>
                <a:lnTo>
                  <a:pt x="256657" y="128404"/>
                </a:lnTo>
                <a:lnTo>
                  <a:pt x="311154" y="100133"/>
                </a:lnTo>
                <a:lnTo>
                  <a:pt x="370153" y="80475"/>
                </a:lnTo>
                <a:lnTo>
                  <a:pt x="432829" y="70252"/>
                </a:lnTo>
                <a:lnTo>
                  <a:pt x="465289" y="68935"/>
                </a:lnTo>
                <a:lnTo>
                  <a:pt x="708669" y="68935"/>
                </a:lnTo>
                <a:lnTo>
                  <a:pt x="678937" y="52012"/>
                </a:lnTo>
                <a:lnTo>
                  <a:pt x="612201" y="23759"/>
                </a:lnTo>
                <a:lnTo>
                  <a:pt x="540663" y="6100"/>
                </a:lnTo>
                <a:lnTo>
                  <a:pt x="503395" y="1545"/>
                </a:lnTo>
                <a:lnTo>
                  <a:pt x="465289" y="0"/>
                </a:lnTo>
                <a:close/>
              </a:path>
              <a:path w="930579" h="930592">
                <a:moveTo>
                  <a:pt x="708669" y="68935"/>
                </a:moveTo>
                <a:lnTo>
                  <a:pt x="465289" y="68935"/>
                </a:lnTo>
                <a:lnTo>
                  <a:pt x="497750" y="70252"/>
                </a:lnTo>
                <a:lnTo>
                  <a:pt x="529496" y="74132"/>
                </a:lnTo>
                <a:lnTo>
                  <a:pt x="590436" y="89176"/>
                </a:lnTo>
                <a:lnTo>
                  <a:pt x="647287" y="113244"/>
                </a:lnTo>
                <a:lnTo>
                  <a:pt x="699226" y="145513"/>
                </a:lnTo>
                <a:lnTo>
                  <a:pt x="745431" y="185161"/>
                </a:lnTo>
                <a:lnTo>
                  <a:pt x="785079" y="231365"/>
                </a:lnTo>
                <a:lnTo>
                  <a:pt x="817348" y="283304"/>
                </a:lnTo>
                <a:lnTo>
                  <a:pt x="841415" y="340155"/>
                </a:lnTo>
                <a:lnTo>
                  <a:pt x="856459" y="401095"/>
                </a:lnTo>
                <a:lnTo>
                  <a:pt x="861656" y="465302"/>
                </a:lnTo>
                <a:lnTo>
                  <a:pt x="860340" y="497762"/>
                </a:lnTo>
                <a:lnTo>
                  <a:pt x="850117" y="560438"/>
                </a:lnTo>
                <a:lnTo>
                  <a:pt x="830458" y="619435"/>
                </a:lnTo>
                <a:lnTo>
                  <a:pt x="802187" y="673931"/>
                </a:lnTo>
                <a:lnTo>
                  <a:pt x="766126" y="723104"/>
                </a:lnTo>
                <a:lnTo>
                  <a:pt x="723097" y="766131"/>
                </a:lnTo>
                <a:lnTo>
                  <a:pt x="673922" y="802191"/>
                </a:lnTo>
                <a:lnTo>
                  <a:pt x="619424" y="830460"/>
                </a:lnTo>
                <a:lnTo>
                  <a:pt x="560426" y="850117"/>
                </a:lnTo>
                <a:lnTo>
                  <a:pt x="497750" y="860340"/>
                </a:lnTo>
                <a:lnTo>
                  <a:pt x="465289" y="861656"/>
                </a:lnTo>
                <a:lnTo>
                  <a:pt x="708670" y="861656"/>
                </a:lnTo>
                <a:lnTo>
                  <a:pt x="767929" y="818452"/>
                </a:lnTo>
                <a:lnTo>
                  <a:pt x="818440" y="767942"/>
                </a:lnTo>
                <a:lnTo>
                  <a:pt x="860771" y="710216"/>
                </a:lnTo>
                <a:lnTo>
                  <a:pt x="893957" y="646242"/>
                </a:lnTo>
                <a:lnTo>
                  <a:pt x="917033" y="576984"/>
                </a:lnTo>
                <a:lnTo>
                  <a:pt x="929034" y="503408"/>
                </a:lnTo>
                <a:lnTo>
                  <a:pt x="930579" y="465302"/>
                </a:lnTo>
                <a:lnTo>
                  <a:pt x="929034" y="427194"/>
                </a:lnTo>
                <a:lnTo>
                  <a:pt x="917033" y="353615"/>
                </a:lnTo>
                <a:lnTo>
                  <a:pt x="893957" y="284355"/>
                </a:lnTo>
                <a:lnTo>
                  <a:pt x="860771" y="220379"/>
                </a:lnTo>
                <a:lnTo>
                  <a:pt x="818440" y="162652"/>
                </a:lnTo>
                <a:lnTo>
                  <a:pt x="767929" y="112140"/>
                </a:lnTo>
                <a:lnTo>
                  <a:pt x="710204" y="69808"/>
                </a:lnTo>
                <a:lnTo>
                  <a:pt x="708669" y="68935"/>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0" name="object 104">
            <a:extLst>
              <a:ext uri="{FF2B5EF4-FFF2-40B4-BE49-F238E27FC236}">
                <a16:creationId xmlns:a16="http://schemas.microsoft.com/office/drawing/2014/main" id="{518F1BC1-A2A2-4318-A775-721764C42BBC}"/>
              </a:ext>
            </a:extLst>
          </p:cNvPr>
          <p:cNvSpPr>
            <a:spLocks/>
          </p:cNvSpPr>
          <p:nvPr/>
        </p:nvSpPr>
        <p:spPr bwMode="auto">
          <a:xfrm>
            <a:off x="7047481" y="3719640"/>
            <a:ext cx="121941" cy="146695"/>
          </a:xfrm>
          <a:custGeom>
            <a:avLst/>
            <a:gdLst>
              <a:gd name="T0" fmla="*/ 89832 w 210244"/>
              <a:gd name="T1" fmla="*/ 76061 h 252966"/>
              <a:gd name="T2" fmla="*/ 88795 w 210244"/>
              <a:gd name="T3" fmla="*/ 76061 h 252966"/>
              <a:gd name="T4" fmla="*/ 74107 w 210244"/>
              <a:gd name="T5" fmla="*/ 77255 h 252966"/>
              <a:gd name="T6" fmla="*/ 35380 w 210244"/>
              <a:gd name="T7" fmla="*/ 93662 h 252966"/>
              <a:gd name="T8" fmla="*/ 8639 w 210244"/>
              <a:gd name="T9" fmla="*/ 125319 h 252966"/>
              <a:gd name="T10" fmla="*/ 0 w 210244"/>
              <a:gd name="T11" fmla="*/ 152367 h 252966"/>
              <a:gd name="T12" fmla="*/ 754 w 210244"/>
              <a:gd name="T13" fmla="*/ 169120 h 252966"/>
              <a:gd name="T14" fmla="*/ 14394 w 210244"/>
              <a:gd name="T15" fmla="*/ 212417 h 252966"/>
              <a:gd name="T16" fmla="*/ 41773 w 210244"/>
              <a:gd name="T17" fmla="*/ 241729 h 252966"/>
              <a:gd name="T18" fmla="*/ 78738 w 210244"/>
              <a:gd name="T19" fmla="*/ 255038 h 252966"/>
              <a:gd name="T20" fmla="*/ 95195 w 210244"/>
              <a:gd name="T21" fmla="*/ 254125 h 252966"/>
              <a:gd name="T22" fmla="*/ 137094 w 210244"/>
              <a:gd name="T23" fmla="*/ 239784 h 252966"/>
              <a:gd name="T24" fmla="*/ 165644 w 210244"/>
              <a:gd name="T25" fmla="*/ 211422 h 252966"/>
              <a:gd name="T26" fmla="*/ 178095 w 210244"/>
              <a:gd name="T27" fmla="*/ 173389 h 252966"/>
              <a:gd name="T28" fmla="*/ 181872 w 210244"/>
              <a:gd name="T29" fmla="*/ 169837 h 252966"/>
              <a:gd name="T30" fmla="*/ 198767 w 210244"/>
              <a:gd name="T31" fmla="*/ 169837 h 252966"/>
              <a:gd name="T32" fmla="*/ 200751 w 210244"/>
              <a:gd name="T33" fmla="*/ 169120 h 252966"/>
              <a:gd name="T34" fmla="*/ 205222 w 210244"/>
              <a:gd name="T35" fmla="*/ 165023 h 252966"/>
              <a:gd name="T36" fmla="*/ 211735 w 210244"/>
              <a:gd name="T37" fmla="*/ 154546 h 252966"/>
              <a:gd name="T38" fmla="*/ 212036 w 210244"/>
              <a:gd name="T39" fmla="*/ 142572 h 252966"/>
              <a:gd name="T40" fmla="*/ 206528 w 210244"/>
              <a:gd name="T41" fmla="*/ 132283 h 252966"/>
              <a:gd name="T42" fmla="*/ 154898 w 210244"/>
              <a:gd name="T43" fmla="*/ 76368 h 252966"/>
              <a:gd name="T44" fmla="*/ 91818 w 210244"/>
              <a:gd name="T45" fmla="*/ 76368 h 252966"/>
              <a:gd name="T46" fmla="*/ 90793 w 210244"/>
              <a:gd name="T47" fmla="*/ 76329 h 252966"/>
              <a:gd name="T48" fmla="*/ 89832 w 210244"/>
              <a:gd name="T49" fmla="*/ 76061 h 252966"/>
              <a:gd name="T50" fmla="*/ 198767 w 210244"/>
              <a:gd name="T51" fmla="*/ 169837 h 252966"/>
              <a:gd name="T52" fmla="*/ 181872 w 210244"/>
              <a:gd name="T53" fmla="*/ 169837 h 252966"/>
              <a:gd name="T54" fmla="*/ 185600 w 210244"/>
              <a:gd name="T55" fmla="*/ 171156 h 252966"/>
              <a:gd name="T56" fmla="*/ 195116 w 210244"/>
              <a:gd name="T57" fmla="*/ 171156 h 252966"/>
              <a:gd name="T58" fmla="*/ 198767 w 210244"/>
              <a:gd name="T59" fmla="*/ 169837 h 252966"/>
              <a:gd name="T60" fmla="*/ 68216 w 210244"/>
              <a:gd name="T61" fmla="*/ 0 h 252966"/>
              <a:gd name="T62" fmla="*/ 56336 w 210244"/>
              <a:gd name="T63" fmla="*/ 11341 h 252966"/>
              <a:gd name="T64" fmla="*/ 51505 w 210244"/>
              <a:gd name="T65" fmla="*/ 22238 h 252966"/>
              <a:gd name="T66" fmla="*/ 52602 w 210244"/>
              <a:gd name="T67" fmla="*/ 32031 h 252966"/>
              <a:gd name="T68" fmla="*/ 91818 w 210244"/>
              <a:gd name="T69" fmla="*/ 76368 h 252966"/>
              <a:gd name="T70" fmla="*/ 154898 w 210244"/>
              <a:gd name="T71" fmla="*/ 76368 h 252966"/>
              <a:gd name="T72" fmla="*/ 90665 w 210244"/>
              <a:gd name="T73" fmla="*/ 6804 h 252966"/>
              <a:gd name="T74" fmla="*/ 80189 w 210244"/>
              <a:gd name="T75" fmla="*/ 295 h 252966"/>
              <a:gd name="T76" fmla="*/ 68216 w 210244"/>
              <a:gd name="T77" fmla="*/ 0 h 2529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0244" h="252966">
                <a:moveTo>
                  <a:pt x="89073" y="75443"/>
                </a:moveTo>
                <a:lnTo>
                  <a:pt x="88045" y="75443"/>
                </a:lnTo>
                <a:lnTo>
                  <a:pt x="73481" y="76628"/>
                </a:lnTo>
                <a:lnTo>
                  <a:pt x="35081" y="92901"/>
                </a:lnTo>
                <a:lnTo>
                  <a:pt x="8566" y="124301"/>
                </a:lnTo>
                <a:lnTo>
                  <a:pt x="0" y="151129"/>
                </a:lnTo>
                <a:lnTo>
                  <a:pt x="748" y="167746"/>
                </a:lnTo>
                <a:lnTo>
                  <a:pt x="14272" y="210691"/>
                </a:lnTo>
                <a:lnTo>
                  <a:pt x="41420" y="239765"/>
                </a:lnTo>
                <a:lnTo>
                  <a:pt x="78073" y="252966"/>
                </a:lnTo>
                <a:lnTo>
                  <a:pt x="94391" y="252060"/>
                </a:lnTo>
                <a:lnTo>
                  <a:pt x="135936" y="237836"/>
                </a:lnTo>
                <a:lnTo>
                  <a:pt x="164245" y="209704"/>
                </a:lnTo>
                <a:lnTo>
                  <a:pt x="176590" y="171980"/>
                </a:lnTo>
                <a:lnTo>
                  <a:pt x="180335" y="168457"/>
                </a:lnTo>
                <a:lnTo>
                  <a:pt x="197087" y="168457"/>
                </a:lnTo>
                <a:lnTo>
                  <a:pt x="199055" y="167746"/>
                </a:lnTo>
                <a:lnTo>
                  <a:pt x="203488" y="163682"/>
                </a:lnTo>
                <a:lnTo>
                  <a:pt x="209945" y="153290"/>
                </a:lnTo>
                <a:lnTo>
                  <a:pt x="210244" y="141414"/>
                </a:lnTo>
                <a:lnTo>
                  <a:pt x="204783" y="131208"/>
                </a:lnTo>
                <a:lnTo>
                  <a:pt x="153589" y="75747"/>
                </a:lnTo>
                <a:lnTo>
                  <a:pt x="91042" y="75747"/>
                </a:lnTo>
                <a:lnTo>
                  <a:pt x="90026" y="75709"/>
                </a:lnTo>
                <a:lnTo>
                  <a:pt x="89073" y="75443"/>
                </a:lnTo>
                <a:close/>
              </a:path>
              <a:path w="210244" h="252966">
                <a:moveTo>
                  <a:pt x="197087" y="168457"/>
                </a:moveTo>
                <a:lnTo>
                  <a:pt x="180335" y="168457"/>
                </a:lnTo>
                <a:lnTo>
                  <a:pt x="184031" y="169765"/>
                </a:lnTo>
                <a:lnTo>
                  <a:pt x="193467" y="169765"/>
                </a:lnTo>
                <a:lnTo>
                  <a:pt x="197087" y="168457"/>
                </a:lnTo>
                <a:close/>
              </a:path>
              <a:path w="210244" h="252966">
                <a:moveTo>
                  <a:pt x="67639" y="0"/>
                </a:moveTo>
                <a:lnTo>
                  <a:pt x="55859" y="11249"/>
                </a:lnTo>
                <a:lnTo>
                  <a:pt x="51070" y="22057"/>
                </a:lnTo>
                <a:lnTo>
                  <a:pt x="52157" y="31771"/>
                </a:lnTo>
                <a:lnTo>
                  <a:pt x="91042" y="75747"/>
                </a:lnTo>
                <a:lnTo>
                  <a:pt x="153589" y="75747"/>
                </a:lnTo>
                <a:lnTo>
                  <a:pt x="89899" y="6748"/>
                </a:lnTo>
                <a:lnTo>
                  <a:pt x="79511" y="293"/>
                </a:lnTo>
                <a:lnTo>
                  <a:pt x="67639"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1" name="object 105">
            <a:extLst>
              <a:ext uri="{FF2B5EF4-FFF2-40B4-BE49-F238E27FC236}">
                <a16:creationId xmlns:a16="http://schemas.microsoft.com/office/drawing/2014/main" id="{15F8DFFE-2DDF-492F-B0B4-A97A803BD822}"/>
              </a:ext>
            </a:extLst>
          </p:cNvPr>
          <p:cNvSpPr>
            <a:spLocks/>
          </p:cNvSpPr>
          <p:nvPr/>
        </p:nvSpPr>
        <p:spPr bwMode="auto">
          <a:xfrm>
            <a:off x="7227183" y="3720557"/>
            <a:ext cx="122857" cy="145779"/>
          </a:xfrm>
          <a:custGeom>
            <a:avLst/>
            <a:gdLst>
              <a:gd name="T0" fmla="*/ 211469 w 213480"/>
              <a:gd name="T1" fmla="*/ 165121 h 251797"/>
              <a:gd name="T2" fmla="*/ 35713 w 213480"/>
              <a:gd name="T3" fmla="*/ 165121 h 251797"/>
              <a:gd name="T4" fmla="*/ 36991 w 213480"/>
              <a:gd name="T5" fmla="*/ 179720 h 251797"/>
              <a:gd name="T6" fmla="*/ 53376 w 213480"/>
              <a:gd name="T7" fmla="*/ 218156 h 251797"/>
              <a:gd name="T8" fmla="*/ 84685 w 213480"/>
              <a:gd name="T9" fmla="*/ 244593 h 251797"/>
              <a:gd name="T10" fmla="*/ 111373 w 213480"/>
              <a:gd name="T11" fmla="*/ 253031 h 251797"/>
              <a:gd name="T12" fmla="*/ 128036 w 213480"/>
              <a:gd name="T13" fmla="*/ 252239 h 251797"/>
              <a:gd name="T14" fmla="*/ 170257 w 213480"/>
              <a:gd name="T15" fmla="*/ 238524 h 251797"/>
              <a:gd name="T16" fmla="*/ 199014 w 213480"/>
              <a:gd name="T17" fmla="*/ 211053 h 251797"/>
              <a:gd name="T18" fmla="*/ 211973 w 213480"/>
              <a:gd name="T19" fmla="*/ 174011 h 251797"/>
              <a:gd name="T20" fmla="*/ 211469 w 213480"/>
              <a:gd name="T21" fmla="*/ 165121 h 251797"/>
              <a:gd name="T22" fmla="*/ 135082 w 213480"/>
              <a:gd name="T23" fmla="*/ 0 h 251797"/>
              <a:gd name="T24" fmla="*/ 125592 w 213480"/>
              <a:gd name="T25" fmla="*/ 1763 h 251797"/>
              <a:gd name="T26" fmla="*/ 5562 w 213480"/>
              <a:gd name="T27" fmla="*/ 131378 h 251797"/>
              <a:gd name="T28" fmla="*/ 0 w 213480"/>
              <a:gd name="T29" fmla="*/ 142306 h 251797"/>
              <a:gd name="T30" fmla="*/ 653 w 213480"/>
              <a:gd name="T31" fmla="*/ 154228 h 251797"/>
              <a:gd name="T32" fmla="*/ 12795 w 213480"/>
              <a:gd name="T33" fmla="*/ 166971 h 251797"/>
              <a:gd name="T34" fmla="*/ 21366 w 213480"/>
              <a:gd name="T35" fmla="*/ 170102 h 251797"/>
              <a:gd name="T36" fmla="*/ 27138 w 213480"/>
              <a:gd name="T37" fmla="*/ 170124 h 251797"/>
              <a:gd name="T38" fmla="*/ 31703 w 213480"/>
              <a:gd name="T39" fmla="*/ 168145 h 251797"/>
              <a:gd name="T40" fmla="*/ 35713 w 213480"/>
              <a:gd name="T41" fmla="*/ 165121 h 251797"/>
              <a:gd name="T42" fmla="*/ 211469 w 213480"/>
              <a:gd name="T43" fmla="*/ 165121 h 251797"/>
              <a:gd name="T44" fmla="*/ 196752 w 213480"/>
              <a:gd name="T45" fmla="*/ 115955 h 251797"/>
              <a:gd name="T46" fmla="*/ 168543 w 213480"/>
              <a:gd name="T47" fmla="*/ 87488 h 251797"/>
              <a:gd name="T48" fmla="*/ 132726 w 213480"/>
              <a:gd name="T49" fmla="*/ 75556 h 251797"/>
              <a:gd name="T50" fmla="*/ 118589 w 213480"/>
              <a:gd name="T51" fmla="*/ 75556 h 251797"/>
              <a:gd name="T52" fmla="*/ 153178 w 213480"/>
              <a:gd name="T53" fmla="*/ 37627 h 251797"/>
              <a:gd name="T54" fmla="*/ 158742 w 213480"/>
              <a:gd name="T55" fmla="*/ 26697 h 251797"/>
              <a:gd name="T56" fmla="*/ 158088 w 213480"/>
              <a:gd name="T57" fmla="*/ 14775 h 251797"/>
              <a:gd name="T58" fmla="*/ 146092 w 213480"/>
              <a:gd name="T59" fmla="*/ 3953 h 251797"/>
              <a:gd name="T60" fmla="*/ 135082 w 213480"/>
              <a:gd name="T61" fmla="*/ 0 h 251797"/>
              <a:gd name="T62" fmla="*/ 124062 w 213480"/>
              <a:gd name="T63" fmla="*/ 74995 h 251797"/>
              <a:gd name="T64" fmla="*/ 122182 w 213480"/>
              <a:gd name="T65" fmla="*/ 74995 h 251797"/>
              <a:gd name="T66" fmla="*/ 120430 w 213480"/>
              <a:gd name="T67" fmla="*/ 75441 h 251797"/>
              <a:gd name="T68" fmla="*/ 118589 w 213480"/>
              <a:gd name="T69" fmla="*/ 75556 h 251797"/>
              <a:gd name="T70" fmla="*/ 132726 w 213480"/>
              <a:gd name="T71" fmla="*/ 75556 h 251797"/>
              <a:gd name="T72" fmla="*/ 130756 w 213480"/>
              <a:gd name="T73" fmla="*/ 75248 h 251797"/>
              <a:gd name="T74" fmla="*/ 124062 w 213480"/>
              <a:gd name="T75" fmla="*/ 74995 h 25179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3480" h="251797">
                <a:moveTo>
                  <a:pt x="212973" y="164316"/>
                </a:moveTo>
                <a:lnTo>
                  <a:pt x="35967" y="164316"/>
                </a:lnTo>
                <a:lnTo>
                  <a:pt x="37254" y="178843"/>
                </a:lnTo>
                <a:lnTo>
                  <a:pt x="53755" y="217093"/>
                </a:lnTo>
                <a:lnTo>
                  <a:pt x="85288" y="243401"/>
                </a:lnTo>
                <a:lnTo>
                  <a:pt x="112165" y="251797"/>
                </a:lnTo>
                <a:lnTo>
                  <a:pt x="128946" y="251009"/>
                </a:lnTo>
                <a:lnTo>
                  <a:pt x="171467" y="237361"/>
                </a:lnTo>
                <a:lnTo>
                  <a:pt x="200429" y="210024"/>
                </a:lnTo>
                <a:lnTo>
                  <a:pt x="213480" y="173162"/>
                </a:lnTo>
                <a:lnTo>
                  <a:pt x="212973" y="164316"/>
                </a:lnTo>
                <a:close/>
              </a:path>
              <a:path w="213480" h="251797">
                <a:moveTo>
                  <a:pt x="136042" y="0"/>
                </a:moveTo>
                <a:lnTo>
                  <a:pt x="126485" y="1755"/>
                </a:lnTo>
                <a:lnTo>
                  <a:pt x="5602" y="130737"/>
                </a:lnTo>
                <a:lnTo>
                  <a:pt x="0" y="141613"/>
                </a:lnTo>
                <a:lnTo>
                  <a:pt x="657" y="153477"/>
                </a:lnTo>
                <a:lnTo>
                  <a:pt x="12886" y="166158"/>
                </a:lnTo>
                <a:lnTo>
                  <a:pt x="21518" y="169273"/>
                </a:lnTo>
                <a:lnTo>
                  <a:pt x="27331" y="169295"/>
                </a:lnTo>
                <a:lnTo>
                  <a:pt x="31929" y="167326"/>
                </a:lnTo>
                <a:lnTo>
                  <a:pt x="35967" y="164316"/>
                </a:lnTo>
                <a:lnTo>
                  <a:pt x="212973" y="164316"/>
                </a:lnTo>
                <a:lnTo>
                  <a:pt x="198151" y="115390"/>
                </a:lnTo>
                <a:lnTo>
                  <a:pt x="169741" y="87061"/>
                </a:lnTo>
                <a:lnTo>
                  <a:pt x="133670" y="75188"/>
                </a:lnTo>
                <a:lnTo>
                  <a:pt x="119432" y="75188"/>
                </a:lnTo>
                <a:lnTo>
                  <a:pt x="154268" y="37443"/>
                </a:lnTo>
                <a:lnTo>
                  <a:pt x="159870" y="26567"/>
                </a:lnTo>
                <a:lnTo>
                  <a:pt x="159212" y="14703"/>
                </a:lnTo>
                <a:lnTo>
                  <a:pt x="147131" y="3933"/>
                </a:lnTo>
                <a:lnTo>
                  <a:pt x="136042" y="0"/>
                </a:lnTo>
                <a:close/>
              </a:path>
              <a:path w="213480" h="251797">
                <a:moveTo>
                  <a:pt x="124944" y="74629"/>
                </a:moveTo>
                <a:lnTo>
                  <a:pt x="123051" y="74629"/>
                </a:lnTo>
                <a:lnTo>
                  <a:pt x="121286" y="75073"/>
                </a:lnTo>
                <a:lnTo>
                  <a:pt x="119432" y="75188"/>
                </a:lnTo>
                <a:lnTo>
                  <a:pt x="133670" y="75188"/>
                </a:lnTo>
                <a:lnTo>
                  <a:pt x="131686" y="74881"/>
                </a:lnTo>
                <a:lnTo>
                  <a:pt x="124944" y="7462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2" name="object 106">
            <a:extLst>
              <a:ext uri="{FF2B5EF4-FFF2-40B4-BE49-F238E27FC236}">
                <a16:creationId xmlns:a16="http://schemas.microsoft.com/office/drawing/2014/main" id="{2E7E8E93-5E84-491F-B97D-4B424A1DCACC}"/>
              </a:ext>
            </a:extLst>
          </p:cNvPr>
          <p:cNvSpPr>
            <a:spLocks/>
          </p:cNvSpPr>
          <p:nvPr/>
        </p:nvSpPr>
        <p:spPr bwMode="auto">
          <a:xfrm>
            <a:off x="7047482" y="3887423"/>
            <a:ext cx="295224" cy="171450"/>
          </a:xfrm>
          <a:custGeom>
            <a:avLst/>
            <a:gdLst>
              <a:gd name="T0" fmla="*/ 244752 w 510786"/>
              <a:gd name="T1" fmla="*/ 222494 h 297573"/>
              <a:gd name="T2" fmla="*/ 292098 w 510786"/>
              <a:gd name="T3" fmla="*/ 225696 h 297573"/>
              <a:gd name="T4" fmla="*/ 371362 w 510786"/>
              <a:gd name="T5" fmla="*/ 250735 h 297573"/>
              <a:gd name="T6" fmla="*/ 420212 w 510786"/>
              <a:gd name="T7" fmla="*/ 296155 h 297573"/>
              <a:gd name="T8" fmla="*/ 458839 w 510786"/>
              <a:gd name="T9" fmla="*/ 259463 h 297573"/>
              <a:gd name="T10" fmla="*/ 479251 w 510786"/>
              <a:gd name="T11" fmla="*/ 233363 h 297573"/>
              <a:gd name="T12" fmla="*/ 416824 w 510786"/>
              <a:gd name="T13" fmla="*/ 228614 h 297573"/>
              <a:gd name="T14" fmla="*/ 408076 w 510786"/>
              <a:gd name="T15" fmla="*/ 222494 h 297573"/>
              <a:gd name="T16" fmla="*/ 30732 w 510786"/>
              <a:gd name="T17" fmla="*/ 30983 h 297573"/>
              <a:gd name="T18" fmla="*/ 1048 w 510786"/>
              <a:gd name="T19" fmla="*/ 114897 h 297573"/>
              <a:gd name="T20" fmla="*/ 557 w 510786"/>
              <a:gd name="T21" fmla="*/ 148045 h 297573"/>
              <a:gd name="T22" fmla="*/ 36871 w 510786"/>
              <a:gd name="T23" fmla="*/ 240252 h 297573"/>
              <a:gd name="T24" fmla="*/ 91148 w 510786"/>
              <a:gd name="T25" fmla="*/ 295738 h 297573"/>
              <a:gd name="T26" fmla="*/ 108240 w 510786"/>
              <a:gd name="T27" fmla="*/ 274704 h 297573"/>
              <a:gd name="T28" fmla="*/ 182874 w 510786"/>
              <a:gd name="T29" fmla="*/ 232152 h 297573"/>
              <a:gd name="T30" fmla="*/ 92610 w 510786"/>
              <a:gd name="T31" fmla="*/ 230221 h 297573"/>
              <a:gd name="T32" fmla="*/ 48843 w 510786"/>
              <a:gd name="T33" fmla="*/ 154766 h 297573"/>
              <a:gd name="T34" fmla="*/ 46646 w 510786"/>
              <a:gd name="T35" fmla="*/ 120522 h 297573"/>
              <a:gd name="T36" fmla="*/ 65483 w 510786"/>
              <a:gd name="T37" fmla="*/ 59834 h 297573"/>
              <a:gd name="T38" fmla="*/ 437440 w 510786"/>
              <a:gd name="T39" fmla="*/ 58214 h 297573"/>
              <a:gd name="T40" fmla="*/ 491146 w 510786"/>
              <a:gd name="T41" fmla="*/ 49815 h 297573"/>
              <a:gd name="T42" fmla="*/ 249403 w 510786"/>
              <a:gd name="T43" fmla="*/ 49400 h 297573"/>
              <a:gd name="T44" fmla="*/ 152718 w 510786"/>
              <a:gd name="T45" fmla="*/ 37627 h 297573"/>
              <a:gd name="T46" fmla="*/ 76049 w 510786"/>
              <a:gd name="T47" fmla="*/ 12406 h 297573"/>
              <a:gd name="T48" fmla="*/ 54440 w 510786"/>
              <a:gd name="T49" fmla="*/ 0 h 297573"/>
              <a:gd name="T50" fmla="*/ 437440 w 510786"/>
              <a:gd name="T51" fmla="*/ 58214 h 297573"/>
              <a:gd name="T52" fmla="*/ 446229 w 510786"/>
              <a:gd name="T53" fmla="*/ 69837 h 297573"/>
              <a:gd name="T54" fmla="*/ 465512 w 510786"/>
              <a:gd name="T55" fmla="*/ 133955 h 297573"/>
              <a:gd name="T56" fmla="*/ 450326 w 510786"/>
              <a:gd name="T57" fmla="*/ 194906 h 297573"/>
              <a:gd name="T58" fmla="*/ 479251 w 510786"/>
              <a:gd name="T59" fmla="*/ 233363 h 297573"/>
              <a:gd name="T60" fmla="*/ 511564 w 510786"/>
              <a:gd name="T61" fmla="*/ 131100 h 297573"/>
              <a:gd name="T62" fmla="*/ 508131 w 510786"/>
              <a:gd name="T63" fmla="*/ 99540 h 297573"/>
              <a:gd name="T64" fmla="*/ 500428 w 510786"/>
              <a:gd name="T65" fmla="*/ 71779 h 297573"/>
              <a:gd name="T66" fmla="*/ 495017 w 510786"/>
              <a:gd name="T67" fmla="*/ 58214 h 297573"/>
              <a:gd name="T68" fmla="*/ 254172 w 510786"/>
              <a:gd name="T69" fmla="*/ 180630 h 297573"/>
              <a:gd name="T70" fmla="*/ 186500 w 510786"/>
              <a:gd name="T71" fmla="*/ 188010 h 297573"/>
              <a:gd name="T72" fmla="*/ 106883 w 510786"/>
              <a:gd name="T73" fmla="*/ 220230 h 297573"/>
              <a:gd name="T74" fmla="*/ 190697 w 510786"/>
              <a:gd name="T75" fmla="*/ 230221 h 297573"/>
              <a:gd name="T76" fmla="*/ 221861 w 510786"/>
              <a:gd name="T77" fmla="*/ 224293 h 297573"/>
              <a:gd name="T78" fmla="*/ 408076 w 510786"/>
              <a:gd name="T79" fmla="*/ 222494 h 297573"/>
              <a:gd name="T80" fmla="*/ 361013 w 510786"/>
              <a:gd name="T81" fmla="*/ 198616 h 297573"/>
              <a:gd name="T82" fmla="*/ 269841 w 510786"/>
              <a:gd name="T83" fmla="*/ 180937 h 297573"/>
              <a:gd name="T84" fmla="*/ 433376 w 510786"/>
              <a:gd name="T85" fmla="*/ 59834 h 297573"/>
              <a:gd name="T86" fmla="*/ 98698 w 510786"/>
              <a:gd name="T87" fmla="*/ 69335 h 297573"/>
              <a:gd name="T88" fmla="*/ 186825 w 510786"/>
              <a:gd name="T89" fmla="*/ 87394 h 297573"/>
              <a:gd name="T90" fmla="*/ 257150 w 510786"/>
              <a:gd name="T91" fmla="*/ 91812 h 297573"/>
              <a:gd name="T92" fmla="*/ 324222 w 510786"/>
              <a:gd name="T93" fmla="*/ 87372 h 297573"/>
              <a:gd name="T94" fmla="*/ 412221 w 510786"/>
              <a:gd name="T95" fmla="*/ 67542 h 297573"/>
              <a:gd name="T96" fmla="*/ 457136 w 510786"/>
              <a:gd name="T97" fmla="*/ 139 h 297573"/>
              <a:gd name="T98" fmla="*/ 367147 w 510786"/>
              <a:gd name="T99" fmla="*/ 36725 h 297573"/>
              <a:gd name="T100" fmla="*/ 273107 w 510786"/>
              <a:gd name="T101" fmla="*/ 49815 h 297573"/>
              <a:gd name="T102" fmla="*/ 470956 w 510786"/>
              <a:gd name="T103" fmla="*/ 16547 h 297573"/>
              <a:gd name="T104" fmla="*/ 457136 w 510786"/>
              <a:gd name="T105" fmla="*/ 139 h 2975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0786" h="297573">
                <a:moveTo>
                  <a:pt x="407455" y="223559"/>
                </a:moveTo>
                <a:lnTo>
                  <a:pt x="244380" y="223559"/>
                </a:lnTo>
                <a:lnTo>
                  <a:pt x="269214" y="224418"/>
                </a:lnTo>
                <a:lnTo>
                  <a:pt x="291654" y="226777"/>
                </a:lnTo>
                <a:lnTo>
                  <a:pt x="329681" y="234948"/>
                </a:lnTo>
                <a:lnTo>
                  <a:pt x="370797" y="251936"/>
                </a:lnTo>
                <a:lnTo>
                  <a:pt x="402244" y="275494"/>
                </a:lnTo>
                <a:lnTo>
                  <a:pt x="419572" y="297573"/>
                </a:lnTo>
                <a:lnTo>
                  <a:pt x="438825" y="280022"/>
                </a:lnTo>
                <a:lnTo>
                  <a:pt x="458141" y="260706"/>
                </a:lnTo>
                <a:lnTo>
                  <a:pt x="473971" y="241403"/>
                </a:lnTo>
                <a:lnTo>
                  <a:pt x="478522" y="234480"/>
                </a:lnTo>
                <a:lnTo>
                  <a:pt x="422277" y="234480"/>
                </a:lnTo>
                <a:lnTo>
                  <a:pt x="416190" y="229709"/>
                </a:lnTo>
                <a:lnTo>
                  <a:pt x="409213" y="224706"/>
                </a:lnTo>
                <a:lnTo>
                  <a:pt x="407455" y="223559"/>
                </a:lnTo>
                <a:close/>
              </a:path>
              <a:path w="510786" h="297573">
                <a:moveTo>
                  <a:pt x="54358" y="0"/>
                </a:moveTo>
                <a:lnTo>
                  <a:pt x="30686" y="31131"/>
                </a:lnTo>
                <a:lnTo>
                  <a:pt x="11120" y="72123"/>
                </a:lnTo>
                <a:lnTo>
                  <a:pt x="1046" y="115447"/>
                </a:lnTo>
                <a:lnTo>
                  <a:pt x="0" y="131728"/>
                </a:lnTo>
                <a:lnTo>
                  <a:pt x="557" y="148754"/>
                </a:lnTo>
                <a:lnTo>
                  <a:pt x="14541" y="203257"/>
                </a:lnTo>
                <a:lnTo>
                  <a:pt x="36815" y="241403"/>
                </a:lnTo>
                <a:lnTo>
                  <a:pt x="71960" y="280022"/>
                </a:lnTo>
                <a:lnTo>
                  <a:pt x="91010" y="297154"/>
                </a:lnTo>
                <a:lnTo>
                  <a:pt x="106847" y="277456"/>
                </a:lnTo>
                <a:lnTo>
                  <a:pt x="108076" y="276020"/>
                </a:lnTo>
                <a:lnTo>
                  <a:pt x="140222" y="251116"/>
                </a:lnTo>
                <a:lnTo>
                  <a:pt x="182596" y="233264"/>
                </a:lnTo>
                <a:lnTo>
                  <a:pt x="190407" y="231324"/>
                </a:lnTo>
                <a:lnTo>
                  <a:pt x="92470" y="231324"/>
                </a:lnTo>
                <a:lnTo>
                  <a:pt x="62763" y="192742"/>
                </a:lnTo>
                <a:lnTo>
                  <a:pt x="48769" y="155507"/>
                </a:lnTo>
                <a:lnTo>
                  <a:pt x="46237" y="132163"/>
                </a:lnTo>
                <a:lnTo>
                  <a:pt x="46576" y="121099"/>
                </a:lnTo>
                <a:lnTo>
                  <a:pt x="55250" y="82176"/>
                </a:lnTo>
                <a:lnTo>
                  <a:pt x="65383" y="60120"/>
                </a:lnTo>
                <a:lnTo>
                  <a:pt x="432716" y="60120"/>
                </a:lnTo>
                <a:lnTo>
                  <a:pt x="436774" y="58493"/>
                </a:lnTo>
                <a:lnTo>
                  <a:pt x="494264" y="58493"/>
                </a:lnTo>
                <a:lnTo>
                  <a:pt x="490399" y="50053"/>
                </a:lnTo>
                <a:lnTo>
                  <a:pt x="272691" y="50053"/>
                </a:lnTo>
                <a:lnTo>
                  <a:pt x="249023" y="49636"/>
                </a:lnTo>
                <a:lnTo>
                  <a:pt x="206019" y="46515"/>
                </a:lnTo>
                <a:lnTo>
                  <a:pt x="152486" y="37807"/>
                </a:lnTo>
                <a:lnTo>
                  <a:pt x="112350" y="26973"/>
                </a:lnTo>
                <a:lnTo>
                  <a:pt x="75933" y="12466"/>
                </a:lnTo>
                <a:lnTo>
                  <a:pt x="72176" y="10490"/>
                </a:lnTo>
                <a:lnTo>
                  <a:pt x="54358" y="0"/>
                </a:lnTo>
                <a:close/>
              </a:path>
              <a:path w="510786" h="297573">
                <a:moveTo>
                  <a:pt x="494264" y="58493"/>
                </a:moveTo>
                <a:lnTo>
                  <a:pt x="436774" y="58493"/>
                </a:lnTo>
                <a:lnTo>
                  <a:pt x="441173" y="63890"/>
                </a:lnTo>
                <a:lnTo>
                  <a:pt x="445550" y="70171"/>
                </a:lnTo>
                <a:lnTo>
                  <a:pt x="462622" y="113051"/>
                </a:lnTo>
                <a:lnTo>
                  <a:pt x="464804" y="134596"/>
                </a:lnTo>
                <a:lnTo>
                  <a:pt x="464385" y="146104"/>
                </a:lnTo>
                <a:lnTo>
                  <a:pt x="449641" y="195839"/>
                </a:lnTo>
                <a:lnTo>
                  <a:pt x="422277" y="234480"/>
                </a:lnTo>
                <a:lnTo>
                  <a:pt x="478522" y="234480"/>
                </a:lnTo>
                <a:lnTo>
                  <a:pt x="503227" y="184623"/>
                </a:lnTo>
                <a:lnTo>
                  <a:pt x="510786" y="131728"/>
                </a:lnTo>
                <a:lnTo>
                  <a:pt x="509739" y="115447"/>
                </a:lnTo>
                <a:lnTo>
                  <a:pt x="507358" y="100017"/>
                </a:lnTo>
                <a:lnTo>
                  <a:pt x="503910" y="85540"/>
                </a:lnTo>
                <a:lnTo>
                  <a:pt x="499666" y="72123"/>
                </a:lnTo>
                <a:lnTo>
                  <a:pt x="494894" y="59869"/>
                </a:lnTo>
                <a:lnTo>
                  <a:pt x="494264" y="58493"/>
                </a:lnTo>
                <a:close/>
              </a:path>
              <a:path w="510786" h="297573">
                <a:moveTo>
                  <a:pt x="256771" y="181495"/>
                </a:moveTo>
                <a:lnTo>
                  <a:pt x="253786" y="181495"/>
                </a:lnTo>
                <a:lnTo>
                  <a:pt x="235307" y="182113"/>
                </a:lnTo>
                <a:lnTo>
                  <a:pt x="186216" y="188911"/>
                </a:lnTo>
                <a:lnTo>
                  <a:pt x="146321" y="201106"/>
                </a:lnTo>
                <a:lnTo>
                  <a:pt x="106721" y="221285"/>
                </a:lnTo>
                <a:lnTo>
                  <a:pt x="92470" y="231324"/>
                </a:lnTo>
                <a:lnTo>
                  <a:pt x="190407" y="231324"/>
                </a:lnTo>
                <a:lnTo>
                  <a:pt x="200949" y="228707"/>
                </a:lnTo>
                <a:lnTo>
                  <a:pt x="221523" y="225367"/>
                </a:lnTo>
                <a:lnTo>
                  <a:pt x="244380" y="223559"/>
                </a:lnTo>
                <a:lnTo>
                  <a:pt x="407455" y="223559"/>
                </a:lnTo>
                <a:lnTo>
                  <a:pt x="401333" y="219567"/>
                </a:lnTo>
                <a:lnTo>
                  <a:pt x="360463" y="199567"/>
                </a:lnTo>
                <a:lnTo>
                  <a:pt x="319567" y="187842"/>
                </a:lnTo>
                <a:lnTo>
                  <a:pt x="269431" y="181804"/>
                </a:lnTo>
                <a:lnTo>
                  <a:pt x="256771" y="181495"/>
                </a:lnTo>
                <a:close/>
              </a:path>
              <a:path w="510786" h="297573">
                <a:moveTo>
                  <a:pt x="432716" y="60120"/>
                </a:moveTo>
                <a:lnTo>
                  <a:pt x="65383" y="60120"/>
                </a:lnTo>
                <a:lnTo>
                  <a:pt x="98548" y="69667"/>
                </a:lnTo>
                <a:lnTo>
                  <a:pt x="144326" y="80795"/>
                </a:lnTo>
                <a:lnTo>
                  <a:pt x="186541" y="87813"/>
                </a:lnTo>
                <a:lnTo>
                  <a:pt x="235203" y="91850"/>
                </a:lnTo>
                <a:lnTo>
                  <a:pt x="256758" y="92252"/>
                </a:lnTo>
                <a:lnTo>
                  <a:pt x="274569" y="91886"/>
                </a:lnTo>
                <a:lnTo>
                  <a:pt x="323728" y="87790"/>
                </a:lnTo>
                <a:lnTo>
                  <a:pt x="366166" y="80362"/>
                </a:lnTo>
                <a:lnTo>
                  <a:pt x="411594" y="67866"/>
                </a:lnTo>
                <a:lnTo>
                  <a:pt x="432716" y="60120"/>
                </a:lnTo>
                <a:close/>
              </a:path>
              <a:path w="510786" h="297573">
                <a:moveTo>
                  <a:pt x="456440" y="139"/>
                </a:moveTo>
                <a:lnTo>
                  <a:pt x="415333" y="21240"/>
                </a:lnTo>
                <a:lnTo>
                  <a:pt x="366589" y="36901"/>
                </a:lnTo>
                <a:lnTo>
                  <a:pt x="314335" y="46666"/>
                </a:lnTo>
                <a:lnTo>
                  <a:pt x="272691" y="50053"/>
                </a:lnTo>
                <a:lnTo>
                  <a:pt x="490399" y="50053"/>
                </a:lnTo>
                <a:lnTo>
                  <a:pt x="470240" y="16627"/>
                </a:lnTo>
                <a:lnTo>
                  <a:pt x="469305" y="15443"/>
                </a:lnTo>
                <a:lnTo>
                  <a:pt x="456440" y="13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3" name="object 107">
            <a:extLst>
              <a:ext uri="{FF2B5EF4-FFF2-40B4-BE49-F238E27FC236}">
                <a16:creationId xmlns:a16="http://schemas.microsoft.com/office/drawing/2014/main" id="{2C4BC9B1-01CC-440A-A32F-75347BC03211}"/>
              </a:ext>
            </a:extLst>
          </p:cNvPr>
          <p:cNvSpPr>
            <a:spLocks/>
          </p:cNvSpPr>
          <p:nvPr/>
        </p:nvSpPr>
        <p:spPr bwMode="auto">
          <a:xfrm>
            <a:off x="7410552" y="3370322"/>
            <a:ext cx="186120" cy="270470"/>
          </a:xfrm>
          <a:custGeom>
            <a:avLst/>
            <a:gdLst>
              <a:gd name="T0" fmla="*/ 178373 w 320916"/>
              <a:gd name="T1" fmla="*/ 0 h 469849"/>
              <a:gd name="T2" fmla="*/ 0 w 320916"/>
              <a:gd name="T3" fmla="*/ 260542 h 469849"/>
              <a:gd name="T4" fmla="*/ 136994 w 320916"/>
              <a:gd name="T5" fmla="*/ 266674 h 469849"/>
              <a:gd name="T6" fmla="*/ 319 w 320916"/>
              <a:gd name="T7" fmla="*/ 466782 h 469849"/>
              <a:gd name="T8" fmla="*/ 323616 w 320916"/>
              <a:gd name="T9" fmla="*/ 185268 h 469849"/>
              <a:gd name="T10" fmla="*/ 184149 w 320916"/>
              <a:gd name="T11" fmla="*/ 179024 h 469849"/>
              <a:gd name="T12" fmla="*/ 302881 w 320916"/>
              <a:gd name="T13" fmla="*/ 5564 h 469849"/>
              <a:gd name="T14" fmla="*/ 178373 w 320916"/>
              <a:gd name="T15" fmla="*/ 0 h 4698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0916" h="469849">
                <a:moveTo>
                  <a:pt x="176885" y="0"/>
                </a:moveTo>
                <a:lnTo>
                  <a:pt x="0" y="262254"/>
                </a:lnTo>
                <a:lnTo>
                  <a:pt x="135851" y="268427"/>
                </a:lnTo>
                <a:lnTo>
                  <a:pt x="317" y="469849"/>
                </a:lnTo>
                <a:lnTo>
                  <a:pt x="320916" y="186486"/>
                </a:lnTo>
                <a:lnTo>
                  <a:pt x="182613" y="180200"/>
                </a:lnTo>
                <a:lnTo>
                  <a:pt x="300354" y="5600"/>
                </a:lnTo>
                <a:lnTo>
                  <a:pt x="17688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4" name="object 108">
            <a:extLst>
              <a:ext uri="{FF2B5EF4-FFF2-40B4-BE49-F238E27FC236}">
                <a16:creationId xmlns:a16="http://schemas.microsoft.com/office/drawing/2014/main" id="{313B6EBC-C25A-4997-955A-9F7F181F923C}"/>
              </a:ext>
            </a:extLst>
          </p:cNvPr>
          <p:cNvSpPr>
            <a:spLocks/>
          </p:cNvSpPr>
          <p:nvPr/>
        </p:nvSpPr>
        <p:spPr bwMode="auto">
          <a:xfrm>
            <a:off x="7258356" y="3434501"/>
            <a:ext cx="81599" cy="178785"/>
          </a:xfrm>
          <a:custGeom>
            <a:avLst/>
            <a:gdLst>
              <a:gd name="T0" fmla="*/ 138727 w 141668"/>
              <a:gd name="T1" fmla="*/ 172698 h 309879"/>
              <a:gd name="T2" fmla="*/ 103140 w 141668"/>
              <a:gd name="T3" fmla="*/ 172698 h 309879"/>
              <a:gd name="T4" fmla="*/ 140909 w 141668"/>
              <a:gd name="T5" fmla="*/ 309248 h 309879"/>
              <a:gd name="T6" fmla="*/ 138727 w 141668"/>
              <a:gd name="T7" fmla="*/ 172698 h 309879"/>
              <a:gd name="T8" fmla="*/ 49176 w 141668"/>
              <a:gd name="T9" fmla="*/ 0 h 309879"/>
              <a:gd name="T10" fmla="*/ 0 w 141668"/>
              <a:gd name="T11" fmla="*/ 52635 h 309879"/>
              <a:gd name="T12" fmla="*/ 49024 w 141668"/>
              <a:gd name="T13" fmla="*/ 230618 h 309879"/>
              <a:gd name="T14" fmla="*/ 103140 w 141668"/>
              <a:gd name="T15" fmla="*/ 172698 h 309879"/>
              <a:gd name="T16" fmla="*/ 138727 w 141668"/>
              <a:gd name="T17" fmla="*/ 172698 h 309879"/>
              <a:gd name="T18" fmla="*/ 137859 w 141668"/>
              <a:gd name="T19" fmla="*/ 118477 h 309879"/>
              <a:gd name="T20" fmla="*/ 81816 w 141668"/>
              <a:gd name="T21" fmla="*/ 118477 h 309879"/>
              <a:gd name="T22" fmla="*/ 49176 w 141668"/>
              <a:gd name="T23" fmla="*/ 0 h 309879"/>
              <a:gd name="T24" fmla="*/ 136918 w 141668"/>
              <a:gd name="T25" fmla="*/ 59529 h 309879"/>
              <a:gd name="T26" fmla="*/ 81816 w 141668"/>
              <a:gd name="T27" fmla="*/ 118477 h 309879"/>
              <a:gd name="T28" fmla="*/ 137859 w 141668"/>
              <a:gd name="T29" fmla="*/ 118477 h 309879"/>
              <a:gd name="T30" fmla="*/ 136918 w 141668"/>
              <a:gd name="T31" fmla="*/ 59529 h 3098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1668" h="309879">
                <a:moveTo>
                  <a:pt x="139474" y="173050"/>
                </a:moveTo>
                <a:lnTo>
                  <a:pt x="103695" y="173050"/>
                </a:lnTo>
                <a:lnTo>
                  <a:pt x="141668" y="309880"/>
                </a:lnTo>
                <a:lnTo>
                  <a:pt x="139474" y="173050"/>
                </a:lnTo>
                <a:close/>
              </a:path>
              <a:path w="141668" h="309879">
                <a:moveTo>
                  <a:pt x="49441" y="0"/>
                </a:moveTo>
                <a:lnTo>
                  <a:pt x="0" y="52743"/>
                </a:lnTo>
                <a:lnTo>
                  <a:pt x="49288" y="231089"/>
                </a:lnTo>
                <a:lnTo>
                  <a:pt x="103695" y="173050"/>
                </a:lnTo>
                <a:lnTo>
                  <a:pt x="139474" y="173050"/>
                </a:lnTo>
                <a:lnTo>
                  <a:pt x="138602" y="118719"/>
                </a:lnTo>
                <a:lnTo>
                  <a:pt x="82257" y="118719"/>
                </a:lnTo>
                <a:lnTo>
                  <a:pt x="49441" y="0"/>
                </a:lnTo>
                <a:close/>
              </a:path>
              <a:path w="141668" h="309879">
                <a:moveTo>
                  <a:pt x="137655" y="59651"/>
                </a:moveTo>
                <a:lnTo>
                  <a:pt x="82257" y="118719"/>
                </a:lnTo>
                <a:lnTo>
                  <a:pt x="138602" y="118719"/>
                </a:lnTo>
                <a:lnTo>
                  <a:pt x="137655" y="59651"/>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5" name="object 109">
            <a:extLst>
              <a:ext uri="{FF2B5EF4-FFF2-40B4-BE49-F238E27FC236}">
                <a16:creationId xmlns:a16="http://schemas.microsoft.com/office/drawing/2014/main" id="{E0845889-E355-4041-8A8F-B8B28B724720}"/>
              </a:ext>
            </a:extLst>
          </p:cNvPr>
          <p:cNvSpPr>
            <a:spLocks/>
          </p:cNvSpPr>
          <p:nvPr/>
        </p:nvSpPr>
        <p:spPr bwMode="auto">
          <a:xfrm>
            <a:off x="3958631" y="1455033"/>
            <a:ext cx="1123135" cy="421749"/>
          </a:xfrm>
          <a:custGeom>
            <a:avLst/>
            <a:gdLst>
              <a:gd name="T0" fmla="*/ 0 w 1944001"/>
              <a:gd name="T1" fmla="*/ 731497 h 729005"/>
              <a:gd name="T2" fmla="*/ 1945373 w 1944001"/>
              <a:gd name="T3" fmla="*/ 731497 h 729005"/>
              <a:gd name="T4" fmla="*/ 1945373 w 1944001"/>
              <a:gd name="T5" fmla="*/ 0 h 729005"/>
              <a:gd name="T6" fmla="*/ 0 w 1944001"/>
              <a:gd name="T7" fmla="*/ 0 h 729005"/>
              <a:gd name="T8" fmla="*/ 0 w 1944001"/>
              <a:gd name="T9" fmla="*/ 731497 h 7290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44001" h="729005">
                <a:moveTo>
                  <a:pt x="0" y="729005"/>
                </a:moveTo>
                <a:lnTo>
                  <a:pt x="1944001" y="729005"/>
                </a:lnTo>
                <a:lnTo>
                  <a:pt x="1944001" y="0"/>
                </a:lnTo>
                <a:lnTo>
                  <a:pt x="0" y="0"/>
                </a:lnTo>
                <a:lnTo>
                  <a:pt x="0" y="729005"/>
                </a:lnTo>
                <a:close/>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6" name="object 110">
            <a:extLst>
              <a:ext uri="{FF2B5EF4-FFF2-40B4-BE49-F238E27FC236}">
                <a16:creationId xmlns:a16="http://schemas.microsoft.com/office/drawing/2014/main" id="{EA52E00A-D318-41EB-BD27-41864089D33D}"/>
              </a:ext>
            </a:extLst>
          </p:cNvPr>
          <p:cNvSpPr>
            <a:spLocks/>
          </p:cNvSpPr>
          <p:nvPr/>
        </p:nvSpPr>
        <p:spPr bwMode="auto">
          <a:xfrm>
            <a:off x="1758203" y="1944629"/>
            <a:ext cx="2159169" cy="907676"/>
          </a:xfrm>
          <a:custGeom>
            <a:avLst/>
            <a:gdLst>
              <a:gd name="T0" fmla="*/ 0 w 3738626"/>
              <a:gd name="T1" fmla="*/ 1570762 h 1572488"/>
              <a:gd name="T2" fmla="*/ 3738498 w 3738626"/>
              <a:gd name="T3" fmla="*/ 0 h 1572488"/>
              <a:gd name="T4" fmla="*/ 0 60000 65536"/>
              <a:gd name="T5" fmla="*/ 0 60000 65536"/>
            </a:gdLst>
            <a:ahLst/>
            <a:cxnLst>
              <a:cxn ang="T4">
                <a:pos x="T0" y="T1"/>
              </a:cxn>
              <a:cxn ang="T5">
                <a:pos x="T2" y="T3"/>
              </a:cxn>
            </a:cxnLst>
            <a:rect l="0" t="0" r="r" b="b"/>
            <a:pathLst>
              <a:path w="3738626" h="1572488">
                <a:moveTo>
                  <a:pt x="0" y="1572488"/>
                </a:moveTo>
                <a:lnTo>
                  <a:pt x="3738626" y="0"/>
                </a:lnTo>
              </a:path>
            </a:pathLst>
          </a:custGeom>
          <a:noFill/>
          <a:ln w="50800">
            <a:solidFill>
              <a:srgbClr val="ED1C2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8" name="object 112">
            <a:extLst>
              <a:ext uri="{FF2B5EF4-FFF2-40B4-BE49-F238E27FC236}">
                <a16:creationId xmlns:a16="http://schemas.microsoft.com/office/drawing/2014/main" id="{7776D945-F3AD-487B-B300-E8DE995F885A}"/>
              </a:ext>
            </a:extLst>
          </p:cNvPr>
          <p:cNvSpPr>
            <a:spLocks/>
          </p:cNvSpPr>
          <p:nvPr/>
        </p:nvSpPr>
        <p:spPr bwMode="auto">
          <a:xfrm>
            <a:off x="3943962"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9" name="object 113">
            <a:extLst>
              <a:ext uri="{FF2B5EF4-FFF2-40B4-BE49-F238E27FC236}">
                <a16:creationId xmlns:a16="http://schemas.microsoft.com/office/drawing/2014/main" id="{39ACB8C4-C842-4769-AC05-F3DD977E8DCB}"/>
              </a:ext>
            </a:extLst>
          </p:cNvPr>
          <p:cNvSpPr>
            <a:spLocks/>
          </p:cNvSpPr>
          <p:nvPr/>
        </p:nvSpPr>
        <p:spPr bwMode="auto">
          <a:xfrm>
            <a:off x="5150530" y="1956547"/>
            <a:ext cx="2081238" cy="906760"/>
          </a:xfrm>
          <a:custGeom>
            <a:avLst/>
            <a:gdLst>
              <a:gd name="T0" fmla="*/ 0 w 3603409"/>
              <a:gd name="T1" fmla="*/ 0 h 1570990"/>
              <a:gd name="T2" fmla="*/ 3603841 w 3603409"/>
              <a:gd name="T3" fmla="*/ 1569087 h 1570990"/>
              <a:gd name="T4" fmla="*/ 0 60000 65536"/>
              <a:gd name="T5" fmla="*/ 0 60000 65536"/>
            </a:gdLst>
            <a:ahLst/>
            <a:cxnLst>
              <a:cxn ang="T4">
                <a:pos x="T0" y="T1"/>
              </a:cxn>
              <a:cxn ang="T5">
                <a:pos x="T2" y="T3"/>
              </a:cxn>
            </a:cxnLst>
            <a:rect l="0" t="0" r="r" b="b"/>
            <a:pathLst>
              <a:path w="3603409" h="1570990">
                <a:moveTo>
                  <a:pt x="0" y="0"/>
                </a:moveTo>
                <a:lnTo>
                  <a:pt x="3603409" y="1570990"/>
                </a:lnTo>
              </a:path>
            </a:pathLst>
          </a:custGeom>
          <a:noFill/>
          <a:ln w="50800">
            <a:solidFill>
              <a:srgbClr val="ED1C2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0" name="object 114">
            <a:extLst>
              <a:ext uri="{FF2B5EF4-FFF2-40B4-BE49-F238E27FC236}">
                <a16:creationId xmlns:a16="http://schemas.microsoft.com/office/drawing/2014/main" id="{DC5A51FB-51D2-4660-BA94-5CF872E69E81}"/>
              </a:ext>
            </a:extLst>
          </p:cNvPr>
          <p:cNvSpPr>
            <a:spLocks/>
          </p:cNvSpPr>
          <p:nvPr/>
        </p:nvSpPr>
        <p:spPr bwMode="auto">
          <a:xfrm>
            <a:off x="5096435"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2" name="object 116">
            <a:extLst>
              <a:ext uri="{FF2B5EF4-FFF2-40B4-BE49-F238E27FC236}">
                <a16:creationId xmlns:a16="http://schemas.microsoft.com/office/drawing/2014/main" id="{245CCBA8-F942-4143-A5B9-F88097DE20F8}"/>
              </a:ext>
            </a:extLst>
          </p:cNvPr>
          <p:cNvSpPr>
            <a:spLocks/>
          </p:cNvSpPr>
          <p:nvPr/>
        </p:nvSpPr>
        <p:spPr bwMode="auto">
          <a:xfrm>
            <a:off x="3639569" y="1957464"/>
            <a:ext cx="587697" cy="868252"/>
          </a:xfrm>
          <a:custGeom>
            <a:avLst/>
            <a:gdLst>
              <a:gd name="T0" fmla="*/ 0 w 1017943"/>
              <a:gd name="T1" fmla="*/ 1503375 h 1503349"/>
              <a:gd name="T2" fmla="*/ 1017231 w 1017943"/>
              <a:gd name="T3" fmla="*/ 0 h 1503349"/>
              <a:gd name="T4" fmla="*/ 0 60000 65536"/>
              <a:gd name="T5" fmla="*/ 0 60000 65536"/>
            </a:gdLst>
            <a:ahLst/>
            <a:cxnLst>
              <a:cxn ang="T4">
                <a:pos x="T0" y="T1"/>
              </a:cxn>
              <a:cxn ang="T5">
                <a:pos x="T2" y="T3"/>
              </a:cxn>
            </a:cxnLst>
            <a:rect l="0" t="0" r="r" b="b"/>
            <a:pathLst>
              <a:path w="1017943" h="1503349">
                <a:moveTo>
                  <a:pt x="0" y="1503349"/>
                </a:moveTo>
                <a:lnTo>
                  <a:pt x="1017943" y="0"/>
                </a:lnTo>
              </a:path>
            </a:pathLst>
          </a:custGeom>
          <a:noFill/>
          <a:ln w="50799">
            <a:solidFill>
              <a:srgbClr val="ED1C2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4" name="object 118">
            <a:extLst>
              <a:ext uri="{FF2B5EF4-FFF2-40B4-BE49-F238E27FC236}">
                <a16:creationId xmlns:a16="http://schemas.microsoft.com/office/drawing/2014/main" id="{142F68C1-0A10-4D35-9447-E8B9BD6D0ECB}"/>
              </a:ext>
            </a:extLst>
          </p:cNvPr>
          <p:cNvSpPr>
            <a:spLocks/>
          </p:cNvSpPr>
          <p:nvPr/>
        </p:nvSpPr>
        <p:spPr bwMode="auto">
          <a:xfrm>
            <a:off x="4243770"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5" name="object 119">
            <a:extLst>
              <a:ext uri="{FF2B5EF4-FFF2-40B4-BE49-F238E27FC236}">
                <a16:creationId xmlns:a16="http://schemas.microsoft.com/office/drawing/2014/main" id="{4A3DA760-9DF3-42E3-BE98-D55FE9D9753B}"/>
              </a:ext>
            </a:extLst>
          </p:cNvPr>
          <p:cNvSpPr>
            <a:spLocks/>
          </p:cNvSpPr>
          <p:nvPr/>
        </p:nvSpPr>
        <p:spPr bwMode="auto">
          <a:xfrm>
            <a:off x="4800295" y="1977635"/>
            <a:ext cx="720640" cy="875587"/>
          </a:xfrm>
          <a:custGeom>
            <a:avLst/>
            <a:gdLst>
              <a:gd name="T0" fmla="*/ 0 w 1246886"/>
              <a:gd name="T1" fmla="*/ 0 h 1515618"/>
              <a:gd name="T2" fmla="*/ 1248665 w 1246886"/>
              <a:gd name="T3" fmla="*/ 1516506 h 1515618"/>
              <a:gd name="T4" fmla="*/ 0 60000 65536"/>
              <a:gd name="T5" fmla="*/ 0 60000 65536"/>
            </a:gdLst>
            <a:ahLst/>
            <a:cxnLst>
              <a:cxn ang="T4">
                <a:pos x="T0" y="T1"/>
              </a:cxn>
              <a:cxn ang="T5">
                <a:pos x="T2" y="T3"/>
              </a:cxn>
            </a:cxnLst>
            <a:rect l="0" t="0" r="r" b="b"/>
            <a:pathLst>
              <a:path w="1246886" h="1515618">
                <a:moveTo>
                  <a:pt x="0" y="0"/>
                </a:moveTo>
                <a:lnTo>
                  <a:pt x="1246886" y="1515618"/>
                </a:lnTo>
              </a:path>
            </a:pathLst>
          </a:custGeom>
          <a:noFill/>
          <a:ln w="50800">
            <a:solidFill>
              <a:srgbClr val="ED1C24"/>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6" name="object 120">
            <a:extLst>
              <a:ext uri="{FF2B5EF4-FFF2-40B4-BE49-F238E27FC236}">
                <a16:creationId xmlns:a16="http://schemas.microsoft.com/office/drawing/2014/main" id="{14EF66C5-2180-4AFD-9169-773DA8A02265}"/>
              </a:ext>
            </a:extLst>
          </p:cNvPr>
          <p:cNvSpPr>
            <a:spLocks/>
          </p:cNvSpPr>
          <p:nvPr/>
        </p:nvSpPr>
        <p:spPr bwMode="auto">
          <a:xfrm>
            <a:off x="4763621"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8" name="object 122">
            <a:extLst>
              <a:ext uri="{FF2B5EF4-FFF2-40B4-BE49-F238E27FC236}">
                <a16:creationId xmlns:a16="http://schemas.microsoft.com/office/drawing/2014/main" id="{96C2A6D3-9395-4B82-ACD9-943BC84F01D4}"/>
              </a:ext>
            </a:extLst>
          </p:cNvPr>
          <p:cNvSpPr>
            <a:spLocks/>
          </p:cNvSpPr>
          <p:nvPr/>
        </p:nvSpPr>
        <p:spPr bwMode="auto">
          <a:xfrm>
            <a:off x="1466647" y="3596783"/>
            <a:ext cx="170533" cy="0"/>
          </a:xfrm>
          <a:custGeom>
            <a:avLst/>
            <a:gdLst>
              <a:gd name="T0" fmla="*/ 0 w 296379"/>
              <a:gd name="T1" fmla="*/ 294175 w 296379"/>
              <a:gd name="T2" fmla="*/ 0 60000 65536"/>
              <a:gd name="T3" fmla="*/ 0 60000 65536"/>
            </a:gdLst>
            <a:ahLst/>
            <a:cxnLst>
              <a:cxn ang="T2">
                <a:pos x="T0" y="0"/>
              </a:cxn>
              <a:cxn ang="T3">
                <a:pos x="T1" y="0"/>
              </a:cxn>
            </a:cxnLst>
            <a:rect l="0" t="0" r="r" b="b"/>
            <a:pathLst>
              <a:path w="296379">
                <a:moveTo>
                  <a:pt x="0" y="0"/>
                </a:moveTo>
                <a:lnTo>
                  <a:pt x="296379"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bject 123">
            <a:extLst>
              <a:ext uri="{FF2B5EF4-FFF2-40B4-BE49-F238E27FC236}">
                <a16:creationId xmlns:a16="http://schemas.microsoft.com/office/drawing/2014/main" id="{CD95CAD1-DC86-4462-93AA-D44A21B54888}"/>
              </a:ext>
            </a:extLst>
          </p:cNvPr>
          <p:cNvSpPr>
            <a:spLocks noGrp="1"/>
          </p:cNvSpPr>
          <p:nvPr>
            <p:ph type="ftr" sz="quarter" idx="10"/>
          </p:nvPr>
        </p:nvSpPr>
        <p:spPr/>
        <p:txBody>
          <a:bodyPr vert="horz"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e</a:t>
            </a:r>
            <a:r>
              <a:rPr kumimoji="0" sz="899" b="0" i="0" u="none" strike="noStrike" kern="1200" cap="none" spc="9"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12" normalizeH="0" baseline="0" noProof="0">
                <a:ln>
                  <a:noFill/>
                </a:ln>
                <a:solidFill>
                  <a:prstClr val="black">
                    <a:tint val="75000"/>
                  </a:prstClr>
                </a:solidFill>
                <a:effectLst/>
                <a:uLnTx/>
                <a:uFillTx/>
                <a:latin typeface="Calibri" panose="020F0502020204030204"/>
                <a:ea typeface="+mn-ea"/>
                <a:cs typeface="+mn-cs"/>
              </a:rPr>
              <a:t>t</a:t>
            </a:r>
            <a:r>
              <a:rPr kumimoji="0" sz="899" b="0" i="0" u="none" strike="noStrike" kern="1200" cap="none" spc="-6" normalizeH="0" baseline="0" noProof="0">
                <a:ln>
                  <a:noFill/>
                </a:ln>
                <a:solidFill>
                  <a:prstClr val="black">
                    <a:tint val="75000"/>
                  </a:prstClr>
                </a:solidFill>
                <a:effectLst/>
                <a:uLnTx/>
                <a:uFillTx/>
                <a:latin typeface="Calibri" panose="020F0502020204030204"/>
                <a:ea typeface="+mn-ea"/>
                <a:cs typeface="+mn-cs"/>
              </a:rPr>
              <a:t>i</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n</a:t>
            </a:r>
            <a:r>
              <a:rPr kumimoji="0" sz="899" b="0" i="0" u="none" strike="noStrike" kern="1200" cap="none" spc="3" normalizeH="0" baseline="0" noProof="0">
                <a:ln>
                  <a:noFill/>
                </a:ln>
                <a:solidFill>
                  <a:prstClr val="black">
                    <a:tint val="75000"/>
                  </a:prstClr>
                </a:solidFill>
                <a:effectLst/>
                <a:uLnTx/>
                <a:uFillTx/>
                <a:latin typeface="Calibri" panose="020F0502020204030204"/>
                <a:ea typeface="+mn-ea"/>
                <a:cs typeface="+mn-cs"/>
              </a:rPr>
              <a:t> </a:t>
            </a:r>
            <a:r>
              <a:rPr kumimoji="0" sz="899" b="0" i="0" u="none" strike="noStrike" kern="1200" cap="none" spc="17"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
            </a:r>
            <a:endParaRPr kumimoji="0" sz="8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F567623-A5B9-4FC3-88D4-144465A9CB8C}"/>
              </a:ext>
            </a:extLst>
          </p:cNvPr>
          <p:cNvSpPr txBox="1"/>
          <p:nvPr/>
        </p:nvSpPr>
        <p:spPr>
          <a:xfrm>
            <a:off x="960957" y="3032163"/>
            <a:ext cx="1593476" cy="323165"/>
          </a:xfrm>
          <a:prstGeom prst="rect">
            <a:avLst/>
          </a:prstGeom>
          <a:noFill/>
        </p:spPr>
        <p:txBody>
          <a:bodyPr wrap="square" rtlCol="0">
            <a:spAutoFit/>
          </a:bodyPr>
          <a:lstStyle/>
          <a:p>
            <a:pPr algn="ctr"/>
            <a:r>
              <a:rPr lang="en-US" sz="1500" b="1" dirty="0" err="1">
                <a:solidFill>
                  <a:srgbClr val="FA0007"/>
                </a:solidFill>
              </a:rPr>
              <a:t>ပုံမှန</a:t>
            </a:r>
            <a:r>
              <a:rPr lang="en-US" sz="1500" b="1" dirty="0">
                <a:solidFill>
                  <a:srgbClr val="FA0007"/>
                </a:solidFill>
              </a:rPr>
              <a:t>် </a:t>
            </a:r>
            <a:r>
              <a:rPr lang="en-US" sz="1500" b="1" dirty="0" err="1">
                <a:solidFill>
                  <a:srgbClr val="FA0007"/>
                </a:solidFill>
              </a:rPr>
              <a:t>စိတ်ဖိစီးမှု</a:t>
            </a:r>
            <a:endParaRPr lang="en-US" sz="1500" b="1" dirty="0">
              <a:solidFill>
                <a:srgbClr val="FA0007"/>
              </a:solidFill>
            </a:endParaRPr>
          </a:p>
        </p:txBody>
      </p:sp>
      <p:sp>
        <p:nvSpPr>
          <p:cNvPr id="125" name="TextBox 124">
            <a:extLst>
              <a:ext uri="{FF2B5EF4-FFF2-40B4-BE49-F238E27FC236}">
                <a16:creationId xmlns:a16="http://schemas.microsoft.com/office/drawing/2014/main" id="{CF77D5EC-704A-43E8-81F1-96E944B13E36}"/>
              </a:ext>
            </a:extLst>
          </p:cNvPr>
          <p:cNvSpPr txBox="1"/>
          <p:nvPr/>
        </p:nvSpPr>
        <p:spPr>
          <a:xfrm>
            <a:off x="2740144" y="3032163"/>
            <a:ext cx="1729169" cy="323165"/>
          </a:xfrm>
          <a:prstGeom prst="rect">
            <a:avLst/>
          </a:prstGeom>
          <a:noFill/>
        </p:spPr>
        <p:txBody>
          <a:bodyPr wrap="square" rtlCol="0">
            <a:spAutoFit/>
          </a:bodyPr>
          <a:lstStyle/>
          <a:p>
            <a:pPr algn="ctr"/>
            <a:r>
              <a:rPr lang="en-US" sz="1500" b="1" dirty="0" err="1">
                <a:solidFill>
                  <a:srgbClr val="FA0007"/>
                </a:solidFill>
              </a:rPr>
              <a:t>စိတ်ဖိစီးမှု</a:t>
            </a:r>
            <a:r>
              <a:rPr lang="en-US" sz="1500" b="1" dirty="0">
                <a:solidFill>
                  <a:srgbClr val="FA0007"/>
                </a:solidFill>
              </a:rPr>
              <a:t> </a:t>
            </a:r>
            <a:r>
              <a:rPr lang="en-US" sz="1500" b="1" dirty="0" err="1">
                <a:solidFill>
                  <a:srgbClr val="FA0007"/>
                </a:solidFill>
              </a:rPr>
              <a:t>စုပြုံခြင်း</a:t>
            </a:r>
            <a:endParaRPr lang="en-US" sz="1500" b="1" dirty="0">
              <a:solidFill>
                <a:srgbClr val="FA0007"/>
              </a:solidFill>
            </a:endParaRPr>
          </a:p>
        </p:txBody>
      </p:sp>
      <p:sp>
        <p:nvSpPr>
          <p:cNvPr id="126" name="TextBox 125">
            <a:extLst>
              <a:ext uri="{FF2B5EF4-FFF2-40B4-BE49-F238E27FC236}">
                <a16:creationId xmlns:a16="http://schemas.microsoft.com/office/drawing/2014/main" id="{E56336F0-B2F9-4ADF-B1AF-D4D3FC0C761F}"/>
              </a:ext>
            </a:extLst>
          </p:cNvPr>
          <p:cNvSpPr txBox="1"/>
          <p:nvPr/>
        </p:nvSpPr>
        <p:spPr>
          <a:xfrm>
            <a:off x="4656350" y="2888921"/>
            <a:ext cx="1729169" cy="711733"/>
          </a:xfrm>
          <a:prstGeom prst="rect">
            <a:avLst/>
          </a:prstGeom>
          <a:noFill/>
        </p:spPr>
        <p:txBody>
          <a:bodyPr wrap="square" rtlCol="0">
            <a:spAutoFit/>
          </a:bodyPr>
          <a:lstStyle/>
          <a:p>
            <a:pPr algn="ctr">
              <a:lnSpc>
                <a:spcPct val="150000"/>
              </a:lnSpc>
            </a:pPr>
            <a:r>
              <a:rPr lang="en-US" sz="1400" b="1" dirty="0" err="1">
                <a:solidFill>
                  <a:srgbClr val="FA0007"/>
                </a:solidFill>
              </a:rPr>
              <a:t>စိတ်နှလုံး</a:t>
            </a:r>
            <a:r>
              <a:rPr lang="en-US" sz="1400" b="1" dirty="0">
                <a:solidFill>
                  <a:srgbClr val="FA0007"/>
                </a:solidFill>
              </a:rPr>
              <a:t> ချွ</a:t>
            </a:r>
            <a:r>
              <a:rPr lang="en-US" sz="1400" b="1" dirty="0" err="1">
                <a:solidFill>
                  <a:srgbClr val="FA0007"/>
                </a:solidFill>
              </a:rPr>
              <a:t>တ်ခြုံကျခြင်း</a:t>
            </a:r>
            <a:endParaRPr lang="en-US" sz="1400" b="1" dirty="0">
              <a:solidFill>
                <a:srgbClr val="FA0007"/>
              </a:solidFill>
            </a:endParaRPr>
          </a:p>
        </p:txBody>
      </p:sp>
      <p:sp>
        <p:nvSpPr>
          <p:cNvPr id="127" name="TextBox 126">
            <a:extLst>
              <a:ext uri="{FF2B5EF4-FFF2-40B4-BE49-F238E27FC236}">
                <a16:creationId xmlns:a16="http://schemas.microsoft.com/office/drawing/2014/main" id="{FBE0A3D5-14AC-4006-914C-14B5C90B318F}"/>
              </a:ext>
            </a:extLst>
          </p:cNvPr>
          <p:cNvSpPr txBox="1"/>
          <p:nvPr/>
        </p:nvSpPr>
        <p:spPr>
          <a:xfrm>
            <a:off x="6398356" y="3068615"/>
            <a:ext cx="1593476" cy="323165"/>
          </a:xfrm>
          <a:prstGeom prst="rect">
            <a:avLst/>
          </a:prstGeom>
          <a:noFill/>
        </p:spPr>
        <p:txBody>
          <a:bodyPr wrap="square" rtlCol="0">
            <a:spAutoFit/>
          </a:bodyPr>
          <a:lstStyle/>
          <a:p>
            <a:pPr algn="ctr"/>
            <a:r>
              <a:rPr lang="en-US" sz="1500" b="1" dirty="0" err="1">
                <a:solidFill>
                  <a:srgbClr val="FA0007"/>
                </a:solidFill>
              </a:rPr>
              <a:t>စိတ်ဒဏ်ရာ</a:t>
            </a:r>
            <a:endParaRPr lang="en-US" sz="1500" b="1" dirty="0">
              <a:solidFill>
                <a:srgbClr val="FA0007"/>
              </a:solidFil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object 2">
            <a:extLst>
              <a:ext uri="{FF2B5EF4-FFF2-40B4-BE49-F238E27FC236}">
                <a16:creationId xmlns:a16="http://schemas.microsoft.com/office/drawing/2014/main" id="{1D15020B-47EF-47F1-8F7D-C421280B645A}"/>
              </a:ext>
            </a:extLst>
          </p:cNvPr>
          <p:cNvSpPr>
            <a:spLocks/>
          </p:cNvSpPr>
          <p:nvPr/>
        </p:nvSpPr>
        <p:spPr bwMode="auto">
          <a:xfrm>
            <a:off x="2445" y="5795377"/>
            <a:ext cx="9140027" cy="118273"/>
          </a:xfrm>
          <a:custGeom>
            <a:avLst/>
            <a:gdLst>
              <a:gd name="T0" fmla="*/ 0 w 15825596"/>
              <a:gd name="T1" fmla="*/ 0 h 204177"/>
              <a:gd name="T2" fmla="*/ 0 w 15825596"/>
              <a:gd name="T3" fmla="*/ 206628 h 204177"/>
              <a:gd name="T4" fmla="*/ 15826364 w 15825596"/>
              <a:gd name="T5" fmla="*/ 206628 h 204177"/>
              <a:gd name="T6" fmla="*/ 15826364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19" name="object 3">
            <a:extLst>
              <a:ext uri="{FF2B5EF4-FFF2-40B4-BE49-F238E27FC236}">
                <a16:creationId xmlns:a16="http://schemas.microsoft.com/office/drawing/2014/main" id="{4BF6C516-8FBA-42DC-B0A7-0EB3C501C9E9}"/>
              </a:ext>
            </a:extLst>
          </p:cNvPr>
          <p:cNvSpPr>
            <a:spLocks/>
          </p:cNvSpPr>
          <p:nvPr/>
        </p:nvSpPr>
        <p:spPr bwMode="auto">
          <a:xfrm>
            <a:off x="2445" y="5603756"/>
            <a:ext cx="1435779"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0" name="object 4">
            <a:extLst>
              <a:ext uri="{FF2B5EF4-FFF2-40B4-BE49-F238E27FC236}">
                <a16:creationId xmlns:a16="http://schemas.microsoft.com/office/drawing/2014/main" id="{E6CAAD54-9321-4E6E-82FC-2E9839C1335F}"/>
              </a:ext>
            </a:extLst>
          </p:cNvPr>
          <p:cNvSpPr>
            <a:spLocks/>
          </p:cNvSpPr>
          <p:nvPr/>
        </p:nvSpPr>
        <p:spPr bwMode="auto">
          <a:xfrm>
            <a:off x="2445" y="0"/>
            <a:ext cx="9140027"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1" name="object 5">
            <a:extLst>
              <a:ext uri="{FF2B5EF4-FFF2-40B4-BE49-F238E27FC236}">
                <a16:creationId xmlns:a16="http://schemas.microsoft.com/office/drawing/2014/main" id="{76B6E742-8675-46A0-8744-580E79432681}"/>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2" name="object 6">
            <a:extLst>
              <a:ext uri="{FF2B5EF4-FFF2-40B4-BE49-F238E27FC236}">
                <a16:creationId xmlns:a16="http://schemas.microsoft.com/office/drawing/2014/main" id="{5E7E77A6-5575-4F65-9A00-D7ADA31A213A}"/>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rPr>
              <a:t>11</a:t>
            </a:r>
            <a:endParaRPr lang="en-US" altLang="en-US" dirty="0"/>
          </a:p>
        </p:txBody>
      </p:sp>
      <p:sp>
        <p:nvSpPr>
          <p:cNvPr id="9223" name="object 7">
            <a:extLst>
              <a:ext uri="{FF2B5EF4-FFF2-40B4-BE49-F238E27FC236}">
                <a16:creationId xmlns:a16="http://schemas.microsoft.com/office/drawing/2014/main" id="{89DB5051-3638-451D-9886-73866C8D24DF}"/>
              </a:ext>
            </a:extLst>
          </p:cNvPr>
          <p:cNvSpPr>
            <a:spLocks/>
          </p:cNvSpPr>
          <p:nvPr/>
        </p:nvSpPr>
        <p:spPr bwMode="auto">
          <a:xfrm>
            <a:off x="7137332" y="6343651"/>
            <a:ext cx="116440" cy="163198"/>
          </a:xfrm>
          <a:custGeom>
            <a:avLst/>
            <a:gdLst>
              <a:gd name="T0" fmla="*/ 5648 w 201527"/>
              <a:gd name="T1" fmla="*/ 197396 h 282176"/>
              <a:gd name="T2" fmla="*/ 8693 w 201527"/>
              <a:gd name="T3" fmla="*/ 258588 h 282176"/>
              <a:gd name="T4" fmla="*/ 49795 w 201527"/>
              <a:gd name="T5" fmla="*/ 276284 h 282176"/>
              <a:gd name="T6" fmla="*/ 90641 w 201527"/>
              <a:gd name="T7" fmla="*/ 283254 h 282176"/>
              <a:gd name="T8" fmla="*/ 107915 w 201527"/>
              <a:gd name="T9" fmla="*/ 283776 h 282176"/>
              <a:gd name="T10" fmla="*/ 123819 w 201527"/>
              <a:gd name="T11" fmla="*/ 282773 h 282176"/>
              <a:gd name="T12" fmla="*/ 165303 w 201527"/>
              <a:gd name="T13" fmla="*/ 270779 h 282176"/>
              <a:gd name="T14" fmla="*/ 194918 w 201527"/>
              <a:gd name="T15" fmla="*/ 245114 h 282176"/>
              <a:gd name="T16" fmla="*/ 201871 w 201527"/>
              <a:gd name="T17" fmla="*/ 232711 h 282176"/>
              <a:gd name="T18" fmla="*/ 89537 w 201527"/>
              <a:gd name="T19" fmla="*/ 232711 h 282176"/>
              <a:gd name="T20" fmla="*/ 78595 w 201527"/>
              <a:gd name="T21" fmla="*/ 231352 h 282176"/>
              <a:gd name="T22" fmla="*/ 33082 w 201527"/>
              <a:gd name="T23" fmla="*/ 214251 h 282176"/>
              <a:gd name="T24" fmla="*/ 19974 w 201527"/>
              <a:gd name="T25" fmla="*/ 206592 h 282176"/>
              <a:gd name="T26" fmla="*/ 5648 w 201527"/>
              <a:gd name="T27" fmla="*/ 197396 h 282176"/>
              <a:gd name="T28" fmla="*/ 97562 w 201527"/>
              <a:gd name="T29" fmla="*/ 0 h 282176"/>
              <a:gd name="T30" fmla="*/ 50219 w 201527"/>
              <a:gd name="T31" fmla="*/ 9555 h 282176"/>
              <a:gd name="T32" fmla="*/ 17183 w 201527"/>
              <a:gd name="T33" fmla="*/ 32599 h 282176"/>
              <a:gd name="T34" fmla="*/ 0 w 201527"/>
              <a:gd name="T35" fmla="*/ 80848 h 282176"/>
              <a:gd name="T36" fmla="*/ 1617 w 201527"/>
              <a:gd name="T37" fmla="*/ 96947 h 282176"/>
              <a:gd name="T38" fmla="*/ 20203 w 201527"/>
              <a:gd name="T39" fmla="*/ 133251 h 282176"/>
              <a:gd name="T40" fmla="*/ 52296 w 201527"/>
              <a:gd name="T41" fmla="*/ 156189 h 282176"/>
              <a:gd name="T42" fmla="*/ 100339 w 201527"/>
              <a:gd name="T43" fmla="*/ 176253 h 282176"/>
              <a:gd name="T44" fmla="*/ 111031 w 201527"/>
              <a:gd name="T45" fmla="*/ 180857 h 282176"/>
              <a:gd name="T46" fmla="*/ 139718 w 201527"/>
              <a:gd name="T47" fmla="*/ 212422 h 282176"/>
              <a:gd name="T48" fmla="*/ 135314 w 201527"/>
              <a:gd name="T49" fmla="*/ 221204 h 282176"/>
              <a:gd name="T50" fmla="*/ 125851 w 201527"/>
              <a:gd name="T51" fmla="*/ 227641 h 282176"/>
              <a:gd name="T52" fmla="*/ 110775 w 201527"/>
              <a:gd name="T53" fmla="*/ 231540 h 282176"/>
              <a:gd name="T54" fmla="*/ 89537 w 201527"/>
              <a:gd name="T55" fmla="*/ 232711 h 282176"/>
              <a:gd name="T56" fmla="*/ 201871 w 201527"/>
              <a:gd name="T57" fmla="*/ 232711 h 282176"/>
              <a:gd name="T58" fmla="*/ 206455 w 201527"/>
              <a:gd name="T59" fmla="*/ 220289 h 282176"/>
              <a:gd name="T60" fmla="*/ 209399 w 201527"/>
              <a:gd name="T61" fmla="*/ 205534 h 282176"/>
              <a:gd name="T62" fmla="*/ 210302 w 201527"/>
              <a:gd name="T63" fmla="*/ 189207 h 282176"/>
              <a:gd name="T64" fmla="*/ 207096 w 201527"/>
              <a:gd name="T65" fmla="*/ 174315 h 282176"/>
              <a:gd name="T66" fmla="*/ 184337 w 201527"/>
              <a:gd name="T67" fmla="*/ 140678 h 282176"/>
              <a:gd name="T68" fmla="*/ 149564 w 201527"/>
              <a:gd name="T69" fmla="*/ 118964 h 282176"/>
              <a:gd name="T70" fmla="*/ 112708 w 201527"/>
              <a:gd name="T71" fmla="*/ 103216 h 282176"/>
              <a:gd name="T72" fmla="*/ 101675 w 201527"/>
              <a:gd name="T73" fmla="*/ 98262 h 282176"/>
              <a:gd name="T74" fmla="*/ 72455 w 201527"/>
              <a:gd name="T75" fmla="*/ 65783 h 282176"/>
              <a:gd name="T76" fmla="*/ 80290 w 201527"/>
              <a:gd name="T77" fmla="*/ 57638 h 282176"/>
              <a:gd name="T78" fmla="*/ 93812 w 201527"/>
              <a:gd name="T79" fmla="*/ 52409 h 282176"/>
              <a:gd name="T80" fmla="*/ 112366 w 201527"/>
              <a:gd name="T81" fmla="*/ 50562 h 282176"/>
              <a:gd name="T82" fmla="*/ 197768 w 201527"/>
              <a:gd name="T83" fmla="*/ 50562 h 282176"/>
              <a:gd name="T84" fmla="*/ 197043 w 201527"/>
              <a:gd name="T85" fmla="*/ 20775 h 282176"/>
              <a:gd name="T86" fmla="*/ 160505 w 201527"/>
              <a:gd name="T87" fmla="*/ 7747 h 282176"/>
              <a:gd name="T88" fmla="*/ 111256 w 201527"/>
              <a:gd name="T89" fmla="*/ 250 h 282176"/>
              <a:gd name="T90" fmla="*/ 97562 w 201527"/>
              <a:gd name="T91" fmla="*/ 0 h 282176"/>
              <a:gd name="T92" fmla="*/ 197768 w 201527"/>
              <a:gd name="T93" fmla="*/ 50562 h 282176"/>
              <a:gd name="T94" fmla="*/ 112366 w 201527"/>
              <a:gd name="T95" fmla="*/ 50562 h 282176"/>
              <a:gd name="T96" fmla="*/ 122319 w 201527"/>
              <a:gd name="T97" fmla="*/ 51090 h 282176"/>
              <a:gd name="T98" fmla="*/ 132618 w 201527"/>
              <a:gd name="T99" fmla="*/ 52508 h 282176"/>
              <a:gd name="T100" fmla="*/ 182449 w 201527"/>
              <a:gd name="T101" fmla="*/ 68421 h 282176"/>
              <a:gd name="T102" fmla="*/ 198373 w 201527"/>
              <a:gd name="T103" fmla="*/ 75295 h 282176"/>
              <a:gd name="T104" fmla="*/ 197768 w 201527"/>
              <a:gd name="T105" fmla="*/ 50562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4" name="object 8">
            <a:extLst>
              <a:ext uri="{FF2B5EF4-FFF2-40B4-BE49-F238E27FC236}">
                <a16:creationId xmlns:a16="http://schemas.microsoft.com/office/drawing/2014/main" id="{A7547B6A-9267-4F9E-A599-DF27A3982E13}"/>
              </a:ext>
            </a:extLst>
          </p:cNvPr>
          <p:cNvSpPr>
            <a:spLocks/>
          </p:cNvSpPr>
          <p:nvPr/>
        </p:nvSpPr>
        <p:spPr bwMode="auto">
          <a:xfrm>
            <a:off x="7271192" y="6394994"/>
            <a:ext cx="115522" cy="111855"/>
          </a:xfrm>
          <a:custGeom>
            <a:avLst/>
            <a:gdLst>
              <a:gd name="T0" fmla="*/ 66160 w 200263"/>
              <a:gd name="T1" fmla="*/ 40331 h 192883"/>
              <a:gd name="T2" fmla="*/ 100019 w 200263"/>
              <a:gd name="T3" fmla="*/ 47269 h 192883"/>
              <a:gd name="T4" fmla="*/ 109478 w 200263"/>
              <a:gd name="T5" fmla="*/ 66314 h 192883"/>
              <a:gd name="T6" fmla="*/ 55182 w 200263"/>
              <a:gd name="T7" fmla="*/ 87170 h 192883"/>
              <a:gd name="T8" fmla="*/ 0 w 200263"/>
              <a:gd name="T9" fmla="*/ 139831 h 192883"/>
              <a:gd name="T10" fmla="*/ 24481 w 200263"/>
              <a:gd name="T11" fmla="*/ 188918 h 192883"/>
              <a:gd name="T12" fmla="*/ 62717 w 200263"/>
              <a:gd name="T13" fmla="*/ 195382 h 192883"/>
              <a:gd name="T14" fmla="*/ 85960 w 200263"/>
              <a:gd name="T15" fmla="*/ 189320 h 192883"/>
              <a:gd name="T16" fmla="*/ 110677 w 200263"/>
              <a:gd name="T17" fmla="*/ 175788 h 192883"/>
              <a:gd name="T18" fmla="*/ 196534 w 200263"/>
              <a:gd name="T19" fmla="*/ 159594 h 192883"/>
              <a:gd name="T20" fmla="*/ 69436 w 200263"/>
              <a:gd name="T21" fmla="*/ 157282 h 192883"/>
              <a:gd name="T22" fmla="*/ 61088 w 200263"/>
              <a:gd name="T23" fmla="*/ 136326 h 192883"/>
              <a:gd name="T24" fmla="*/ 72924 w 200263"/>
              <a:gd name="T25" fmla="*/ 118182 h 192883"/>
              <a:gd name="T26" fmla="*/ 98623 w 200263"/>
              <a:gd name="T27" fmla="*/ 105016 h 192883"/>
              <a:gd name="T28" fmla="*/ 167599 w 200263"/>
              <a:gd name="T29" fmla="*/ 57070 h 192883"/>
              <a:gd name="T30" fmla="*/ 165355 w 200263"/>
              <a:gd name="T31" fmla="*/ 40331 h 192883"/>
              <a:gd name="T32" fmla="*/ 110677 w 200263"/>
              <a:gd name="T33" fmla="*/ 175788 h 192883"/>
              <a:gd name="T34" fmla="*/ 127568 w 200263"/>
              <a:gd name="T35" fmla="*/ 193613 h 192883"/>
              <a:gd name="T36" fmla="*/ 154552 w 200263"/>
              <a:gd name="T37" fmla="*/ 195097 h 192883"/>
              <a:gd name="T38" fmla="*/ 179900 w 200263"/>
              <a:gd name="T39" fmla="*/ 188278 h 192883"/>
              <a:gd name="T40" fmla="*/ 193312 w 200263"/>
              <a:gd name="T41" fmla="*/ 175788 h 192883"/>
              <a:gd name="T42" fmla="*/ 98623 w 200263"/>
              <a:gd name="T43" fmla="*/ 105016 h 192883"/>
              <a:gd name="T44" fmla="*/ 98317 w 200263"/>
              <a:gd name="T45" fmla="*/ 154694 h 192883"/>
              <a:gd name="T46" fmla="*/ 196534 w 200263"/>
              <a:gd name="T47" fmla="*/ 159594 h 192883"/>
              <a:gd name="T48" fmla="*/ 171215 w 200263"/>
              <a:gd name="T49" fmla="*/ 156296 h 192883"/>
              <a:gd name="T50" fmla="*/ 167599 w 200263"/>
              <a:gd name="T51" fmla="*/ 105016 h 192883"/>
              <a:gd name="T52" fmla="*/ 185662 w 200263"/>
              <a:gd name="T53" fmla="*/ 155470 h 192883"/>
              <a:gd name="T54" fmla="*/ 197191 w 200263"/>
              <a:gd name="T55" fmla="*/ 156296 h 192883"/>
              <a:gd name="T56" fmla="*/ 100441 w 200263"/>
              <a:gd name="T57" fmla="*/ 0 h 192883"/>
              <a:gd name="T58" fmla="*/ 13463 w 200263"/>
              <a:gd name="T59" fmla="*/ 19943 h 192883"/>
              <a:gd name="T60" fmla="*/ 19011 w 200263"/>
              <a:gd name="T61" fmla="*/ 61883 h 192883"/>
              <a:gd name="T62" fmla="*/ 41787 w 200263"/>
              <a:gd name="T63" fmla="*/ 47806 h 192883"/>
              <a:gd name="T64" fmla="*/ 66160 w 200263"/>
              <a:gd name="T65" fmla="*/ 40331 h 192883"/>
              <a:gd name="T66" fmla="*/ 161356 w 200263"/>
              <a:gd name="T67" fmla="*/ 29561 h 192883"/>
              <a:gd name="T68" fmla="*/ 143844 w 200263"/>
              <a:gd name="T69" fmla="*/ 11526 h 192883"/>
              <a:gd name="T70" fmla="*/ 116889 w 200263"/>
              <a:gd name="T71" fmla="*/ 1941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5" name="object 9">
            <a:extLst>
              <a:ext uri="{FF2B5EF4-FFF2-40B4-BE49-F238E27FC236}">
                <a16:creationId xmlns:a16="http://schemas.microsoft.com/office/drawing/2014/main" id="{10138B32-00BB-4D72-833E-B363041962E9}"/>
              </a:ext>
            </a:extLst>
          </p:cNvPr>
          <p:cNvSpPr>
            <a:spLocks/>
          </p:cNvSpPr>
          <p:nvPr/>
        </p:nvSpPr>
        <p:spPr bwMode="auto">
          <a:xfrm>
            <a:off x="7382130" y="6396827"/>
            <a:ext cx="118273" cy="110021"/>
          </a:xfrm>
          <a:custGeom>
            <a:avLst/>
            <a:gdLst>
              <a:gd name="T0" fmla="*/ 63382 w 204089"/>
              <a:gd name="T1" fmla="*/ 0 h 189572"/>
              <a:gd name="T2" fmla="*/ 0 w 204089"/>
              <a:gd name="T3" fmla="*/ 0 h 189572"/>
              <a:gd name="T4" fmla="*/ 87097 w 204089"/>
              <a:gd name="T5" fmla="*/ 193312 h 189572"/>
              <a:gd name="T6" fmla="*/ 120210 w 204089"/>
              <a:gd name="T7" fmla="*/ 193312 h 189572"/>
              <a:gd name="T8" fmla="*/ 160049 w 204089"/>
              <a:gd name="T9" fmla="*/ 104471 h 189572"/>
              <a:gd name="T10" fmla="*/ 103447 w 204089"/>
              <a:gd name="T11" fmla="*/ 104471 h 189572"/>
              <a:gd name="T12" fmla="*/ 63382 w 204089"/>
              <a:gd name="T13" fmla="*/ 0 h 189572"/>
              <a:gd name="T14" fmla="*/ 206895 w 204089"/>
              <a:gd name="T15" fmla="*/ 0 h 189572"/>
              <a:gd name="T16" fmla="*/ 143939 w 204089"/>
              <a:gd name="T17" fmla="*/ 0 h 189572"/>
              <a:gd name="T18" fmla="*/ 103447 w 204089"/>
              <a:gd name="T19" fmla="*/ 104471 h 189572"/>
              <a:gd name="T20" fmla="*/ 160049 w 204089"/>
              <a:gd name="T21" fmla="*/ 104471 h 189572"/>
              <a:gd name="T22" fmla="*/ 206895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6" name="object 10">
            <a:extLst>
              <a:ext uri="{FF2B5EF4-FFF2-40B4-BE49-F238E27FC236}">
                <a16:creationId xmlns:a16="http://schemas.microsoft.com/office/drawing/2014/main" id="{3F860FEB-E4D6-4EB7-861C-54BC6A8DB79A}"/>
              </a:ext>
            </a:extLst>
          </p:cNvPr>
          <p:cNvSpPr>
            <a:spLocks/>
          </p:cNvSpPr>
          <p:nvPr/>
        </p:nvSpPr>
        <p:spPr bwMode="auto">
          <a:xfrm>
            <a:off x="7504988" y="6394994"/>
            <a:ext cx="111855" cy="111855"/>
          </a:xfrm>
          <a:custGeom>
            <a:avLst/>
            <a:gdLst>
              <a:gd name="T0" fmla="*/ 105323 w 193899"/>
              <a:gd name="T1" fmla="*/ 0 h 192654"/>
              <a:gd name="T2" fmla="*/ 59216 w 193899"/>
              <a:gd name="T3" fmla="*/ 8036 h 192654"/>
              <a:gd name="T4" fmla="*/ 25147 w 193899"/>
              <a:gd name="T5" fmla="*/ 30773 h 192654"/>
              <a:gd name="T6" fmla="*/ 4911 w 193899"/>
              <a:gd name="T7" fmla="*/ 65473 h 192654"/>
              <a:gd name="T8" fmla="*/ 0 w 193899"/>
              <a:gd name="T9" fmla="*/ 93900 h 192654"/>
              <a:gd name="T10" fmla="*/ 897 w 193899"/>
              <a:gd name="T11" fmla="*/ 109938 h 192654"/>
              <a:gd name="T12" fmla="*/ 14099 w 193899"/>
              <a:gd name="T13" fmla="*/ 150716 h 192654"/>
              <a:gd name="T14" fmla="*/ 41508 w 193899"/>
              <a:gd name="T15" fmla="*/ 179451 h 192654"/>
              <a:gd name="T16" fmla="*/ 81131 w 193899"/>
              <a:gd name="T17" fmla="*/ 194801 h 192654"/>
              <a:gd name="T18" fmla="*/ 106981 w 193899"/>
              <a:gd name="T19" fmla="*/ 196770 h 192654"/>
              <a:gd name="T20" fmla="*/ 118137 w 193899"/>
              <a:gd name="T21" fmla="*/ 196460 h 192654"/>
              <a:gd name="T22" fmla="*/ 168425 w 193899"/>
              <a:gd name="T23" fmla="*/ 184789 h 192654"/>
              <a:gd name="T24" fmla="*/ 184734 w 193899"/>
              <a:gd name="T25" fmla="*/ 161176 h 192654"/>
              <a:gd name="T26" fmla="*/ 130737 w 193899"/>
              <a:gd name="T27" fmla="*/ 161176 h 192654"/>
              <a:gd name="T28" fmla="*/ 112327 w 193899"/>
              <a:gd name="T29" fmla="*/ 160133 h 192654"/>
              <a:gd name="T30" fmla="*/ 74066 w 193899"/>
              <a:gd name="T31" fmla="*/ 143115 h 192654"/>
              <a:gd name="T32" fmla="*/ 60116 w 193899"/>
              <a:gd name="T33" fmla="*/ 108068 h 192654"/>
              <a:gd name="T34" fmla="*/ 193005 w 193899"/>
              <a:gd name="T35" fmla="*/ 108068 h 192654"/>
              <a:gd name="T36" fmla="*/ 192698 w 193899"/>
              <a:gd name="T37" fmla="*/ 90798 h 192654"/>
              <a:gd name="T38" fmla="*/ 190679 w 193899"/>
              <a:gd name="T39" fmla="*/ 76753 h 192654"/>
              <a:gd name="T40" fmla="*/ 61319 w 193899"/>
              <a:gd name="T41" fmla="*/ 76753 h 192654"/>
              <a:gd name="T42" fmla="*/ 64705 w 193899"/>
              <a:gd name="T43" fmla="*/ 60917 h 192654"/>
              <a:gd name="T44" fmla="*/ 71464 w 193899"/>
              <a:gd name="T45" fmla="*/ 48620 h 192654"/>
              <a:gd name="T46" fmla="*/ 81314 w 193899"/>
              <a:gd name="T47" fmla="*/ 40133 h 192654"/>
              <a:gd name="T48" fmla="*/ 93964 w 193899"/>
              <a:gd name="T49" fmla="*/ 35728 h 192654"/>
              <a:gd name="T50" fmla="*/ 101468 w 193899"/>
              <a:gd name="T51" fmla="*/ 35140 h 192654"/>
              <a:gd name="T52" fmla="*/ 172513 w 193899"/>
              <a:gd name="T53" fmla="*/ 35140 h 192654"/>
              <a:gd name="T54" fmla="*/ 164473 w 193899"/>
              <a:gd name="T55" fmla="*/ 25911 h 192654"/>
              <a:gd name="T56" fmla="*/ 154525 w 193899"/>
              <a:gd name="T57" fmla="*/ 17470 h 192654"/>
              <a:gd name="T58" fmla="*/ 143488 w 193899"/>
              <a:gd name="T59" fmla="*/ 10623 h 192654"/>
              <a:gd name="T60" fmla="*/ 131511 w 193899"/>
              <a:gd name="T61" fmla="*/ 5405 h 192654"/>
              <a:gd name="T62" fmla="*/ 118739 w 193899"/>
              <a:gd name="T63" fmla="*/ 1854 h 192654"/>
              <a:gd name="T64" fmla="*/ 105323 w 193899"/>
              <a:gd name="T65" fmla="*/ 0 h 192654"/>
              <a:gd name="T66" fmla="*/ 189806 w 193899"/>
              <a:gd name="T67" fmla="*/ 134424 h 192654"/>
              <a:gd name="T68" fmla="*/ 152978 w 193899"/>
              <a:gd name="T69" fmla="*/ 155971 h 192654"/>
              <a:gd name="T70" fmla="*/ 130737 w 193899"/>
              <a:gd name="T71" fmla="*/ 161176 h 192654"/>
              <a:gd name="T72" fmla="*/ 184734 w 193899"/>
              <a:gd name="T73" fmla="*/ 161176 h 192654"/>
              <a:gd name="T74" fmla="*/ 189806 w 193899"/>
              <a:gd name="T75" fmla="*/ 134424 h 192654"/>
              <a:gd name="T76" fmla="*/ 172513 w 193899"/>
              <a:gd name="T77" fmla="*/ 35140 h 192654"/>
              <a:gd name="T78" fmla="*/ 101468 w 193899"/>
              <a:gd name="T79" fmla="*/ 35140 h 192654"/>
              <a:gd name="T80" fmla="*/ 115288 w 193899"/>
              <a:gd name="T81" fmla="*/ 37388 h 192654"/>
              <a:gd name="T82" fmla="*/ 126611 w 193899"/>
              <a:gd name="T83" fmla="*/ 43895 h 192654"/>
              <a:gd name="T84" fmla="*/ 135073 w 193899"/>
              <a:gd name="T85" fmla="*/ 54313 h 192654"/>
              <a:gd name="T86" fmla="*/ 140304 w 193899"/>
              <a:gd name="T87" fmla="*/ 68292 h 192654"/>
              <a:gd name="T88" fmla="*/ 61319 w 193899"/>
              <a:gd name="T89" fmla="*/ 76753 h 192654"/>
              <a:gd name="T90" fmla="*/ 190679 w 193899"/>
              <a:gd name="T91" fmla="*/ 76753 h 192654"/>
              <a:gd name="T92" fmla="*/ 190415 w 193899"/>
              <a:gd name="T93" fmla="*/ 74914 h 192654"/>
              <a:gd name="T94" fmla="*/ 186302 w 193899"/>
              <a:gd name="T95" fmla="*/ 60447 h 192654"/>
              <a:gd name="T96" fmla="*/ 180510 w 193899"/>
              <a:gd name="T97" fmla="*/ 47434 h 192654"/>
              <a:gd name="T98" fmla="*/ 173183 w 193899"/>
              <a:gd name="T99" fmla="*/ 35909 h 192654"/>
              <a:gd name="T100" fmla="*/ 172513 w 193899"/>
              <a:gd name="T101" fmla="*/ 35140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7" name="object 11">
            <a:extLst>
              <a:ext uri="{FF2B5EF4-FFF2-40B4-BE49-F238E27FC236}">
                <a16:creationId xmlns:a16="http://schemas.microsoft.com/office/drawing/2014/main" id="{BF17B085-269A-47E6-9618-77D4BC5A26BF}"/>
              </a:ext>
            </a:extLst>
          </p:cNvPr>
          <p:cNvSpPr>
            <a:spLocks/>
          </p:cNvSpPr>
          <p:nvPr/>
        </p:nvSpPr>
        <p:spPr bwMode="auto">
          <a:xfrm>
            <a:off x="7682855" y="6362904"/>
            <a:ext cx="88017" cy="143945"/>
          </a:xfrm>
          <a:custGeom>
            <a:avLst/>
            <a:gdLst>
              <a:gd name="T0" fmla="*/ 84075 w 152869"/>
              <a:gd name="T1" fmla="*/ 100399 h 248003"/>
              <a:gd name="T2" fmla="*/ 26294 w 152869"/>
              <a:gd name="T3" fmla="*/ 100399 h 248003"/>
              <a:gd name="T4" fmla="*/ 26332 w 152869"/>
              <a:gd name="T5" fmla="*/ 184975 h 248003"/>
              <a:gd name="T6" fmla="*/ 39811 w 152869"/>
              <a:gd name="T7" fmla="*/ 228777 h 248003"/>
              <a:gd name="T8" fmla="*/ 72699 w 152869"/>
              <a:gd name="T9" fmla="*/ 249507 h 248003"/>
              <a:gd name="T10" fmla="*/ 101939 w 152869"/>
              <a:gd name="T11" fmla="*/ 252980 h 248003"/>
              <a:gd name="T12" fmla="*/ 113774 w 152869"/>
              <a:gd name="T13" fmla="*/ 252026 h 248003"/>
              <a:gd name="T14" fmla="*/ 125508 w 152869"/>
              <a:gd name="T15" fmla="*/ 249829 h 248003"/>
              <a:gd name="T16" fmla="*/ 137725 w 152869"/>
              <a:gd name="T17" fmla="*/ 246235 h 248003"/>
              <a:gd name="T18" fmla="*/ 151001 w 152869"/>
              <a:gd name="T19" fmla="*/ 241103 h 248003"/>
              <a:gd name="T20" fmla="*/ 145656 w 152869"/>
              <a:gd name="T21" fmla="*/ 208794 h 248003"/>
              <a:gd name="T22" fmla="*/ 108262 w 152869"/>
              <a:gd name="T23" fmla="*/ 208794 h 248003"/>
              <a:gd name="T24" fmla="*/ 95145 w 152869"/>
              <a:gd name="T25" fmla="*/ 203994 h 248003"/>
              <a:gd name="T26" fmla="*/ 86923 w 152869"/>
              <a:gd name="T27" fmla="*/ 193608 h 248003"/>
              <a:gd name="T28" fmla="*/ 84075 w 152869"/>
              <a:gd name="T29" fmla="*/ 178569 h 248003"/>
              <a:gd name="T30" fmla="*/ 84075 w 152869"/>
              <a:gd name="T31" fmla="*/ 100399 h 248003"/>
              <a:gd name="T32" fmla="*/ 144399 w 152869"/>
              <a:gd name="T33" fmla="*/ 201200 h 248003"/>
              <a:gd name="T34" fmla="*/ 132589 w 152869"/>
              <a:gd name="T35" fmla="*/ 205750 h 248003"/>
              <a:gd name="T36" fmla="*/ 120968 w 152869"/>
              <a:gd name="T37" fmla="*/ 208178 h 248003"/>
              <a:gd name="T38" fmla="*/ 108262 w 152869"/>
              <a:gd name="T39" fmla="*/ 208794 h 248003"/>
              <a:gd name="T40" fmla="*/ 145656 w 152869"/>
              <a:gd name="T41" fmla="*/ 208794 h 248003"/>
              <a:gd name="T42" fmla="*/ 144399 w 152869"/>
              <a:gd name="T43" fmla="*/ 201200 h 248003"/>
              <a:gd name="T44" fmla="*/ 84075 w 152869"/>
              <a:gd name="T45" fmla="*/ 0 h 248003"/>
              <a:gd name="T46" fmla="*/ 76887 w 152869"/>
              <a:gd name="T47" fmla="*/ 0 h 248003"/>
              <a:gd name="T48" fmla="*/ 0 w 152869"/>
              <a:gd name="T49" fmla="*/ 88882 h 248003"/>
              <a:gd name="T50" fmla="*/ 0 w 152869"/>
              <a:gd name="T51" fmla="*/ 100399 h 248003"/>
              <a:gd name="T52" fmla="*/ 151001 w 152869"/>
              <a:gd name="T53" fmla="*/ 100399 h 248003"/>
              <a:gd name="T54" fmla="*/ 151001 w 152869"/>
              <a:gd name="T55" fmla="*/ 59670 h 248003"/>
              <a:gd name="T56" fmla="*/ 84075 w 152869"/>
              <a:gd name="T57" fmla="*/ 59670 h 248003"/>
              <a:gd name="T58" fmla="*/ 84075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8" name="object 12">
            <a:extLst>
              <a:ext uri="{FF2B5EF4-FFF2-40B4-BE49-F238E27FC236}">
                <a16:creationId xmlns:a16="http://schemas.microsoft.com/office/drawing/2014/main" id="{5E3B35DC-49AC-4AF6-A83F-DCEF6208396E}"/>
              </a:ext>
            </a:extLst>
          </p:cNvPr>
          <p:cNvSpPr>
            <a:spLocks/>
          </p:cNvSpPr>
          <p:nvPr/>
        </p:nvSpPr>
        <p:spPr bwMode="auto">
          <a:xfrm>
            <a:off x="7784625"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3 w 186347"/>
              <a:gd name="T19" fmla="*/ 124103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41 h 275069"/>
              <a:gd name="T44" fmla="*/ 179969 w 186347"/>
              <a:gd name="T45" fmla="*/ 129799 h 275069"/>
              <a:gd name="T46" fmla="*/ 113530 w 186347"/>
              <a:gd name="T47" fmla="*/ 85035 h 275069"/>
              <a:gd name="T48" fmla="*/ 68326 w 186347"/>
              <a:gd name="T49" fmla="*/ 104929 h 275069"/>
              <a:gd name="T50" fmla="*/ 58524 w 186347"/>
              <a:gd name="T51" fmla="*/ 115830 h 275069"/>
              <a:gd name="T52" fmla="*/ 173896 w 186347"/>
              <a:gd name="T53" fmla="*/ 115830 h 275069"/>
              <a:gd name="T54" fmla="*/ 140184 w 186347"/>
              <a:gd name="T55" fmla="*/ 89049 h 275069"/>
              <a:gd name="T56" fmla="*/ 113530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29" name="object 13">
            <a:extLst>
              <a:ext uri="{FF2B5EF4-FFF2-40B4-BE49-F238E27FC236}">
                <a16:creationId xmlns:a16="http://schemas.microsoft.com/office/drawing/2014/main" id="{CDD5ACEC-B5C8-44D2-A312-8C3421968019}"/>
              </a:ext>
            </a:extLst>
          </p:cNvPr>
          <p:cNvSpPr>
            <a:spLocks/>
          </p:cNvSpPr>
          <p:nvPr/>
        </p:nvSpPr>
        <p:spPr bwMode="auto">
          <a:xfrm>
            <a:off x="7909316" y="6394994"/>
            <a:ext cx="111855" cy="111855"/>
          </a:xfrm>
          <a:custGeom>
            <a:avLst/>
            <a:gdLst>
              <a:gd name="T0" fmla="*/ 105302 w 193899"/>
              <a:gd name="T1" fmla="*/ 0 h 192656"/>
              <a:gd name="T2" fmla="*/ 59204 w 193899"/>
              <a:gd name="T3" fmla="*/ 8039 h 192656"/>
              <a:gd name="T4" fmla="*/ 25139 w 193899"/>
              <a:gd name="T5" fmla="*/ 30778 h 192656"/>
              <a:gd name="T6" fmla="*/ 4907 w 193899"/>
              <a:gd name="T7" fmla="*/ 65485 h 192656"/>
              <a:gd name="T8" fmla="*/ 0 w 193899"/>
              <a:gd name="T9" fmla="*/ 93916 h 192656"/>
              <a:gd name="T10" fmla="*/ 898 w 193899"/>
              <a:gd name="T11" fmla="*/ 109949 h 192656"/>
              <a:gd name="T12" fmla="*/ 14100 w 193899"/>
              <a:gd name="T13" fmla="*/ 150724 h 192656"/>
              <a:gd name="T14" fmla="*/ 41512 w 193899"/>
              <a:gd name="T15" fmla="*/ 179453 h 192656"/>
              <a:gd name="T16" fmla="*/ 81142 w 193899"/>
              <a:gd name="T17" fmla="*/ 194798 h 192656"/>
              <a:gd name="T18" fmla="*/ 106991 w 193899"/>
              <a:gd name="T19" fmla="*/ 196764 h 192656"/>
              <a:gd name="T20" fmla="*/ 118144 w 193899"/>
              <a:gd name="T21" fmla="*/ 196453 h 192656"/>
              <a:gd name="T22" fmla="*/ 168440 w 193899"/>
              <a:gd name="T23" fmla="*/ 184772 h 192656"/>
              <a:gd name="T24" fmla="*/ 184738 w 193899"/>
              <a:gd name="T25" fmla="*/ 161171 h 192656"/>
              <a:gd name="T26" fmla="*/ 130724 w 193899"/>
              <a:gd name="T27" fmla="*/ 161171 h 192656"/>
              <a:gd name="T28" fmla="*/ 112313 w 193899"/>
              <a:gd name="T29" fmla="*/ 160127 h 192656"/>
              <a:gd name="T30" fmla="*/ 74058 w 193899"/>
              <a:gd name="T31" fmla="*/ 143105 h 192656"/>
              <a:gd name="T32" fmla="*/ 60117 w 193899"/>
              <a:gd name="T33" fmla="*/ 108064 h 192656"/>
              <a:gd name="T34" fmla="*/ 193005 w 193899"/>
              <a:gd name="T35" fmla="*/ 108064 h 192656"/>
              <a:gd name="T36" fmla="*/ 192695 w 193899"/>
              <a:gd name="T37" fmla="*/ 90794 h 192656"/>
              <a:gd name="T38" fmla="*/ 190674 w 193899"/>
              <a:gd name="T39" fmla="*/ 76752 h 192656"/>
              <a:gd name="T40" fmla="*/ 61320 w 193899"/>
              <a:gd name="T41" fmla="*/ 76752 h 192656"/>
              <a:gd name="T42" fmla="*/ 64703 w 193899"/>
              <a:gd name="T43" fmla="*/ 60912 h 192656"/>
              <a:gd name="T44" fmla="*/ 71465 w 193899"/>
              <a:gd name="T45" fmla="*/ 48615 h 192656"/>
              <a:gd name="T46" fmla="*/ 81319 w 193899"/>
              <a:gd name="T47" fmla="*/ 40130 h 192656"/>
              <a:gd name="T48" fmla="*/ 93967 w 193899"/>
              <a:gd name="T49" fmla="*/ 35727 h 192656"/>
              <a:gd name="T50" fmla="*/ 101456 w 193899"/>
              <a:gd name="T51" fmla="*/ 35141 h 192656"/>
              <a:gd name="T52" fmla="*/ 172504 w 193899"/>
              <a:gd name="T53" fmla="*/ 35141 h 192656"/>
              <a:gd name="T54" fmla="*/ 164459 w 193899"/>
              <a:gd name="T55" fmla="*/ 25907 h 192656"/>
              <a:gd name="T56" fmla="*/ 154509 w 193899"/>
              <a:gd name="T57" fmla="*/ 17466 h 192656"/>
              <a:gd name="T58" fmla="*/ 143471 w 193899"/>
              <a:gd name="T59" fmla="*/ 10621 h 192656"/>
              <a:gd name="T60" fmla="*/ 131492 w 193899"/>
              <a:gd name="T61" fmla="*/ 5403 h 192656"/>
              <a:gd name="T62" fmla="*/ 118720 w 193899"/>
              <a:gd name="T63" fmla="*/ 1853 h 192656"/>
              <a:gd name="T64" fmla="*/ 105302 w 193899"/>
              <a:gd name="T65" fmla="*/ 0 h 192656"/>
              <a:gd name="T66" fmla="*/ 189794 w 193899"/>
              <a:gd name="T67" fmla="*/ 134420 h 192656"/>
              <a:gd name="T68" fmla="*/ 152963 w 193899"/>
              <a:gd name="T69" fmla="*/ 155968 h 192656"/>
              <a:gd name="T70" fmla="*/ 130724 w 193899"/>
              <a:gd name="T71" fmla="*/ 161171 h 192656"/>
              <a:gd name="T72" fmla="*/ 184738 w 193899"/>
              <a:gd name="T73" fmla="*/ 161171 h 192656"/>
              <a:gd name="T74" fmla="*/ 189794 w 193899"/>
              <a:gd name="T75" fmla="*/ 134420 h 192656"/>
              <a:gd name="T76" fmla="*/ 172504 w 193899"/>
              <a:gd name="T77" fmla="*/ 35141 h 192656"/>
              <a:gd name="T78" fmla="*/ 101456 w 193899"/>
              <a:gd name="T79" fmla="*/ 35141 h 192656"/>
              <a:gd name="T80" fmla="*/ 115276 w 193899"/>
              <a:gd name="T81" fmla="*/ 37389 h 192656"/>
              <a:gd name="T82" fmla="*/ 126599 w 193899"/>
              <a:gd name="T83" fmla="*/ 43895 h 192656"/>
              <a:gd name="T84" fmla="*/ 135061 w 193899"/>
              <a:gd name="T85" fmla="*/ 54311 h 192656"/>
              <a:gd name="T86" fmla="*/ 140292 w 193899"/>
              <a:gd name="T87" fmla="*/ 68290 h 192656"/>
              <a:gd name="T88" fmla="*/ 61320 w 193899"/>
              <a:gd name="T89" fmla="*/ 76752 h 192656"/>
              <a:gd name="T90" fmla="*/ 190674 w 193899"/>
              <a:gd name="T91" fmla="*/ 76752 h 192656"/>
              <a:gd name="T92" fmla="*/ 190410 w 193899"/>
              <a:gd name="T93" fmla="*/ 74909 h 192656"/>
              <a:gd name="T94" fmla="*/ 186295 w 193899"/>
              <a:gd name="T95" fmla="*/ 60442 h 192656"/>
              <a:gd name="T96" fmla="*/ 180500 w 193899"/>
              <a:gd name="T97" fmla="*/ 47430 h 192656"/>
              <a:gd name="T98" fmla="*/ 173171 w 193899"/>
              <a:gd name="T99" fmla="*/ 35907 h 192656"/>
              <a:gd name="T100" fmla="*/ 172504 w 193899"/>
              <a:gd name="T101" fmla="*/ 35141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0" name="object 14">
            <a:extLst>
              <a:ext uri="{FF2B5EF4-FFF2-40B4-BE49-F238E27FC236}">
                <a16:creationId xmlns:a16="http://schemas.microsoft.com/office/drawing/2014/main" id="{B3737505-6E2C-4D70-81CE-BF9251731426}"/>
              </a:ext>
            </a:extLst>
          </p:cNvPr>
          <p:cNvSpPr>
            <a:spLocks/>
          </p:cNvSpPr>
          <p:nvPr/>
        </p:nvSpPr>
        <p:spPr bwMode="auto">
          <a:xfrm>
            <a:off x="8095435" y="6343651"/>
            <a:ext cx="154947" cy="163198"/>
          </a:xfrm>
          <a:custGeom>
            <a:avLst/>
            <a:gdLst>
              <a:gd name="T0" fmla="*/ 157946 w 268134"/>
              <a:gd name="T1" fmla="*/ 0 h 282037"/>
              <a:gd name="T2" fmla="*/ 108748 w 268134"/>
              <a:gd name="T3" fmla="*/ 7448 h 282037"/>
              <a:gd name="T4" fmla="*/ 68128 w 268134"/>
              <a:gd name="T5" fmla="*/ 25114 h 282037"/>
              <a:gd name="T6" fmla="*/ 36545 w 268134"/>
              <a:gd name="T7" fmla="*/ 51183 h 282037"/>
              <a:gd name="T8" fmla="*/ 14457 w 268134"/>
              <a:gd name="T9" fmla="*/ 83850 h 282037"/>
              <a:gd name="T10" fmla="*/ 2327 w 268134"/>
              <a:gd name="T11" fmla="*/ 121301 h 282037"/>
              <a:gd name="T12" fmla="*/ 0 w 268134"/>
              <a:gd name="T13" fmla="*/ 148032 h 282037"/>
              <a:gd name="T14" fmla="*/ 971 w 268134"/>
              <a:gd name="T15" fmla="*/ 160290 h 282037"/>
              <a:gd name="T16" fmla="*/ 15708 w 268134"/>
              <a:gd name="T17" fmla="*/ 207124 h 282037"/>
              <a:gd name="T18" fmla="*/ 48430 w 268134"/>
              <a:gd name="T19" fmla="*/ 246707 h 282037"/>
              <a:gd name="T20" fmla="*/ 85255 w 268134"/>
              <a:gd name="T21" fmla="*/ 268638 h 282037"/>
              <a:gd name="T22" fmla="*/ 132989 w 268134"/>
              <a:gd name="T23" fmla="*/ 281589 h 282037"/>
              <a:gd name="T24" fmla="*/ 171038 w 268134"/>
              <a:gd name="T25" fmla="*/ 284195 h 282037"/>
              <a:gd name="T26" fmla="*/ 183981 w 268134"/>
              <a:gd name="T27" fmla="*/ 283392 h 282037"/>
              <a:gd name="T28" fmla="*/ 231803 w 268134"/>
              <a:gd name="T29" fmla="*/ 273065 h 282037"/>
              <a:gd name="T30" fmla="*/ 268746 w 268134"/>
              <a:gd name="T31" fmla="*/ 256740 h 282037"/>
              <a:gd name="T32" fmla="*/ 267463 w 268134"/>
              <a:gd name="T33" fmla="*/ 226038 h 282037"/>
              <a:gd name="T34" fmla="*/ 155891 w 268134"/>
              <a:gd name="T35" fmla="*/ 226038 h 282037"/>
              <a:gd name="T36" fmla="*/ 141242 w 268134"/>
              <a:gd name="T37" fmla="*/ 223664 h 282037"/>
              <a:gd name="T38" fmla="*/ 104152 w 268134"/>
              <a:gd name="T39" fmla="*/ 206379 h 282037"/>
              <a:gd name="T40" fmla="*/ 79829 w 268134"/>
              <a:gd name="T41" fmla="*/ 174793 h 282037"/>
              <a:gd name="T42" fmla="*/ 71457 w 268134"/>
              <a:gd name="T43" fmla="*/ 130115 h 282037"/>
              <a:gd name="T44" fmla="*/ 74271 w 268134"/>
              <a:gd name="T45" fmla="*/ 117644 h 282037"/>
              <a:gd name="T46" fmla="*/ 104622 w 268134"/>
              <a:gd name="T47" fmla="*/ 77798 h 282037"/>
              <a:gd name="T48" fmla="*/ 145633 w 268134"/>
              <a:gd name="T49" fmla="*/ 61205 h 282037"/>
              <a:gd name="T50" fmla="*/ 180713 w 268134"/>
              <a:gd name="T51" fmla="*/ 57946 h 282037"/>
              <a:gd name="T52" fmla="*/ 262776 w 268134"/>
              <a:gd name="T53" fmla="*/ 57946 h 282037"/>
              <a:gd name="T54" fmla="*/ 259145 w 268134"/>
              <a:gd name="T55" fmla="*/ 20665 h 282037"/>
              <a:gd name="T56" fmla="*/ 214731 w 268134"/>
              <a:gd name="T57" fmla="*/ 5092 h 282037"/>
              <a:gd name="T58" fmla="*/ 173449 w 268134"/>
              <a:gd name="T59" fmla="*/ 288 h 282037"/>
              <a:gd name="T60" fmla="*/ 157946 w 268134"/>
              <a:gd name="T61" fmla="*/ 0 h 282037"/>
              <a:gd name="T62" fmla="*/ 266267 w 268134"/>
              <a:gd name="T63" fmla="*/ 197379 h 282037"/>
              <a:gd name="T64" fmla="*/ 231339 w 268134"/>
              <a:gd name="T65" fmla="*/ 213116 h 282037"/>
              <a:gd name="T66" fmla="*/ 184758 w 268134"/>
              <a:gd name="T67" fmla="*/ 224788 h 282037"/>
              <a:gd name="T68" fmla="*/ 155891 w 268134"/>
              <a:gd name="T69" fmla="*/ 226038 h 282037"/>
              <a:gd name="T70" fmla="*/ 267463 w 268134"/>
              <a:gd name="T71" fmla="*/ 226038 h 282037"/>
              <a:gd name="T72" fmla="*/ 266267 w 268134"/>
              <a:gd name="T73" fmla="*/ 197379 h 282037"/>
              <a:gd name="T74" fmla="*/ 262776 w 268134"/>
              <a:gd name="T75" fmla="*/ 57946 h 282037"/>
              <a:gd name="T76" fmla="*/ 180713 w 268134"/>
              <a:gd name="T77" fmla="*/ 57946 h 282037"/>
              <a:gd name="T78" fmla="*/ 193411 w 268134"/>
              <a:gd name="T79" fmla="*/ 59334 h 282037"/>
              <a:gd name="T80" fmla="*/ 205856 w 268134"/>
              <a:gd name="T81" fmla="*/ 61717 h 282037"/>
              <a:gd name="T82" fmla="*/ 242024 w 268134"/>
              <a:gd name="T83" fmla="*/ 74122 h 282037"/>
              <a:gd name="T84" fmla="*/ 265512 w 268134"/>
              <a:gd name="T85" fmla="*/ 86052 h 282037"/>
              <a:gd name="T86" fmla="*/ 262776 w 268134"/>
              <a:gd name="T87" fmla="*/ 5794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1" name="object 15">
            <a:extLst>
              <a:ext uri="{FF2B5EF4-FFF2-40B4-BE49-F238E27FC236}">
                <a16:creationId xmlns:a16="http://schemas.microsoft.com/office/drawing/2014/main" id="{D67180DF-D2F8-4E01-9B3A-8490BA246A86}"/>
              </a:ext>
            </a:extLst>
          </p:cNvPr>
          <p:cNvSpPr>
            <a:spLocks/>
          </p:cNvSpPr>
          <p:nvPr/>
        </p:nvSpPr>
        <p:spPr bwMode="auto">
          <a:xfrm>
            <a:off x="8274220"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2 w 186347"/>
              <a:gd name="T19" fmla="*/ 124102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39 h 275069"/>
              <a:gd name="T44" fmla="*/ 179969 w 186347"/>
              <a:gd name="T45" fmla="*/ 129799 h 275069"/>
              <a:gd name="T46" fmla="*/ 113529 w 186347"/>
              <a:gd name="T47" fmla="*/ 85035 h 275069"/>
              <a:gd name="T48" fmla="*/ 68325 w 186347"/>
              <a:gd name="T49" fmla="*/ 104929 h 275069"/>
              <a:gd name="T50" fmla="*/ 58524 w 186347"/>
              <a:gd name="T51" fmla="*/ 115830 h 275069"/>
              <a:gd name="T52" fmla="*/ 173896 w 186347"/>
              <a:gd name="T53" fmla="*/ 115830 h 275069"/>
              <a:gd name="T54" fmla="*/ 140183 w 186347"/>
              <a:gd name="T55" fmla="*/ 89049 h 275069"/>
              <a:gd name="T56" fmla="*/ 113529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2" name="object 16">
            <a:extLst>
              <a:ext uri="{FF2B5EF4-FFF2-40B4-BE49-F238E27FC236}">
                <a16:creationId xmlns:a16="http://schemas.microsoft.com/office/drawing/2014/main" id="{C68D7E92-F51F-4EF7-AE6E-201F6A3B9146}"/>
              </a:ext>
            </a:extLst>
          </p:cNvPr>
          <p:cNvSpPr>
            <a:spLocks/>
          </p:cNvSpPr>
          <p:nvPr/>
        </p:nvSpPr>
        <p:spPr bwMode="auto">
          <a:xfrm>
            <a:off x="8405329" y="6396827"/>
            <a:ext cx="33923" cy="107271"/>
          </a:xfrm>
          <a:custGeom>
            <a:avLst/>
            <a:gdLst>
              <a:gd name="T0" fmla="*/ 59505 w 58483"/>
              <a:gd name="T1" fmla="*/ 185129 h 185940"/>
              <a:gd name="T2" fmla="*/ 0 w 58483"/>
              <a:gd name="T3" fmla="*/ 185129 h 185940"/>
              <a:gd name="T4" fmla="*/ 0 w 58483"/>
              <a:gd name="T5" fmla="*/ 0 h 185940"/>
              <a:gd name="T6" fmla="*/ 59505 w 58483"/>
              <a:gd name="T7" fmla="*/ 0 h 185940"/>
              <a:gd name="T8" fmla="*/ 59505 w 58483"/>
              <a:gd name="T9" fmla="*/ 185129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3" name="object 17">
            <a:extLst>
              <a:ext uri="{FF2B5EF4-FFF2-40B4-BE49-F238E27FC236}">
                <a16:creationId xmlns:a16="http://schemas.microsoft.com/office/drawing/2014/main" id="{19E219F9-7509-4676-AC95-2BFA42C9A5AC}"/>
              </a:ext>
            </a:extLst>
          </p:cNvPr>
          <p:cNvSpPr>
            <a:spLocks/>
          </p:cNvSpPr>
          <p:nvPr/>
        </p:nvSpPr>
        <p:spPr bwMode="auto">
          <a:xfrm>
            <a:off x="8403496" y="6344567"/>
            <a:ext cx="37590" cy="35757"/>
          </a:xfrm>
          <a:custGeom>
            <a:avLst/>
            <a:gdLst>
              <a:gd name="T0" fmla="*/ 23399 w 64473"/>
              <a:gd name="T1" fmla="*/ 0 h 61899"/>
              <a:gd name="T2" fmla="*/ 11296 w 64473"/>
              <a:gd name="T3" fmla="*/ 6800 h 61899"/>
              <a:gd name="T4" fmla="*/ 3032 w 64473"/>
              <a:gd name="T5" fmla="*/ 18063 h 61899"/>
              <a:gd name="T6" fmla="*/ 0 w 64473"/>
              <a:gd name="T7" fmla="*/ 32683 h 61899"/>
              <a:gd name="T8" fmla="*/ 3347 w 64473"/>
              <a:gd name="T9" fmla="*/ 44535 h 61899"/>
              <a:gd name="T10" fmla="*/ 11667 w 64473"/>
              <a:gd name="T11" fmla="*/ 54062 h 61899"/>
              <a:gd name="T12" fmla="*/ 24719 w 64473"/>
              <a:gd name="T13" fmla="*/ 60220 h 61899"/>
              <a:gd name="T14" fmla="*/ 42255 w 64473"/>
              <a:gd name="T15" fmla="*/ 61955 h 61899"/>
              <a:gd name="T16" fmla="*/ 54972 w 64473"/>
              <a:gd name="T17" fmla="*/ 55506 h 61899"/>
              <a:gd name="T18" fmla="*/ 63712 w 64473"/>
              <a:gd name="T19" fmla="*/ 44628 h 61899"/>
              <a:gd name="T20" fmla="*/ 66965 w 64473"/>
              <a:gd name="T21" fmla="*/ 30792 h 61899"/>
              <a:gd name="T22" fmla="*/ 66819 w 64473"/>
              <a:gd name="T23" fmla="*/ 27801 h 61899"/>
              <a:gd name="T24" fmla="*/ 63135 w 64473"/>
              <a:gd name="T25" fmla="*/ 16350 h 61899"/>
              <a:gd name="T26" fmla="*/ 54582 w 64473"/>
              <a:gd name="T27" fmla="*/ 7227 h 61899"/>
              <a:gd name="T28" fmla="*/ 41294 w 64473"/>
              <a:gd name="T29" fmla="*/ 1439 h 61899"/>
              <a:gd name="T30" fmla="*/ 2339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4" name="object 18">
            <a:extLst>
              <a:ext uri="{FF2B5EF4-FFF2-40B4-BE49-F238E27FC236}">
                <a16:creationId xmlns:a16="http://schemas.microsoft.com/office/drawing/2014/main" id="{C6F7CB72-0B72-4F78-8BEC-17ECF4B35545}"/>
              </a:ext>
            </a:extLst>
          </p:cNvPr>
          <p:cNvSpPr>
            <a:spLocks/>
          </p:cNvSpPr>
          <p:nvPr/>
        </p:nvSpPr>
        <p:spPr bwMode="auto">
          <a:xfrm>
            <a:off x="8464007" y="6345484"/>
            <a:ext cx="33923" cy="158614"/>
          </a:xfrm>
          <a:custGeom>
            <a:avLst/>
            <a:gdLst>
              <a:gd name="T0" fmla="*/ 59505 w 58483"/>
              <a:gd name="T1" fmla="*/ 273345 h 275069"/>
              <a:gd name="T2" fmla="*/ 0 w 58483"/>
              <a:gd name="T3" fmla="*/ 273345 h 275069"/>
              <a:gd name="T4" fmla="*/ 0 w 58483"/>
              <a:gd name="T5" fmla="*/ 0 h 275069"/>
              <a:gd name="T6" fmla="*/ 59505 w 58483"/>
              <a:gd name="T7" fmla="*/ 0 h 275069"/>
              <a:gd name="T8" fmla="*/ 59505 w 58483"/>
              <a:gd name="T9" fmla="*/ 273345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5" name="object 19">
            <a:extLst>
              <a:ext uri="{FF2B5EF4-FFF2-40B4-BE49-F238E27FC236}">
                <a16:creationId xmlns:a16="http://schemas.microsoft.com/office/drawing/2014/main" id="{E7FAEC58-EA74-413D-8654-EF4876C76CDA}"/>
              </a:ext>
            </a:extLst>
          </p:cNvPr>
          <p:cNvSpPr>
            <a:spLocks/>
          </p:cNvSpPr>
          <p:nvPr/>
        </p:nvSpPr>
        <p:spPr bwMode="auto">
          <a:xfrm>
            <a:off x="8516267" y="6345484"/>
            <a:ext cx="113689" cy="161365"/>
          </a:xfrm>
          <a:custGeom>
            <a:avLst/>
            <a:gdLst>
              <a:gd name="T0" fmla="*/ 101290 w 197236"/>
              <a:gd name="T1" fmla="*/ 87186 h 278582"/>
              <a:gd name="T2" fmla="*/ 55223 w 197236"/>
              <a:gd name="T3" fmla="*/ 95109 h 278582"/>
              <a:gd name="T4" fmla="*/ 22383 w 197236"/>
              <a:gd name="T5" fmla="*/ 118136 h 278582"/>
              <a:gd name="T6" fmla="*/ 3857 w 197236"/>
              <a:gd name="T7" fmla="*/ 153521 h 278582"/>
              <a:gd name="T8" fmla="*/ 0 w 197236"/>
              <a:gd name="T9" fmla="*/ 182625 h 278582"/>
              <a:gd name="T10" fmla="*/ 1009 w 197236"/>
              <a:gd name="T11" fmla="*/ 198905 h 278582"/>
              <a:gd name="T12" fmla="*/ 15138 w 197236"/>
              <a:gd name="T13" fmla="*/ 240935 h 278582"/>
              <a:gd name="T14" fmla="*/ 43178 w 197236"/>
              <a:gd name="T15" fmla="*/ 269838 h 278582"/>
              <a:gd name="T16" fmla="*/ 81606 w 197236"/>
              <a:gd name="T17" fmla="*/ 281868 h 278582"/>
              <a:gd name="T18" fmla="*/ 96097 w 197236"/>
              <a:gd name="T19" fmla="*/ 281184 h 278582"/>
              <a:gd name="T20" fmla="*/ 108670 w 197236"/>
              <a:gd name="T21" fmla="*/ 278853 h 278582"/>
              <a:gd name="T22" fmla="*/ 119935 w 197236"/>
              <a:gd name="T23" fmla="*/ 274719 h 278582"/>
              <a:gd name="T24" fmla="*/ 130504 w 197236"/>
              <a:gd name="T25" fmla="*/ 268621 h 278582"/>
              <a:gd name="T26" fmla="*/ 195697 w 197236"/>
              <a:gd name="T27" fmla="*/ 268621 h 278582"/>
              <a:gd name="T28" fmla="*/ 195697 w 197236"/>
              <a:gd name="T29" fmla="*/ 240870 h 278582"/>
              <a:gd name="T30" fmla="*/ 114903 w 197236"/>
              <a:gd name="T31" fmla="*/ 240870 h 278582"/>
              <a:gd name="T32" fmla="*/ 98197 w 197236"/>
              <a:gd name="T33" fmla="*/ 239845 h 278582"/>
              <a:gd name="T34" fmla="*/ 66226 w 197236"/>
              <a:gd name="T35" fmla="*/ 218168 h 278582"/>
              <a:gd name="T36" fmla="*/ 59006 w 197236"/>
              <a:gd name="T37" fmla="*/ 191222 h 278582"/>
              <a:gd name="T38" fmla="*/ 60223 w 197236"/>
              <a:gd name="T39" fmla="*/ 172090 h 278582"/>
              <a:gd name="T40" fmla="*/ 78476 w 197236"/>
              <a:gd name="T41" fmla="*/ 134639 h 278582"/>
              <a:gd name="T42" fmla="*/ 101498 w 197236"/>
              <a:gd name="T43" fmla="*/ 126230 h 278582"/>
              <a:gd name="T44" fmla="*/ 195697 w 197236"/>
              <a:gd name="T45" fmla="*/ 126230 h 278582"/>
              <a:gd name="T46" fmla="*/ 195697 w 197236"/>
              <a:gd name="T47" fmla="*/ 98351 h 278582"/>
              <a:gd name="T48" fmla="*/ 137656 w 197236"/>
              <a:gd name="T49" fmla="*/ 98351 h 278582"/>
              <a:gd name="T50" fmla="*/ 125696 w 197236"/>
              <a:gd name="T51" fmla="*/ 93138 h 278582"/>
              <a:gd name="T52" fmla="*/ 113612 w 197236"/>
              <a:gd name="T53" fmla="*/ 89403 h 278582"/>
              <a:gd name="T54" fmla="*/ 101290 w 197236"/>
              <a:gd name="T55" fmla="*/ 87186 h 278582"/>
              <a:gd name="T56" fmla="*/ 195697 w 197236"/>
              <a:gd name="T57" fmla="*/ 268621 h 278582"/>
              <a:gd name="T58" fmla="*/ 130504 w 197236"/>
              <a:gd name="T59" fmla="*/ 268621 h 278582"/>
              <a:gd name="T60" fmla="*/ 137656 w 197236"/>
              <a:gd name="T61" fmla="*/ 278326 h 278582"/>
              <a:gd name="T62" fmla="*/ 195697 w 197236"/>
              <a:gd name="T63" fmla="*/ 278326 h 278582"/>
              <a:gd name="T64" fmla="*/ 195697 w 197236"/>
              <a:gd name="T65" fmla="*/ 268621 h 278582"/>
              <a:gd name="T66" fmla="*/ 195697 w 197236"/>
              <a:gd name="T67" fmla="*/ 126230 h 278582"/>
              <a:gd name="T68" fmla="*/ 101498 w 197236"/>
              <a:gd name="T69" fmla="*/ 126230 h 278582"/>
              <a:gd name="T70" fmla="*/ 115302 w 197236"/>
              <a:gd name="T71" fmla="*/ 127643 h 278582"/>
              <a:gd name="T72" fmla="*/ 127709 w 197236"/>
              <a:gd name="T73" fmla="*/ 131559 h 278582"/>
              <a:gd name="T74" fmla="*/ 137656 w 197236"/>
              <a:gd name="T75" fmla="*/ 226900 h 278582"/>
              <a:gd name="T76" fmla="*/ 126106 w 197236"/>
              <a:gd name="T77" fmla="*/ 235854 h 278582"/>
              <a:gd name="T78" fmla="*/ 114903 w 197236"/>
              <a:gd name="T79" fmla="*/ 240870 h 278582"/>
              <a:gd name="T80" fmla="*/ 195697 w 197236"/>
              <a:gd name="T81" fmla="*/ 240870 h 278582"/>
              <a:gd name="T82" fmla="*/ 195697 w 197236"/>
              <a:gd name="T83" fmla="*/ 126230 h 278582"/>
              <a:gd name="T84" fmla="*/ 195697 w 197236"/>
              <a:gd name="T85" fmla="*/ 0 h 278582"/>
              <a:gd name="T86" fmla="*/ 137656 w 197236"/>
              <a:gd name="T87" fmla="*/ 0 h 278582"/>
              <a:gd name="T88" fmla="*/ 137656 w 197236"/>
              <a:gd name="T89" fmla="*/ 98351 h 278582"/>
              <a:gd name="T90" fmla="*/ 195697 w 197236"/>
              <a:gd name="T91" fmla="*/ 98351 h 278582"/>
              <a:gd name="T92" fmla="*/ 195697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6" name="object 20">
            <a:extLst>
              <a:ext uri="{FF2B5EF4-FFF2-40B4-BE49-F238E27FC236}">
                <a16:creationId xmlns:a16="http://schemas.microsoft.com/office/drawing/2014/main" id="{24D2ACC7-847F-4D88-B21F-8120790A8A67}"/>
              </a:ext>
            </a:extLst>
          </p:cNvPr>
          <p:cNvSpPr>
            <a:spLocks/>
          </p:cNvSpPr>
          <p:nvPr/>
        </p:nvSpPr>
        <p:spPr bwMode="auto">
          <a:xfrm>
            <a:off x="8653794" y="6394994"/>
            <a:ext cx="86183" cy="109104"/>
          </a:xfrm>
          <a:custGeom>
            <a:avLst/>
            <a:gdLst>
              <a:gd name="T0" fmla="*/ 59751 w 148435"/>
              <a:gd name="T1" fmla="*/ 3317 h 189286"/>
              <a:gd name="T2" fmla="*/ 0 w 148435"/>
              <a:gd name="T3" fmla="*/ 3317 h 189286"/>
              <a:gd name="T4" fmla="*/ 0 w 148435"/>
              <a:gd name="T5" fmla="*/ 187794 h 189286"/>
              <a:gd name="T6" fmla="*/ 59751 w 148435"/>
              <a:gd name="T7" fmla="*/ 187794 h 189286"/>
              <a:gd name="T8" fmla="*/ 61596 w 148435"/>
              <a:gd name="T9" fmla="*/ 103511 h 189286"/>
              <a:gd name="T10" fmla="*/ 68120 w 148435"/>
              <a:gd name="T11" fmla="*/ 89037 h 189286"/>
              <a:gd name="T12" fmla="*/ 104560 w 148435"/>
              <a:gd name="T13" fmla="*/ 56384 h 189286"/>
              <a:gd name="T14" fmla="*/ 108023 w 148435"/>
              <a:gd name="T15" fmla="*/ 56137 h 189286"/>
              <a:gd name="T16" fmla="*/ 59751 w 148435"/>
              <a:gd name="T17" fmla="*/ 56137 h 189286"/>
              <a:gd name="T18" fmla="*/ 59751 w 148435"/>
              <a:gd name="T19" fmla="*/ 3317 h 189286"/>
              <a:gd name="T20" fmla="*/ 145798 w 148435"/>
              <a:gd name="T21" fmla="*/ 55409 h 189286"/>
              <a:gd name="T22" fmla="*/ 118243 w 148435"/>
              <a:gd name="T23" fmla="*/ 55409 h 189286"/>
              <a:gd name="T24" fmla="*/ 129895 w 148435"/>
              <a:gd name="T25" fmla="*/ 59818 h 189286"/>
              <a:gd name="T26" fmla="*/ 144201 w 148435"/>
              <a:gd name="T27" fmla="*/ 67742 h 189286"/>
              <a:gd name="T28" fmla="*/ 145798 w 148435"/>
              <a:gd name="T29" fmla="*/ 55409 h 189286"/>
              <a:gd name="T30" fmla="*/ 116162 w 148435"/>
              <a:gd name="T31" fmla="*/ 0 h 189286"/>
              <a:gd name="T32" fmla="*/ 77630 w 148435"/>
              <a:gd name="T33" fmla="*/ 26287 h 189286"/>
              <a:gd name="T34" fmla="*/ 60569 w 148435"/>
              <a:gd name="T35" fmla="*/ 56137 h 189286"/>
              <a:gd name="T36" fmla="*/ 108023 w 148435"/>
              <a:gd name="T37" fmla="*/ 56137 h 189286"/>
              <a:gd name="T38" fmla="*/ 118243 w 148435"/>
              <a:gd name="T39" fmla="*/ 55409 h 189286"/>
              <a:gd name="T40" fmla="*/ 145798 w 148435"/>
              <a:gd name="T41" fmla="*/ 55409 h 189286"/>
              <a:gd name="T42" fmla="*/ 151620 w 148435"/>
              <a:gd name="T43" fmla="*/ 10373 h 189286"/>
              <a:gd name="T44" fmla="*/ 140006 w 148435"/>
              <a:gd name="T45" fmla="*/ 4193 h 189286"/>
              <a:gd name="T46" fmla="*/ 128731 w 148435"/>
              <a:gd name="T47" fmla="*/ 865 h 189286"/>
              <a:gd name="T48" fmla="*/ 116162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7" name="object 21">
            <a:extLst>
              <a:ext uri="{FF2B5EF4-FFF2-40B4-BE49-F238E27FC236}">
                <a16:creationId xmlns:a16="http://schemas.microsoft.com/office/drawing/2014/main" id="{6EB93D97-1048-49E2-AF5F-C8AA6D267507}"/>
              </a:ext>
            </a:extLst>
          </p:cNvPr>
          <p:cNvSpPr>
            <a:spLocks/>
          </p:cNvSpPr>
          <p:nvPr/>
        </p:nvSpPr>
        <p:spPr bwMode="auto">
          <a:xfrm>
            <a:off x="8747312" y="6394994"/>
            <a:ext cx="111855" cy="111855"/>
          </a:xfrm>
          <a:custGeom>
            <a:avLst/>
            <a:gdLst>
              <a:gd name="T0" fmla="*/ 105303 w 193899"/>
              <a:gd name="T1" fmla="*/ 0 h 192655"/>
              <a:gd name="T2" fmla="*/ 59205 w 193899"/>
              <a:gd name="T3" fmla="*/ 8038 h 192655"/>
              <a:gd name="T4" fmla="*/ 25139 w 193899"/>
              <a:gd name="T5" fmla="*/ 30779 h 192655"/>
              <a:gd name="T6" fmla="*/ 4907 w 193899"/>
              <a:gd name="T7" fmla="*/ 65484 h 192655"/>
              <a:gd name="T8" fmla="*/ 0 w 193899"/>
              <a:gd name="T9" fmla="*/ 93917 h 192655"/>
              <a:gd name="T10" fmla="*/ 897 w 193899"/>
              <a:gd name="T11" fmla="*/ 109951 h 192655"/>
              <a:gd name="T12" fmla="*/ 14099 w 193899"/>
              <a:gd name="T13" fmla="*/ 150722 h 192655"/>
              <a:gd name="T14" fmla="*/ 41510 w 193899"/>
              <a:gd name="T15" fmla="*/ 179453 h 192655"/>
              <a:gd name="T16" fmla="*/ 81140 w 193899"/>
              <a:gd name="T17" fmla="*/ 194800 h 192655"/>
              <a:gd name="T18" fmla="*/ 106989 w 193899"/>
              <a:gd name="T19" fmla="*/ 196767 h 192655"/>
              <a:gd name="T20" fmla="*/ 118141 w 193899"/>
              <a:gd name="T21" fmla="*/ 196456 h 192655"/>
              <a:gd name="T22" fmla="*/ 168434 w 193899"/>
              <a:gd name="T23" fmla="*/ 184777 h 192655"/>
              <a:gd name="T24" fmla="*/ 184735 w 193899"/>
              <a:gd name="T25" fmla="*/ 161173 h 192655"/>
              <a:gd name="T26" fmla="*/ 130724 w 193899"/>
              <a:gd name="T27" fmla="*/ 161173 h 192655"/>
              <a:gd name="T28" fmla="*/ 112313 w 193899"/>
              <a:gd name="T29" fmla="*/ 160130 h 192655"/>
              <a:gd name="T30" fmla="*/ 74052 w 193899"/>
              <a:gd name="T31" fmla="*/ 143109 h 192655"/>
              <a:gd name="T32" fmla="*/ 60117 w 193899"/>
              <a:gd name="T33" fmla="*/ 108064 h 192655"/>
              <a:gd name="T34" fmla="*/ 193005 w 193899"/>
              <a:gd name="T35" fmla="*/ 108064 h 192655"/>
              <a:gd name="T36" fmla="*/ 192695 w 193899"/>
              <a:gd name="T37" fmla="*/ 90796 h 192655"/>
              <a:gd name="T38" fmla="*/ 190675 w 193899"/>
              <a:gd name="T39" fmla="*/ 76753 h 192655"/>
              <a:gd name="T40" fmla="*/ 61319 w 193899"/>
              <a:gd name="T41" fmla="*/ 76753 h 192655"/>
              <a:gd name="T42" fmla="*/ 64703 w 193899"/>
              <a:gd name="T43" fmla="*/ 60914 h 192655"/>
              <a:gd name="T44" fmla="*/ 71465 w 193899"/>
              <a:gd name="T45" fmla="*/ 48616 h 192655"/>
              <a:gd name="T46" fmla="*/ 81319 w 193899"/>
              <a:gd name="T47" fmla="*/ 40130 h 192655"/>
              <a:gd name="T48" fmla="*/ 93967 w 193899"/>
              <a:gd name="T49" fmla="*/ 35727 h 192655"/>
              <a:gd name="T50" fmla="*/ 101456 w 193899"/>
              <a:gd name="T51" fmla="*/ 35141 h 192655"/>
              <a:gd name="T52" fmla="*/ 172508 w 193899"/>
              <a:gd name="T53" fmla="*/ 35141 h 192655"/>
              <a:gd name="T54" fmla="*/ 164464 w 193899"/>
              <a:gd name="T55" fmla="*/ 25907 h 192655"/>
              <a:gd name="T56" fmla="*/ 154515 w 193899"/>
              <a:gd name="T57" fmla="*/ 17468 h 192655"/>
              <a:gd name="T58" fmla="*/ 143476 w 193899"/>
              <a:gd name="T59" fmla="*/ 10621 h 192655"/>
              <a:gd name="T60" fmla="*/ 131497 w 193899"/>
              <a:gd name="T61" fmla="*/ 5403 h 192655"/>
              <a:gd name="T62" fmla="*/ 118723 w 193899"/>
              <a:gd name="T63" fmla="*/ 1853 h 192655"/>
              <a:gd name="T64" fmla="*/ 105303 w 193899"/>
              <a:gd name="T65" fmla="*/ 0 h 192655"/>
              <a:gd name="T66" fmla="*/ 189794 w 193899"/>
              <a:gd name="T67" fmla="*/ 134423 h 192655"/>
              <a:gd name="T68" fmla="*/ 152962 w 193899"/>
              <a:gd name="T69" fmla="*/ 155971 h 192655"/>
              <a:gd name="T70" fmla="*/ 130724 w 193899"/>
              <a:gd name="T71" fmla="*/ 161173 h 192655"/>
              <a:gd name="T72" fmla="*/ 184735 w 193899"/>
              <a:gd name="T73" fmla="*/ 161173 h 192655"/>
              <a:gd name="T74" fmla="*/ 189794 w 193899"/>
              <a:gd name="T75" fmla="*/ 134423 h 192655"/>
              <a:gd name="T76" fmla="*/ 172508 w 193899"/>
              <a:gd name="T77" fmla="*/ 35141 h 192655"/>
              <a:gd name="T78" fmla="*/ 101456 w 193899"/>
              <a:gd name="T79" fmla="*/ 35141 h 192655"/>
              <a:gd name="T80" fmla="*/ 115276 w 193899"/>
              <a:gd name="T81" fmla="*/ 37389 h 192655"/>
              <a:gd name="T82" fmla="*/ 126599 w 193899"/>
              <a:gd name="T83" fmla="*/ 43896 h 192655"/>
              <a:gd name="T84" fmla="*/ 135061 w 193899"/>
              <a:gd name="T85" fmla="*/ 54313 h 192655"/>
              <a:gd name="T86" fmla="*/ 140292 w 193899"/>
              <a:gd name="T87" fmla="*/ 68292 h 192655"/>
              <a:gd name="T88" fmla="*/ 61319 w 193899"/>
              <a:gd name="T89" fmla="*/ 76753 h 192655"/>
              <a:gd name="T90" fmla="*/ 190675 w 193899"/>
              <a:gd name="T91" fmla="*/ 76753 h 192655"/>
              <a:gd name="T92" fmla="*/ 190410 w 193899"/>
              <a:gd name="T93" fmla="*/ 74910 h 192655"/>
              <a:gd name="T94" fmla="*/ 186297 w 193899"/>
              <a:gd name="T95" fmla="*/ 60443 h 192655"/>
              <a:gd name="T96" fmla="*/ 180503 w 193899"/>
              <a:gd name="T97" fmla="*/ 47430 h 192655"/>
              <a:gd name="T98" fmla="*/ 173175 w 193899"/>
              <a:gd name="T99" fmla="*/ 35907 h 192655"/>
              <a:gd name="T100" fmla="*/ 172508 w 193899"/>
              <a:gd name="T101" fmla="*/ 35141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8" name="object 22">
            <a:extLst>
              <a:ext uri="{FF2B5EF4-FFF2-40B4-BE49-F238E27FC236}">
                <a16:creationId xmlns:a16="http://schemas.microsoft.com/office/drawing/2014/main" id="{D0295724-3F7D-4FA0-8105-586F826DFD96}"/>
              </a:ext>
            </a:extLst>
          </p:cNvPr>
          <p:cNvSpPr>
            <a:spLocks/>
          </p:cNvSpPr>
          <p:nvPr/>
        </p:nvSpPr>
        <p:spPr bwMode="auto">
          <a:xfrm>
            <a:off x="8876587" y="6394994"/>
            <a:ext cx="108188" cy="109104"/>
          </a:xfrm>
          <a:custGeom>
            <a:avLst/>
            <a:gdLst>
              <a:gd name="T0" fmla="*/ 59216 w 186753"/>
              <a:gd name="T1" fmla="*/ 3491 h 189472"/>
              <a:gd name="T2" fmla="*/ 0 w 186753"/>
              <a:gd name="T3" fmla="*/ 3491 h 189472"/>
              <a:gd name="T4" fmla="*/ 0 w 186753"/>
              <a:gd name="T5" fmla="*/ 187242 h 189472"/>
              <a:gd name="T6" fmla="*/ 59216 w 186753"/>
              <a:gd name="T7" fmla="*/ 187242 h 189472"/>
              <a:gd name="T8" fmla="*/ 65512 w 186753"/>
              <a:gd name="T9" fmla="*/ 60200 h 189472"/>
              <a:gd name="T10" fmla="*/ 74811 w 186753"/>
              <a:gd name="T11" fmla="*/ 50113 h 189472"/>
              <a:gd name="T12" fmla="*/ 84563 w 186753"/>
              <a:gd name="T13" fmla="*/ 43599 h 189472"/>
              <a:gd name="T14" fmla="*/ 95799 w 186753"/>
              <a:gd name="T15" fmla="*/ 40282 h 189472"/>
              <a:gd name="T16" fmla="*/ 109545 w 186753"/>
              <a:gd name="T17" fmla="*/ 39782 h 189472"/>
              <a:gd name="T18" fmla="*/ 183434 w 186753"/>
              <a:gd name="T19" fmla="*/ 39782 h 189472"/>
              <a:gd name="T20" fmla="*/ 182427 w 186753"/>
              <a:gd name="T21" fmla="*/ 36627 h 189472"/>
              <a:gd name="T22" fmla="*/ 178236 w 186753"/>
              <a:gd name="T23" fmla="*/ 29795 h 189472"/>
              <a:gd name="T24" fmla="*/ 59216 w 186753"/>
              <a:gd name="T25" fmla="*/ 29795 h 189472"/>
              <a:gd name="T26" fmla="*/ 59216 w 186753"/>
              <a:gd name="T27" fmla="*/ 3491 h 189472"/>
              <a:gd name="T28" fmla="*/ 183434 w 186753"/>
              <a:gd name="T29" fmla="*/ 39782 h 189472"/>
              <a:gd name="T30" fmla="*/ 109545 w 186753"/>
              <a:gd name="T31" fmla="*/ 39782 h 189472"/>
              <a:gd name="T32" fmla="*/ 120149 w 186753"/>
              <a:gd name="T33" fmla="*/ 45859 h 189472"/>
              <a:gd name="T34" fmla="*/ 127246 w 186753"/>
              <a:gd name="T35" fmla="*/ 57508 h 189472"/>
              <a:gd name="T36" fmla="*/ 129835 w 186753"/>
              <a:gd name="T37" fmla="*/ 75241 h 189472"/>
              <a:gd name="T38" fmla="*/ 129835 w 186753"/>
              <a:gd name="T39" fmla="*/ 187242 h 189472"/>
              <a:gd name="T40" fmla="*/ 189052 w 186753"/>
              <a:gd name="T41" fmla="*/ 187242 h 189472"/>
              <a:gd name="T42" fmla="*/ 187319 w 186753"/>
              <a:gd name="T43" fmla="*/ 51956 h 189472"/>
              <a:gd name="T44" fmla="*/ 183434 w 186753"/>
              <a:gd name="T45" fmla="*/ 39782 h 189472"/>
              <a:gd name="T46" fmla="*/ 116094 w 186753"/>
              <a:gd name="T47" fmla="*/ 0 h 189472"/>
              <a:gd name="T48" fmla="*/ 69786 w 186753"/>
              <a:gd name="T49" fmla="*/ 19181 h 189472"/>
              <a:gd name="T50" fmla="*/ 59216 w 186753"/>
              <a:gd name="T51" fmla="*/ 29795 h 189472"/>
              <a:gd name="T52" fmla="*/ 178236 w 186753"/>
              <a:gd name="T53" fmla="*/ 29795 h 189472"/>
              <a:gd name="T54" fmla="*/ 141752 w 186753"/>
              <a:gd name="T55" fmla="*/ 3348 h 189472"/>
              <a:gd name="T56" fmla="*/ 116094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39" name="object 23">
            <a:extLst>
              <a:ext uri="{FF2B5EF4-FFF2-40B4-BE49-F238E27FC236}">
                <a16:creationId xmlns:a16="http://schemas.microsoft.com/office/drawing/2014/main" id="{0E9D50CB-BF2D-4FDF-82EC-0936BDDCBA37}"/>
              </a:ext>
            </a:extLst>
          </p:cNvPr>
          <p:cNvSpPr>
            <a:spLocks/>
          </p:cNvSpPr>
          <p:nvPr/>
        </p:nvSpPr>
        <p:spPr bwMode="auto">
          <a:xfrm>
            <a:off x="6621149" y="6108938"/>
            <a:ext cx="456589" cy="477676"/>
          </a:xfrm>
          <a:custGeom>
            <a:avLst/>
            <a:gdLst>
              <a:gd name="T0" fmla="*/ 66601 w 790525"/>
              <a:gd name="T1" fmla="*/ 162808 h 826770"/>
              <a:gd name="T2" fmla="*/ 78818 w 790525"/>
              <a:gd name="T3" fmla="*/ 207326 h 826770"/>
              <a:gd name="T4" fmla="*/ 31287 w 790525"/>
              <a:gd name="T5" fmla="*/ 292548 h 826770"/>
              <a:gd name="T6" fmla="*/ 426 w 790525"/>
              <a:gd name="T7" fmla="*/ 466806 h 826770"/>
              <a:gd name="T8" fmla="*/ 43649 w 790525"/>
              <a:gd name="T9" fmla="*/ 625800 h 826770"/>
              <a:gd name="T10" fmla="*/ 81030 w 790525"/>
              <a:gd name="T11" fmla="*/ 683037 h 826770"/>
              <a:gd name="T12" fmla="*/ 157264 w 790525"/>
              <a:gd name="T13" fmla="*/ 755537 h 826770"/>
              <a:gd name="T14" fmla="*/ 207251 w 790525"/>
              <a:gd name="T15" fmla="*/ 784793 h 826770"/>
              <a:gd name="T16" fmla="*/ 315829 w 790525"/>
              <a:gd name="T17" fmla="*/ 822950 h 826770"/>
              <a:gd name="T18" fmla="*/ 514399 w 790525"/>
              <a:gd name="T19" fmla="*/ 820406 h 826770"/>
              <a:gd name="T20" fmla="*/ 609484 w 790525"/>
              <a:gd name="T21" fmla="*/ 787337 h 826770"/>
              <a:gd name="T22" fmla="*/ 616428 w 790525"/>
              <a:gd name="T23" fmla="*/ 745362 h 826770"/>
              <a:gd name="T24" fmla="*/ 201678 w 790525"/>
              <a:gd name="T25" fmla="*/ 716106 h 826770"/>
              <a:gd name="T26" fmla="*/ 134187 w 790525"/>
              <a:gd name="T27" fmla="*/ 655054 h 826770"/>
              <a:gd name="T28" fmla="*/ 66507 w 790525"/>
              <a:gd name="T29" fmla="*/ 544394 h 826770"/>
              <a:gd name="T30" fmla="*/ 42329 w 790525"/>
              <a:gd name="T31" fmla="*/ 401936 h 826770"/>
              <a:gd name="T32" fmla="*/ 83765 w 790525"/>
              <a:gd name="T33" fmla="*/ 248030 h 826770"/>
              <a:gd name="T34" fmla="*/ 191944 w 790525"/>
              <a:gd name="T35" fmla="*/ 212414 h 826770"/>
              <a:gd name="T36" fmla="*/ 154523 w 790525"/>
              <a:gd name="T37" fmla="*/ 174258 h 826770"/>
              <a:gd name="T38" fmla="*/ 119452 w 790525"/>
              <a:gd name="T39" fmla="*/ 148818 h 826770"/>
              <a:gd name="T40" fmla="*/ 119288 w 790525"/>
              <a:gd name="T41" fmla="*/ 255662 h 826770"/>
              <a:gd name="T42" fmla="*/ 184014 w 790525"/>
              <a:gd name="T43" fmla="*/ 330708 h 826770"/>
              <a:gd name="T44" fmla="*/ 225246 w 790525"/>
              <a:gd name="T45" fmla="*/ 381584 h 826770"/>
              <a:gd name="T46" fmla="*/ 254375 w 790525"/>
              <a:gd name="T47" fmla="*/ 426102 h 826770"/>
              <a:gd name="T48" fmla="*/ 253878 w 790525"/>
              <a:gd name="T49" fmla="*/ 483340 h 826770"/>
              <a:gd name="T50" fmla="*/ 237200 w 790525"/>
              <a:gd name="T51" fmla="*/ 555842 h 826770"/>
              <a:gd name="T52" fmla="*/ 222850 w 790525"/>
              <a:gd name="T53" fmla="*/ 719924 h 826770"/>
              <a:gd name="T54" fmla="*/ 592803 w 790525"/>
              <a:gd name="T55" fmla="*/ 670318 h 826770"/>
              <a:gd name="T56" fmla="*/ 577688 w 790525"/>
              <a:gd name="T57" fmla="*/ 483340 h 826770"/>
              <a:gd name="T58" fmla="*/ 626540 w 790525"/>
              <a:gd name="T59" fmla="*/ 357418 h 826770"/>
              <a:gd name="T60" fmla="*/ 405916 w 790525"/>
              <a:gd name="T61" fmla="*/ 321802 h 826770"/>
              <a:gd name="T62" fmla="*/ 286633 w 790525"/>
              <a:gd name="T63" fmla="*/ 284916 h 826770"/>
              <a:gd name="T64" fmla="*/ 210579 w 790525"/>
              <a:gd name="T65" fmla="*/ 228952 h 826770"/>
              <a:gd name="T66" fmla="*/ 728729 w 790525"/>
              <a:gd name="T67" fmla="*/ 339610 h 826770"/>
              <a:gd name="T68" fmla="*/ 738887 w 790525"/>
              <a:gd name="T69" fmla="*/ 504963 h 826770"/>
              <a:gd name="T70" fmla="*/ 662252 w 790525"/>
              <a:gd name="T71" fmla="*/ 666500 h 826770"/>
              <a:gd name="T72" fmla="*/ 666443 w 790525"/>
              <a:gd name="T73" fmla="*/ 685581 h 826770"/>
              <a:gd name="T74" fmla="*/ 710503 w 790525"/>
              <a:gd name="T75" fmla="*/ 646150 h 826770"/>
              <a:gd name="T76" fmla="*/ 785928 w 790525"/>
              <a:gd name="T77" fmla="*/ 415926 h 826770"/>
              <a:gd name="T78" fmla="*/ 759425 w 790525"/>
              <a:gd name="T79" fmla="*/ 269652 h 826770"/>
              <a:gd name="T80" fmla="*/ 584089 w 790525"/>
              <a:gd name="T81" fmla="*/ 142460 h 826770"/>
              <a:gd name="T82" fmla="*/ 578400 w 790525"/>
              <a:gd name="T83" fmla="*/ 264564 h 826770"/>
              <a:gd name="T84" fmla="*/ 653240 w 790525"/>
              <a:gd name="T85" fmla="*/ 321802 h 826770"/>
              <a:gd name="T86" fmla="*/ 759425 w 790525"/>
              <a:gd name="T87" fmla="*/ 269652 h 826770"/>
              <a:gd name="T88" fmla="*/ 790185 w 790525"/>
              <a:gd name="T89" fmla="*/ 166626 h 826770"/>
              <a:gd name="T90" fmla="*/ 660945 w 790525"/>
              <a:gd name="T91" fmla="*/ 128466 h 826770"/>
              <a:gd name="T92" fmla="*/ 300718 w 790525"/>
              <a:gd name="T93" fmla="*/ 85222 h 826770"/>
              <a:gd name="T94" fmla="*/ 291988 w 790525"/>
              <a:gd name="T95" fmla="*/ 138642 h 826770"/>
              <a:gd name="T96" fmla="*/ 385277 w 790525"/>
              <a:gd name="T97" fmla="*/ 283646 h 826770"/>
              <a:gd name="T98" fmla="*/ 523363 w 790525"/>
              <a:gd name="T99" fmla="*/ 206056 h 826770"/>
              <a:gd name="T100" fmla="*/ 630222 w 790525"/>
              <a:gd name="T101" fmla="*/ 104300 h 826770"/>
              <a:gd name="T102" fmla="*/ 718389 w 790525"/>
              <a:gd name="T103" fmla="*/ 146274 h 826770"/>
              <a:gd name="T104" fmla="*/ 776563 w 790525"/>
              <a:gd name="T105" fmla="*/ 143730 h 826770"/>
              <a:gd name="T106" fmla="*/ 401575 w 790525"/>
              <a:gd name="T107" fmla="*/ 0 h 826770"/>
              <a:gd name="T108" fmla="*/ 238893 w 790525"/>
              <a:gd name="T109" fmla="*/ 73772 h 826770"/>
              <a:gd name="T110" fmla="*/ 152960 w 790525"/>
              <a:gd name="T111" fmla="*/ 129740 h 826770"/>
              <a:gd name="T112" fmla="*/ 177034 w 790525"/>
              <a:gd name="T113" fmla="*/ 142460 h 826770"/>
              <a:gd name="T114" fmla="*/ 231973 w 790525"/>
              <a:gd name="T115" fmla="*/ 109388 h 826770"/>
              <a:gd name="T116" fmla="*/ 575162 w 790525"/>
              <a:gd name="T117" fmla="*/ 72502 h 826770"/>
              <a:gd name="T118" fmla="*/ 503502 w 790525"/>
              <a:gd name="T119" fmla="*/ 47062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9240" name="object 24">
            <a:extLst>
              <a:ext uri="{FF2B5EF4-FFF2-40B4-BE49-F238E27FC236}">
                <a16:creationId xmlns:a16="http://schemas.microsoft.com/office/drawing/2014/main" id="{88239D59-9163-4A25-9248-E3A586375882}"/>
              </a:ext>
            </a:extLst>
          </p:cNvPr>
          <p:cNvSpPr txBox="1">
            <a:spLocks noChangeArrowheads="1"/>
          </p:cNvSpPr>
          <p:nvPr/>
        </p:nvSpPr>
        <p:spPr bwMode="auto">
          <a:xfrm>
            <a:off x="6654155" y="1548755"/>
            <a:ext cx="2112411" cy="1109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1444" dirty="0" err="1">
                <a:solidFill>
                  <a:srgbClr val="ED1C24"/>
                </a:solidFill>
                <a:latin typeface="Gill Sans" pitchFamily="34" charset="0"/>
                <a:cs typeface="Gill Sans" pitchFamily="34" charset="0"/>
              </a:rPr>
              <a:t>ပြင်းထန</a:t>
            </a:r>
            <a:r>
              <a:rPr lang="en-US" altLang="en-US" sz="1444" dirty="0">
                <a:solidFill>
                  <a:srgbClr val="ED1C24"/>
                </a:solidFill>
                <a:latin typeface="Gill Sans" pitchFamily="34" charset="0"/>
                <a:cs typeface="Gill Sans" pitchFamily="34" charset="0"/>
              </a:rPr>
              <a:t>် </a:t>
            </a:r>
            <a:r>
              <a:rPr lang="en-US" altLang="en-US" sz="1444" dirty="0" err="1">
                <a:solidFill>
                  <a:srgbClr val="ED1C24"/>
                </a:solidFill>
                <a:latin typeface="Gill Sans" pitchFamily="34" charset="0"/>
                <a:cs typeface="Gill Sans" pitchFamily="34" charset="0"/>
              </a:rPr>
              <a:t>လက္ခဏာများ</a:t>
            </a:r>
            <a:endParaRPr lang="en-US" altLang="en-US" sz="1444" dirty="0">
              <a:latin typeface="Gill Sans" pitchFamily="34" charset="0"/>
              <a:cs typeface="Gill Sans" pitchFamily="34" charset="0"/>
            </a:endParaRPr>
          </a:p>
          <a:p>
            <a:pPr eaLnBrk="1" hangingPunct="1">
              <a:lnSpc>
                <a:spcPct val="100000"/>
              </a:lnSpc>
              <a:spcBef>
                <a:spcPct val="0"/>
              </a:spcBef>
              <a:buFontTx/>
              <a:buNone/>
            </a:pPr>
            <a:r>
              <a:rPr lang="en-US" altLang="en-US" sz="1444" dirty="0">
                <a:solidFill>
                  <a:srgbClr val="ED1C24"/>
                </a:solidFill>
                <a:latin typeface="Gill Sans" pitchFamily="34" charset="0"/>
                <a:cs typeface="Gill Sans" pitchFamily="34" charset="0"/>
              </a:rPr>
              <a:t>e.g.</a:t>
            </a:r>
            <a:endParaRPr lang="en-US" altLang="en-US" sz="1444" dirty="0">
              <a:latin typeface="Gill Sans" pitchFamily="34" charset="0"/>
              <a:cs typeface="Gill Sans" pitchFamily="34" charset="0"/>
            </a:endParaRPr>
          </a:p>
          <a:p>
            <a:pPr eaLnBrk="1" hangingPunct="1">
              <a:lnSpc>
                <a:spcPct val="100000"/>
              </a:lnSpc>
              <a:spcBef>
                <a:spcPct val="0"/>
              </a:spcBef>
              <a:buFontTx/>
              <a:buNone/>
            </a:pPr>
            <a:r>
              <a:rPr lang="en-US" altLang="en-US" sz="1444" dirty="0" err="1">
                <a:solidFill>
                  <a:srgbClr val="231F20"/>
                </a:solidFill>
                <a:latin typeface="Gill Sans Light"/>
                <a:ea typeface="Gill Sans Light"/>
                <a:cs typeface="Gill Sans Light"/>
              </a:rPr>
              <a:t>ဆက်ဆံရေးတုငိးမှာ</a:t>
            </a:r>
            <a:r>
              <a:rPr lang="en-US" altLang="en-US" sz="1444" dirty="0">
                <a:solidFill>
                  <a:srgbClr val="231F20"/>
                </a:solidFill>
                <a:latin typeface="Gill Sans Light"/>
                <a:ea typeface="Gill Sans Light"/>
                <a:cs typeface="Gill Sans Light"/>
              </a:rPr>
              <a:t> ပြဿ</a:t>
            </a:r>
            <a:r>
              <a:rPr lang="en-US" altLang="en-US" sz="1444" dirty="0" err="1">
                <a:solidFill>
                  <a:srgbClr val="231F20"/>
                </a:solidFill>
                <a:latin typeface="Gill Sans Light"/>
                <a:ea typeface="Gill Sans Light"/>
                <a:cs typeface="Gill Sans Light"/>
              </a:rPr>
              <a:t>နာ</a:t>
            </a:r>
            <a:endParaRPr lang="en-US" altLang="en-US" sz="1444" dirty="0">
              <a:solidFill>
                <a:srgbClr val="231F20"/>
              </a:solidFill>
              <a:latin typeface="Gill Sans Light"/>
              <a:ea typeface="Gill Sans Light"/>
              <a:cs typeface="Gill Sans Light"/>
            </a:endParaRPr>
          </a:p>
          <a:p>
            <a:pPr eaLnBrk="1" hangingPunct="1">
              <a:lnSpc>
                <a:spcPct val="100000"/>
              </a:lnSpc>
              <a:spcBef>
                <a:spcPct val="0"/>
              </a:spcBef>
              <a:buFontTx/>
              <a:buNone/>
            </a:pPr>
            <a:r>
              <a:rPr lang="en-US" altLang="en-US" sz="1444" dirty="0" err="1">
                <a:solidFill>
                  <a:srgbClr val="231F20"/>
                </a:solidFill>
                <a:latin typeface="Gill Sans Light"/>
                <a:ea typeface="Gill Sans Light"/>
                <a:cs typeface="Gill Sans Light"/>
              </a:rPr>
              <a:t>ကျန်းမာရေး</a:t>
            </a:r>
            <a:r>
              <a:rPr lang="en-US" altLang="en-US" sz="1444" dirty="0">
                <a:solidFill>
                  <a:srgbClr val="231F20"/>
                </a:solidFill>
                <a:latin typeface="Gill Sans Light"/>
                <a:ea typeface="Gill Sans Light"/>
                <a:cs typeface="Gill Sans Light"/>
              </a:rPr>
              <a:t> </a:t>
            </a:r>
            <a:r>
              <a:rPr lang="en-US" altLang="en-US" sz="1444" dirty="0" err="1">
                <a:solidFill>
                  <a:srgbClr val="231F20"/>
                </a:solidFill>
                <a:latin typeface="Gill Sans Light"/>
                <a:ea typeface="Gill Sans Light"/>
                <a:cs typeface="Gill Sans Light"/>
              </a:rPr>
              <a:t>ဆိုးရွား</a:t>
            </a:r>
            <a:endParaRPr lang="en-US" altLang="en-US" sz="1444" dirty="0">
              <a:solidFill>
                <a:srgbClr val="231F20"/>
              </a:solidFill>
              <a:latin typeface="Gill Sans Light"/>
              <a:ea typeface="Gill Sans Light"/>
              <a:cs typeface="Gill Sans Light"/>
            </a:endParaRPr>
          </a:p>
          <a:p>
            <a:pPr eaLnBrk="1" hangingPunct="1">
              <a:lnSpc>
                <a:spcPct val="100000"/>
              </a:lnSpc>
              <a:spcBef>
                <a:spcPct val="0"/>
              </a:spcBef>
              <a:buFontTx/>
              <a:buNone/>
            </a:pPr>
            <a:r>
              <a:rPr lang="en-US" altLang="en-US" sz="1444" dirty="0" err="1">
                <a:solidFill>
                  <a:srgbClr val="231F20"/>
                </a:solidFill>
                <a:latin typeface="Gill Sans Light"/>
                <a:ea typeface="Gill Sans Light"/>
                <a:cs typeface="Gill Sans Light"/>
              </a:rPr>
              <a:t>ကိုယ</a:t>
            </a:r>
            <a:r>
              <a:rPr lang="en-US" altLang="en-US" sz="1444" dirty="0">
                <a:solidFill>
                  <a:srgbClr val="231F20"/>
                </a:solidFill>
                <a:latin typeface="Gill Sans Light"/>
                <a:ea typeface="Gill Sans Light"/>
                <a:cs typeface="Gill Sans Light"/>
              </a:rPr>
              <a:t>့်</a:t>
            </a:r>
            <a:r>
              <a:rPr lang="en-US" altLang="en-US" sz="1444" dirty="0" err="1">
                <a:solidFill>
                  <a:srgbClr val="231F20"/>
                </a:solidFill>
                <a:latin typeface="Gill Sans Light"/>
                <a:ea typeface="Gill Sans Light"/>
                <a:cs typeface="Gill Sans Light"/>
              </a:rPr>
              <a:t>ရဲ</a:t>
            </a:r>
            <a:r>
              <a:rPr lang="en-US" altLang="en-US" sz="1444" dirty="0">
                <a:solidFill>
                  <a:srgbClr val="231F20"/>
                </a:solidFill>
                <a:latin typeface="Gill Sans Light"/>
                <a:ea typeface="Gill Sans Light"/>
                <a:cs typeface="Gill Sans Light"/>
              </a:rPr>
              <a:t>့ </a:t>
            </a:r>
            <a:r>
              <a:rPr lang="en-US" altLang="en-US" sz="1444" dirty="0" err="1">
                <a:solidFill>
                  <a:srgbClr val="231F20"/>
                </a:solidFill>
                <a:latin typeface="Gill Sans Light"/>
                <a:ea typeface="Gill Sans Light"/>
                <a:cs typeface="Gill Sans Light"/>
              </a:rPr>
              <a:t>အနေအထိုင</a:t>
            </a:r>
            <a:r>
              <a:rPr lang="en-US" altLang="en-US" sz="1444" dirty="0">
                <a:solidFill>
                  <a:srgbClr val="231F20"/>
                </a:solidFill>
                <a:latin typeface="Gill Sans Light"/>
                <a:ea typeface="Gill Sans Light"/>
                <a:cs typeface="Gill Sans Light"/>
              </a:rPr>
              <a:t>် </a:t>
            </a:r>
            <a:r>
              <a:rPr lang="en-US" altLang="en-US" sz="1444" dirty="0" err="1">
                <a:solidFill>
                  <a:srgbClr val="231F20"/>
                </a:solidFill>
                <a:latin typeface="Gill Sans Light"/>
                <a:ea typeface="Gill Sans Light"/>
                <a:cs typeface="Gill Sans Light"/>
              </a:rPr>
              <a:t>အပြောအဆို</a:t>
            </a:r>
            <a:r>
              <a:rPr lang="en-US" altLang="en-US" sz="1444" dirty="0">
                <a:solidFill>
                  <a:srgbClr val="231F20"/>
                </a:solidFill>
                <a:latin typeface="Gill Sans Light"/>
                <a:ea typeface="Gill Sans Light"/>
                <a:cs typeface="Gill Sans Light"/>
              </a:rPr>
              <a:t> </a:t>
            </a:r>
            <a:r>
              <a:rPr lang="en-US" altLang="en-US" sz="1444" dirty="0" err="1">
                <a:solidFill>
                  <a:srgbClr val="231F20"/>
                </a:solidFill>
                <a:latin typeface="Gill Sans Light"/>
                <a:ea typeface="Gill Sans Light"/>
                <a:cs typeface="Gill Sans Light"/>
              </a:rPr>
              <a:t>လုံးဝပြောင်းလဲလာ</a:t>
            </a:r>
            <a:endParaRPr lang="en-US" altLang="en-US" sz="1444" dirty="0">
              <a:latin typeface="Gill Sans Light"/>
              <a:ea typeface="Gill Sans Light"/>
              <a:cs typeface="Gill Sans Light"/>
            </a:endParaRPr>
          </a:p>
        </p:txBody>
      </p:sp>
      <p:sp>
        <p:nvSpPr>
          <p:cNvPr id="9241" name="object 25">
            <a:extLst>
              <a:ext uri="{FF2B5EF4-FFF2-40B4-BE49-F238E27FC236}">
                <a16:creationId xmlns:a16="http://schemas.microsoft.com/office/drawing/2014/main" id="{3FE7841B-7070-4E1A-A1E6-338A63AA044C}"/>
              </a:ext>
            </a:extLst>
          </p:cNvPr>
          <p:cNvSpPr txBox="1">
            <a:spLocks noChangeArrowheads="1"/>
          </p:cNvSpPr>
          <p:nvPr/>
        </p:nvSpPr>
        <p:spPr bwMode="auto">
          <a:xfrm>
            <a:off x="4636179" y="2475685"/>
            <a:ext cx="2112411" cy="1109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50000"/>
              </a:lnSpc>
              <a:spcBef>
                <a:spcPct val="0"/>
              </a:spcBef>
              <a:buFontTx/>
              <a:buNone/>
            </a:pPr>
            <a:r>
              <a:rPr lang="en-US" altLang="en-US" sz="1444">
                <a:solidFill>
                  <a:srgbClr val="ED1C24"/>
                </a:solidFill>
                <a:latin typeface="Gill Sans" pitchFamily="34" charset="0"/>
                <a:cs typeface="Gill Sans" pitchFamily="34" charset="0"/>
              </a:rPr>
              <a:t>ထပ်တိုး လက္ခဏာများ</a:t>
            </a:r>
            <a:endParaRPr lang="en-US" altLang="en-US" sz="1444">
              <a:latin typeface="Gill Sans" pitchFamily="34" charset="0"/>
              <a:cs typeface="Gill Sans" pitchFamily="34" charset="0"/>
            </a:endParaRPr>
          </a:p>
          <a:p>
            <a:pPr eaLnBrk="1" hangingPunct="1">
              <a:lnSpc>
                <a:spcPct val="150000"/>
              </a:lnSpc>
              <a:spcBef>
                <a:spcPct val="0"/>
              </a:spcBef>
              <a:buFontTx/>
              <a:buNone/>
            </a:pPr>
            <a:r>
              <a:rPr lang="en-US" altLang="en-US" sz="1444">
                <a:solidFill>
                  <a:srgbClr val="ED1C24"/>
                </a:solidFill>
                <a:latin typeface="Gill Sans" pitchFamily="34" charset="0"/>
                <a:cs typeface="Gill Sans" pitchFamily="34" charset="0"/>
              </a:rPr>
              <a:t>e.g.</a:t>
            </a:r>
            <a:endParaRPr lang="en-US" altLang="en-US" sz="1444">
              <a:latin typeface="Gill Sans" pitchFamily="34" charset="0"/>
              <a:cs typeface="Gill Sans" pitchFamily="34" charset="0"/>
            </a:endParaRPr>
          </a:p>
          <a:p>
            <a:pPr eaLnBrk="1" hangingPunct="1">
              <a:lnSpc>
                <a:spcPct val="150000"/>
              </a:lnSpc>
              <a:spcBef>
                <a:spcPct val="0"/>
              </a:spcBef>
              <a:buFontTx/>
              <a:buNone/>
            </a:pPr>
            <a:r>
              <a:rPr lang="en-US" altLang="en-US" sz="1444">
                <a:solidFill>
                  <a:srgbClr val="231F20"/>
                </a:solidFill>
                <a:latin typeface="Gill Sans Light"/>
                <a:ea typeface="Gill Sans Light"/>
                <a:cs typeface="Gill Sans Light"/>
              </a:rPr>
              <a:t>လူမှုဆက်ဆံရေး အခက်အခဲ</a:t>
            </a:r>
          </a:p>
          <a:p>
            <a:pPr eaLnBrk="1" hangingPunct="1">
              <a:lnSpc>
                <a:spcPct val="150000"/>
              </a:lnSpc>
              <a:spcBef>
                <a:spcPct val="0"/>
              </a:spcBef>
              <a:buFontTx/>
              <a:buNone/>
            </a:pPr>
            <a:r>
              <a:rPr lang="en-US" altLang="en-US" sz="1444">
                <a:solidFill>
                  <a:srgbClr val="231F20"/>
                </a:solidFill>
                <a:latin typeface="Gill Sans Light"/>
                <a:ea typeface="Gill Sans Light"/>
                <a:cs typeface="Gill Sans Light"/>
              </a:rPr>
              <a:t>အရက် မူးယစ်ဆေးဝါးပိုသုံး</a:t>
            </a:r>
          </a:p>
          <a:p>
            <a:pPr eaLnBrk="1" hangingPunct="1">
              <a:lnSpc>
                <a:spcPct val="150000"/>
              </a:lnSpc>
              <a:spcBef>
                <a:spcPct val="0"/>
              </a:spcBef>
              <a:buFontTx/>
              <a:buNone/>
            </a:pPr>
            <a:r>
              <a:rPr lang="en-US" altLang="en-US" sz="1444">
                <a:solidFill>
                  <a:srgbClr val="231F20"/>
                </a:solidFill>
                <a:latin typeface="Gill Sans Light"/>
                <a:ea typeface="Gill Sans Light"/>
                <a:cs typeface="Gill Sans Light"/>
              </a:rPr>
              <a:t>လုပ်နိုင်ရည်တွေ ပြောင်း</a:t>
            </a:r>
            <a:endParaRPr lang="en-US" altLang="en-US" sz="1444">
              <a:latin typeface="Gill Sans Light"/>
              <a:ea typeface="Gill Sans Light"/>
              <a:cs typeface="Gill Sans Light"/>
            </a:endParaRPr>
          </a:p>
        </p:txBody>
      </p:sp>
      <p:sp>
        <p:nvSpPr>
          <p:cNvPr id="26" name="object 26">
            <a:extLst>
              <a:ext uri="{FF2B5EF4-FFF2-40B4-BE49-F238E27FC236}">
                <a16:creationId xmlns:a16="http://schemas.microsoft.com/office/drawing/2014/main" id="{409E6963-1CB8-4109-9857-34C12AB3016D}"/>
              </a:ext>
            </a:extLst>
          </p:cNvPr>
          <p:cNvSpPr txBox="1"/>
          <p:nvPr/>
        </p:nvSpPr>
        <p:spPr>
          <a:xfrm>
            <a:off x="2977607" y="3440206"/>
            <a:ext cx="1263412" cy="447420"/>
          </a:xfrm>
          <a:prstGeom prst="rect">
            <a:avLst/>
          </a:prstGeom>
        </p:spPr>
        <p:txBody>
          <a:bodyPr lIns="0" tIns="0" rIns="0" bIns="0"/>
          <a:lstStyle/>
          <a:p>
            <a:pPr marL="7334">
              <a:defRPr/>
            </a:pPr>
            <a:r>
              <a:rPr lang="en-US" sz="1444" dirty="0" err="1">
                <a:solidFill>
                  <a:srgbClr val="ED1C24"/>
                </a:solidFill>
                <a:latin typeface="Gill Sans"/>
                <a:cs typeface="Gill Sans"/>
              </a:rPr>
              <a:t>အသေးစား</a:t>
            </a:r>
            <a:r>
              <a:rPr lang="en-US" sz="1444" dirty="0">
                <a:solidFill>
                  <a:srgbClr val="ED1C24"/>
                </a:solidFill>
                <a:latin typeface="Gill Sans"/>
                <a:cs typeface="Gill Sans"/>
              </a:rPr>
              <a:t> </a:t>
            </a:r>
            <a:r>
              <a:rPr lang="en-US" sz="1444" dirty="0" err="1">
                <a:solidFill>
                  <a:srgbClr val="ED1C24"/>
                </a:solidFill>
                <a:latin typeface="Gill Sans"/>
                <a:cs typeface="Gill Sans"/>
              </a:rPr>
              <a:t>လက္ခဏာများ</a:t>
            </a:r>
            <a:endParaRPr sz="1444" dirty="0">
              <a:latin typeface="Gill Sans"/>
              <a:cs typeface="Gill Sans"/>
            </a:endParaRPr>
          </a:p>
          <a:p>
            <a:pPr marL="7334">
              <a:defRPr/>
            </a:pPr>
            <a:r>
              <a:rPr sz="1444" spc="29" dirty="0">
                <a:solidFill>
                  <a:srgbClr val="ED1C24"/>
                </a:solidFill>
                <a:latin typeface="Gill Sans"/>
                <a:cs typeface="Gill Sans"/>
              </a:rPr>
              <a:t>e</a:t>
            </a:r>
            <a:r>
              <a:rPr sz="1444" dirty="0">
                <a:solidFill>
                  <a:srgbClr val="ED1C24"/>
                </a:solidFill>
                <a:latin typeface="Gill Sans"/>
                <a:cs typeface="Gill Sans"/>
              </a:rPr>
              <a:t>.g.</a:t>
            </a:r>
            <a:endParaRPr sz="1444" dirty="0">
              <a:latin typeface="Gill Sans"/>
              <a:cs typeface="Gill Sans"/>
            </a:endParaRPr>
          </a:p>
        </p:txBody>
      </p:sp>
      <p:sp>
        <p:nvSpPr>
          <p:cNvPr id="9243" name="object 27">
            <a:extLst>
              <a:ext uri="{FF2B5EF4-FFF2-40B4-BE49-F238E27FC236}">
                <a16:creationId xmlns:a16="http://schemas.microsoft.com/office/drawing/2014/main" id="{37286DA2-F846-4E0C-8080-3EFD058237C1}"/>
              </a:ext>
            </a:extLst>
          </p:cNvPr>
          <p:cNvSpPr txBox="1">
            <a:spLocks noChangeArrowheads="1"/>
          </p:cNvSpPr>
          <p:nvPr/>
        </p:nvSpPr>
        <p:spPr bwMode="auto">
          <a:xfrm>
            <a:off x="2977607" y="4091166"/>
            <a:ext cx="2246270" cy="669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50000"/>
              </a:lnSpc>
              <a:spcBef>
                <a:spcPct val="0"/>
              </a:spcBef>
              <a:buFont typeface="Arial" panose="020B0604020202020204" pitchFamily="34" charset="0"/>
              <a:buNone/>
            </a:pPr>
            <a:r>
              <a:rPr lang="en-US" altLang="en-US" sz="1386">
                <a:solidFill>
                  <a:srgbClr val="231F20"/>
                </a:solidFill>
                <a:latin typeface="Gill Sans Light"/>
                <a:ea typeface="Gill Sans Light"/>
                <a:cs typeface="Gill Sans Light"/>
              </a:rPr>
              <a:t>မေ့လာ</a:t>
            </a:r>
          </a:p>
          <a:p>
            <a:pPr eaLnBrk="1" hangingPunct="1">
              <a:lnSpc>
                <a:spcPct val="150000"/>
              </a:lnSpc>
              <a:spcBef>
                <a:spcPct val="0"/>
              </a:spcBef>
              <a:buFontTx/>
              <a:buNone/>
            </a:pPr>
            <a:r>
              <a:rPr lang="en-US" altLang="en-US" sz="1386">
                <a:solidFill>
                  <a:srgbClr val="231F20"/>
                </a:solidFill>
                <a:latin typeface="Gill Sans Light"/>
                <a:ea typeface="Gill Sans Light"/>
                <a:cs typeface="Gill Sans Light"/>
              </a:rPr>
              <a:t>အာရုံစိုက်ရန်ခက်ခဲလာခြင်း</a:t>
            </a:r>
          </a:p>
          <a:p>
            <a:pPr eaLnBrk="1" hangingPunct="1">
              <a:lnSpc>
                <a:spcPct val="150000"/>
              </a:lnSpc>
              <a:spcBef>
                <a:spcPct val="0"/>
              </a:spcBef>
              <a:buFontTx/>
              <a:buNone/>
            </a:pPr>
            <a:r>
              <a:rPr lang="en-US" altLang="en-US" sz="1386">
                <a:solidFill>
                  <a:srgbClr val="231F20"/>
                </a:solidFill>
                <a:latin typeface="Gill Sans Light"/>
                <a:ea typeface="Gill Sans Light"/>
                <a:cs typeface="Gill Sans Light"/>
              </a:rPr>
              <a:t>အသေးစားကျန်းမာရေး ယိုယွင်းမှုများ</a:t>
            </a:r>
            <a:endParaRPr lang="en-US" altLang="en-US" sz="1386">
              <a:latin typeface="Gill Sans Light"/>
              <a:ea typeface="Gill Sans Light"/>
              <a:cs typeface="Gill Sans Light"/>
            </a:endParaRPr>
          </a:p>
        </p:txBody>
      </p:sp>
      <p:sp>
        <p:nvSpPr>
          <p:cNvPr id="9244" name="object 28">
            <a:extLst>
              <a:ext uri="{FF2B5EF4-FFF2-40B4-BE49-F238E27FC236}">
                <a16:creationId xmlns:a16="http://schemas.microsoft.com/office/drawing/2014/main" id="{A4385112-1A0C-4DAD-85D7-EB5F0BD6226F}"/>
              </a:ext>
            </a:extLst>
          </p:cNvPr>
          <p:cNvSpPr txBox="1">
            <a:spLocks noChangeArrowheads="1"/>
          </p:cNvSpPr>
          <p:nvPr/>
        </p:nvSpPr>
        <p:spPr bwMode="auto">
          <a:xfrm>
            <a:off x="720335" y="4309375"/>
            <a:ext cx="2257272" cy="132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50000"/>
              </a:lnSpc>
              <a:spcBef>
                <a:spcPct val="0"/>
              </a:spcBef>
              <a:buFontTx/>
              <a:buNone/>
            </a:pPr>
            <a:r>
              <a:rPr lang="en-US" altLang="en-US" sz="1444">
                <a:solidFill>
                  <a:srgbClr val="ED1C24"/>
                </a:solidFill>
                <a:latin typeface="Gill Sans" pitchFamily="34" charset="0"/>
                <a:cs typeface="Gill Sans" pitchFamily="34" charset="0"/>
              </a:rPr>
              <a:t>အစောပိုင်း လက္ခဏာများ</a:t>
            </a:r>
            <a:endParaRPr lang="en-US" altLang="en-US" sz="1444">
              <a:latin typeface="Gill Sans" pitchFamily="34" charset="0"/>
              <a:cs typeface="Gill Sans" pitchFamily="34" charset="0"/>
            </a:endParaRPr>
          </a:p>
          <a:p>
            <a:pPr eaLnBrk="1" hangingPunct="1">
              <a:lnSpc>
                <a:spcPct val="150000"/>
              </a:lnSpc>
              <a:spcBef>
                <a:spcPct val="0"/>
              </a:spcBef>
              <a:buFontTx/>
              <a:buNone/>
            </a:pPr>
            <a:r>
              <a:rPr lang="en-US" altLang="en-US" sz="1386">
                <a:solidFill>
                  <a:srgbClr val="231F20"/>
                </a:solidFill>
                <a:latin typeface="Gill Sans Light"/>
                <a:ea typeface="Gill Sans Light"/>
                <a:cs typeface="Gill Sans Light"/>
              </a:rPr>
              <a:t>လုပ်ချင်ကိုင်စိတ်ပျောက်လာ</a:t>
            </a:r>
          </a:p>
          <a:p>
            <a:pPr eaLnBrk="1" hangingPunct="1">
              <a:lnSpc>
                <a:spcPct val="150000"/>
              </a:lnSpc>
              <a:spcBef>
                <a:spcPct val="0"/>
              </a:spcBef>
              <a:buFontTx/>
              <a:buNone/>
            </a:pPr>
            <a:r>
              <a:rPr lang="en-US" altLang="en-US" sz="1386">
                <a:solidFill>
                  <a:srgbClr val="231F20"/>
                </a:solidFill>
                <a:latin typeface="Gill Sans Light"/>
                <a:ea typeface="Gill Sans Light"/>
                <a:cs typeface="Gill Sans Light"/>
              </a:rPr>
              <a:t>စိုးရိမ်ပူပန်</a:t>
            </a:r>
          </a:p>
          <a:p>
            <a:pPr eaLnBrk="1" hangingPunct="1">
              <a:lnSpc>
                <a:spcPct val="150000"/>
              </a:lnSpc>
              <a:spcBef>
                <a:spcPct val="0"/>
              </a:spcBef>
              <a:buFontTx/>
              <a:buNone/>
            </a:pPr>
            <a:r>
              <a:rPr lang="en-US" altLang="en-US" sz="1386">
                <a:solidFill>
                  <a:srgbClr val="231F20"/>
                </a:solidFill>
                <a:latin typeface="Gill Sans Light"/>
                <a:ea typeface="Gill Sans Light"/>
                <a:cs typeface="Gill Sans Light"/>
              </a:rPr>
              <a:t>ဝမ်းနည်း</a:t>
            </a:r>
            <a:endParaRPr lang="en-US" altLang="en-US" sz="1386">
              <a:latin typeface="Gill Sans Light"/>
              <a:ea typeface="Gill Sans Light"/>
              <a:cs typeface="Gill Sans Light"/>
            </a:endParaRPr>
          </a:p>
        </p:txBody>
      </p:sp>
      <p:sp>
        <p:nvSpPr>
          <p:cNvPr id="9245" name="object 29">
            <a:extLst>
              <a:ext uri="{FF2B5EF4-FFF2-40B4-BE49-F238E27FC236}">
                <a16:creationId xmlns:a16="http://schemas.microsoft.com/office/drawing/2014/main" id="{3E95C261-F0D6-4ACD-800F-B37DE799E1C2}"/>
              </a:ext>
            </a:extLst>
          </p:cNvPr>
          <p:cNvSpPr txBox="1">
            <a:spLocks noChangeArrowheads="1"/>
          </p:cNvSpPr>
          <p:nvPr/>
        </p:nvSpPr>
        <p:spPr bwMode="auto">
          <a:xfrm>
            <a:off x="320590" y="463694"/>
            <a:ext cx="5470610" cy="106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772" dirty="0" err="1">
                <a:latin typeface="Gill Sans" pitchFamily="34" charset="0"/>
                <a:cs typeface="Gill Sans" pitchFamily="34" charset="0"/>
              </a:rPr>
              <a:t>စိတ်ဖိစီးမှု</a:t>
            </a:r>
            <a:r>
              <a:rPr lang="en-US" altLang="en-US" sz="2772" dirty="0">
                <a:latin typeface="Gill Sans" pitchFamily="34" charset="0"/>
                <a:cs typeface="Gill Sans" pitchFamily="34" charset="0"/>
              </a:rPr>
              <a:t> </a:t>
            </a:r>
            <a:r>
              <a:rPr lang="en-US" altLang="en-US" sz="2772" dirty="0" err="1">
                <a:latin typeface="Gill Sans" pitchFamily="34" charset="0"/>
                <a:cs typeface="Gill Sans" pitchFamily="34" charset="0"/>
              </a:rPr>
              <a:t>စုပုံလာခြင်း</a:t>
            </a:r>
            <a:r>
              <a:rPr lang="en-US" altLang="en-US" sz="2772" dirty="0">
                <a:latin typeface="Gill Sans" pitchFamily="34" charset="0"/>
                <a:cs typeface="Gill Sans" pitchFamily="34" charset="0"/>
              </a:rPr>
              <a:t> </a:t>
            </a:r>
            <a:r>
              <a:rPr lang="en-US" altLang="en-US" sz="2772" dirty="0" err="1">
                <a:latin typeface="Gill Sans" pitchFamily="34" charset="0"/>
                <a:cs typeface="Gill Sans" pitchFamily="34" charset="0"/>
              </a:rPr>
              <a:t>လက္ခဏာများ</a:t>
            </a:r>
            <a:endParaRPr lang="en-US" altLang="en-US" sz="2772" dirty="0">
              <a:latin typeface="Gill Sans Light"/>
              <a:ea typeface="Gill Sans Light"/>
              <a:cs typeface="Gill Sans Light"/>
            </a:endParaRPr>
          </a:p>
        </p:txBody>
      </p:sp>
      <p:sp>
        <p:nvSpPr>
          <p:cNvPr id="9246" name="object 30">
            <a:extLst>
              <a:ext uri="{FF2B5EF4-FFF2-40B4-BE49-F238E27FC236}">
                <a16:creationId xmlns:a16="http://schemas.microsoft.com/office/drawing/2014/main" id="{BDC32CFB-2DEE-4A42-B90B-DF6F3DB280F1}"/>
              </a:ext>
            </a:extLst>
          </p:cNvPr>
          <p:cNvSpPr>
            <a:spLocks/>
          </p:cNvSpPr>
          <p:nvPr/>
        </p:nvSpPr>
        <p:spPr bwMode="auto">
          <a:xfrm>
            <a:off x="1066800" y="1348781"/>
            <a:ext cx="5625760" cy="2842219"/>
          </a:xfrm>
          <a:custGeom>
            <a:avLst/>
            <a:gdLst>
              <a:gd name="T0" fmla="*/ 0 w 9740874"/>
              <a:gd name="T1" fmla="*/ 4924110 h 4920297"/>
              <a:gd name="T2" fmla="*/ 3134912 w 9740874"/>
              <a:gd name="T3" fmla="*/ 4924110 h 4920297"/>
              <a:gd name="T4" fmla="*/ 3134912 w 9740874"/>
              <a:gd name="T5" fmla="*/ 3505514 h 4920297"/>
              <a:gd name="T6" fmla="*/ 5798943 w 9740874"/>
              <a:gd name="T7" fmla="*/ 3505514 h 4920297"/>
              <a:gd name="T8" fmla="*/ 5798943 w 9740874"/>
              <a:gd name="T9" fmla="*/ 1902268 h 4920297"/>
              <a:gd name="T10" fmla="*/ 9064174 w 9740874"/>
              <a:gd name="T11" fmla="*/ 1902268 h 4920297"/>
              <a:gd name="T12" fmla="*/ 9064174 w 9740874"/>
              <a:gd name="T13" fmla="*/ 677319 h 4920297"/>
              <a:gd name="T14" fmla="*/ 9740978 w 9740874"/>
              <a:gd name="T15" fmla="*/ 0 h 492029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9740874" h="4920297">
                <a:moveTo>
                  <a:pt x="0" y="4920297"/>
                </a:moveTo>
                <a:lnTo>
                  <a:pt x="3134880" y="4920297"/>
                </a:lnTo>
                <a:lnTo>
                  <a:pt x="3134880" y="3502799"/>
                </a:lnTo>
                <a:lnTo>
                  <a:pt x="5798883" y="3502799"/>
                </a:lnTo>
                <a:lnTo>
                  <a:pt x="5798883" y="1900796"/>
                </a:lnTo>
                <a:lnTo>
                  <a:pt x="9064078" y="1900796"/>
                </a:lnTo>
                <a:lnTo>
                  <a:pt x="9064078" y="676795"/>
                </a:lnTo>
                <a:lnTo>
                  <a:pt x="9740874"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040"/>
          </a:p>
        </p:txBody>
      </p:sp>
      <p:sp>
        <p:nvSpPr>
          <p:cNvPr id="9247" name="object 31">
            <a:extLst>
              <a:ext uri="{FF2B5EF4-FFF2-40B4-BE49-F238E27FC236}">
                <a16:creationId xmlns:a16="http://schemas.microsoft.com/office/drawing/2014/main" id="{09340700-FA9D-4952-9403-F39D191D4F88}"/>
              </a:ext>
            </a:extLst>
          </p:cNvPr>
          <p:cNvSpPr>
            <a:spLocks/>
          </p:cNvSpPr>
          <p:nvPr/>
        </p:nvSpPr>
        <p:spPr bwMode="auto">
          <a:xfrm>
            <a:off x="6645324" y="1225017"/>
            <a:ext cx="154947" cy="157697"/>
          </a:xfrm>
          <a:custGeom>
            <a:avLst/>
            <a:gdLst>
              <a:gd name="T0" fmla="*/ 258477 w 268320"/>
              <a:gd name="T1" fmla="*/ 0 h 273990"/>
              <a:gd name="T2" fmla="*/ 249019 w 268320"/>
              <a:gd name="T3" fmla="*/ 566 h 273990"/>
              <a:gd name="T4" fmla="*/ 10950 w 268320"/>
              <a:gd name="T5" fmla="*/ 66356 h 273990"/>
              <a:gd name="T6" fmla="*/ 914 w 268320"/>
              <a:gd name="T7" fmla="*/ 72640 h 273990"/>
              <a:gd name="T8" fmla="*/ 0 w 268320"/>
              <a:gd name="T9" fmla="*/ 81973 h 273990"/>
              <a:gd name="T10" fmla="*/ 67234 w 268320"/>
              <a:gd name="T11" fmla="*/ 145261 h 273990"/>
              <a:gd name="T12" fmla="*/ 199805 w 268320"/>
              <a:gd name="T13" fmla="*/ 265153 h 273990"/>
              <a:gd name="T14" fmla="*/ 210553 w 268320"/>
              <a:gd name="T15" fmla="*/ 270249 h 273990"/>
              <a:gd name="T16" fmla="*/ 219078 w 268320"/>
              <a:gd name="T17" fmla="*/ 266026 h 273990"/>
              <a:gd name="T18" fmla="*/ 268188 w 268320"/>
              <a:gd name="T19" fmla="*/ 17903 h 273990"/>
              <a:gd name="T20" fmla="*/ 266816 w 268320"/>
              <a:gd name="T21" fmla="*/ 5903 h 273990"/>
              <a:gd name="T22" fmla="*/ 258477 w 268320"/>
              <a:gd name="T23" fmla="*/ 0 h 2739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8320" h="273990">
                <a:moveTo>
                  <a:pt x="258605" y="0"/>
                </a:moveTo>
                <a:lnTo>
                  <a:pt x="249143" y="574"/>
                </a:lnTo>
                <a:lnTo>
                  <a:pt x="10954" y="67274"/>
                </a:lnTo>
                <a:lnTo>
                  <a:pt x="914" y="73646"/>
                </a:lnTo>
                <a:lnTo>
                  <a:pt x="0" y="83107"/>
                </a:lnTo>
                <a:lnTo>
                  <a:pt x="67266" y="147272"/>
                </a:lnTo>
                <a:lnTo>
                  <a:pt x="199905" y="268823"/>
                </a:lnTo>
                <a:lnTo>
                  <a:pt x="210657" y="273990"/>
                </a:lnTo>
                <a:lnTo>
                  <a:pt x="219186" y="269708"/>
                </a:lnTo>
                <a:lnTo>
                  <a:pt x="268320" y="18151"/>
                </a:lnTo>
                <a:lnTo>
                  <a:pt x="266948" y="5984"/>
                </a:lnTo>
                <a:lnTo>
                  <a:pt x="25860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object 2">
            <a:extLst>
              <a:ext uri="{FF2B5EF4-FFF2-40B4-BE49-F238E27FC236}">
                <a16:creationId xmlns:a16="http://schemas.microsoft.com/office/drawing/2014/main" id="{B8BAD732-18E6-46F4-9FF1-3C6A211F2034}"/>
              </a:ext>
            </a:extLst>
          </p:cNvPr>
          <p:cNvSpPr>
            <a:spLocks noChangeArrowheads="1"/>
          </p:cNvSpPr>
          <p:nvPr/>
        </p:nvSpPr>
        <p:spPr bwMode="auto">
          <a:xfrm>
            <a:off x="2445" y="6418"/>
            <a:ext cx="9140027" cy="5677104"/>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1040"/>
          </a:p>
        </p:txBody>
      </p:sp>
      <p:sp>
        <p:nvSpPr>
          <p:cNvPr id="10243" name="object 3">
            <a:extLst>
              <a:ext uri="{FF2B5EF4-FFF2-40B4-BE49-F238E27FC236}">
                <a16:creationId xmlns:a16="http://schemas.microsoft.com/office/drawing/2014/main" id="{6657A4E4-476A-47C1-BDB3-617B412D891C}"/>
              </a:ext>
            </a:extLst>
          </p:cNvPr>
          <p:cNvSpPr>
            <a:spLocks/>
          </p:cNvSpPr>
          <p:nvPr/>
        </p:nvSpPr>
        <p:spPr bwMode="auto">
          <a:xfrm>
            <a:off x="2445" y="5795377"/>
            <a:ext cx="9140027" cy="118273"/>
          </a:xfrm>
          <a:custGeom>
            <a:avLst/>
            <a:gdLst>
              <a:gd name="T0" fmla="*/ 0 w 15825596"/>
              <a:gd name="T1" fmla="*/ 206628 h 204177"/>
              <a:gd name="T2" fmla="*/ 15826364 w 15825596"/>
              <a:gd name="T3" fmla="*/ 206628 h 204177"/>
              <a:gd name="T4" fmla="*/ 15826364 w 15825596"/>
              <a:gd name="T5" fmla="*/ 0 h 204177"/>
              <a:gd name="T6" fmla="*/ 0 w 15825596"/>
              <a:gd name="T7" fmla="*/ 0 h 204177"/>
              <a:gd name="T8" fmla="*/ 0 w 15825596"/>
              <a:gd name="T9" fmla="*/ 206628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44" name="object 4">
            <a:extLst>
              <a:ext uri="{FF2B5EF4-FFF2-40B4-BE49-F238E27FC236}">
                <a16:creationId xmlns:a16="http://schemas.microsoft.com/office/drawing/2014/main" id="{0155756B-FD11-4726-A056-540546122706}"/>
              </a:ext>
            </a:extLst>
          </p:cNvPr>
          <p:cNvSpPr>
            <a:spLocks/>
          </p:cNvSpPr>
          <p:nvPr/>
        </p:nvSpPr>
        <p:spPr bwMode="auto">
          <a:xfrm>
            <a:off x="2445" y="5603756"/>
            <a:ext cx="1435779"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45" name="object 5">
            <a:extLst>
              <a:ext uri="{FF2B5EF4-FFF2-40B4-BE49-F238E27FC236}">
                <a16:creationId xmlns:a16="http://schemas.microsoft.com/office/drawing/2014/main" id="{1576CEE0-16B6-4DAE-B4C5-01C54951FA36}"/>
              </a:ext>
            </a:extLst>
          </p:cNvPr>
          <p:cNvSpPr>
            <a:spLocks/>
          </p:cNvSpPr>
          <p:nvPr/>
        </p:nvSpPr>
        <p:spPr bwMode="auto">
          <a:xfrm>
            <a:off x="2445" y="0"/>
            <a:ext cx="9140027"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46" name="object 6">
            <a:extLst>
              <a:ext uri="{FF2B5EF4-FFF2-40B4-BE49-F238E27FC236}">
                <a16:creationId xmlns:a16="http://schemas.microsoft.com/office/drawing/2014/main" id="{F4F14BCE-637C-49DC-ACB2-D83A41AE5D2E}"/>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47" name="object 7">
            <a:extLst>
              <a:ext uri="{FF2B5EF4-FFF2-40B4-BE49-F238E27FC236}">
                <a16:creationId xmlns:a16="http://schemas.microsoft.com/office/drawing/2014/main" id="{2B06B589-636D-4561-8BB3-A7F6E27A3E91}"/>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12</a:t>
            </a:r>
            <a:endParaRPr lang="en-US" altLang="en-US" sz="2021" dirty="0">
              <a:latin typeface="Gill Sans" pitchFamily="34" charset="0"/>
              <a:cs typeface="Gill Sans" pitchFamily="34" charset="0"/>
            </a:endParaRPr>
          </a:p>
        </p:txBody>
      </p:sp>
      <p:sp>
        <p:nvSpPr>
          <p:cNvPr id="10248" name="object 8">
            <a:extLst>
              <a:ext uri="{FF2B5EF4-FFF2-40B4-BE49-F238E27FC236}">
                <a16:creationId xmlns:a16="http://schemas.microsoft.com/office/drawing/2014/main" id="{BB7EF48F-4454-4D53-90CE-F33830AE37C6}"/>
              </a:ext>
            </a:extLst>
          </p:cNvPr>
          <p:cNvSpPr>
            <a:spLocks/>
          </p:cNvSpPr>
          <p:nvPr/>
        </p:nvSpPr>
        <p:spPr bwMode="auto">
          <a:xfrm>
            <a:off x="7137332" y="6343651"/>
            <a:ext cx="116440" cy="163198"/>
          </a:xfrm>
          <a:custGeom>
            <a:avLst/>
            <a:gdLst>
              <a:gd name="T0" fmla="*/ 5648 w 201527"/>
              <a:gd name="T1" fmla="*/ 197396 h 282176"/>
              <a:gd name="T2" fmla="*/ 8693 w 201527"/>
              <a:gd name="T3" fmla="*/ 258588 h 282176"/>
              <a:gd name="T4" fmla="*/ 49795 w 201527"/>
              <a:gd name="T5" fmla="*/ 276284 h 282176"/>
              <a:gd name="T6" fmla="*/ 90641 w 201527"/>
              <a:gd name="T7" fmla="*/ 283254 h 282176"/>
              <a:gd name="T8" fmla="*/ 107915 w 201527"/>
              <a:gd name="T9" fmla="*/ 283776 h 282176"/>
              <a:gd name="T10" fmla="*/ 123819 w 201527"/>
              <a:gd name="T11" fmla="*/ 282773 h 282176"/>
              <a:gd name="T12" fmla="*/ 165303 w 201527"/>
              <a:gd name="T13" fmla="*/ 270779 h 282176"/>
              <a:gd name="T14" fmla="*/ 194918 w 201527"/>
              <a:gd name="T15" fmla="*/ 245114 h 282176"/>
              <a:gd name="T16" fmla="*/ 201871 w 201527"/>
              <a:gd name="T17" fmla="*/ 232711 h 282176"/>
              <a:gd name="T18" fmla="*/ 89537 w 201527"/>
              <a:gd name="T19" fmla="*/ 232711 h 282176"/>
              <a:gd name="T20" fmla="*/ 78595 w 201527"/>
              <a:gd name="T21" fmla="*/ 231352 h 282176"/>
              <a:gd name="T22" fmla="*/ 33082 w 201527"/>
              <a:gd name="T23" fmla="*/ 214251 h 282176"/>
              <a:gd name="T24" fmla="*/ 19974 w 201527"/>
              <a:gd name="T25" fmla="*/ 206592 h 282176"/>
              <a:gd name="T26" fmla="*/ 5648 w 201527"/>
              <a:gd name="T27" fmla="*/ 197396 h 282176"/>
              <a:gd name="T28" fmla="*/ 97562 w 201527"/>
              <a:gd name="T29" fmla="*/ 0 h 282176"/>
              <a:gd name="T30" fmla="*/ 50219 w 201527"/>
              <a:gd name="T31" fmla="*/ 9555 h 282176"/>
              <a:gd name="T32" fmla="*/ 17183 w 201527"/>
              <a:gd name="T33" fmla="*/ 32599 h 282176"/>
              <a:gd name="T34" fmla="*/ 0 w 201527"/>
              <a:gd name="T35" fmla="*/ 80848 h 282176"/>
              <a:gd name="T36" fmla="*/ 1617 w 201527"/>
              <a:gd name="T37" fmla="*/ 96947 h 282176"/>
              <a:gd name="T38" fmla="*/ 20203 w 201527"/>
              <a:gd name="T39" fmla="*/ 133251 h 282176"/>
              <a:gd name="T40" fmla="*/ 52296 w 201527"/>
              <a:gd name="T41" fmla="*/ 156189 h 282176"/>
              <a:gd name="T42" fmla="*/ 100339 w 201527"/>
              <a:gd name="T43" fmla="*/ 176253 h 282176"/>
              <a:gd name="T44" fmla="*/ 111031 w 201527"/>
              <a:gd name="T45" fmla="*/ 180857 h 282176"/>
              <a:gd name="T46" fmla="*/ 139718 w 201527"/>
              <a:gd name="T47" fmla="*/ 212422 h 282176"/>
              <a:gd name="T48" fmla="*/ 135314 w 201527"/>
              <a:gd name="T49" fmla="*/ 221204 h 282176"/>
              <a:gd name="T50" fmla="*/ 125851 w 201527"/>
              <a:gd name="T51" fmla="*/ 227641 h 282176"/>
              <a:gd name="T52" fmla="*/ 110775 w 201527"/>
              <a:gd name="T53" fmla="*/ 231540 h 282176"/>
              <a:gd name="T54" fmla="*/ 89537 w 201527"/>
              <a:gd name="T55" fmla="*/ 232711 h 282176"/>
              <a:gd name="T56" fmla="*/ 201871 w 201527"/>
              <a:gd name="T57" fmla="*/ 232711 h 282176"/>
              <a:gd name="T58" fmla="*/ 206455 w 201527"/>
              <a:gd name="T59" fmla="*/ 220289 h 282176"/>
              <a:gd name="T60" fmla="*/ 209399 w 201527"/>
              <a:gd name="T61" fmla="*/ 205534 h 282176"/>
              <a:gd name="T62" fmla="*/ 210302 w 201527"/>
              <a:gd name="T63" fmla="*/ 189207 h 282176"/>
              <a:gd name="T64" fmla="*/ 207096 w 201527"/>
              <a:gd name="T65" fmla="*/ 174315 h 282176"/>
              <a:gd name="T66" fmla="*/ 184337 w 201527"/>
              <a:gd name="T67" fmla="*/ 140678 h 282176"/>
              <a:gd name="T68" fmla="*/ 149564 w 201527"/>
              <a:gd name="T69" fmla="*/ 118964 h 282176"/>
              <a:gd name="T70" fmla="*/ 112708 w 201527"/>
              <a:gd name="T71" fmla="*/ 103216 h 282176"/>
              <a:gd name="T72" fmla="*/ 101675 w 201527"/>
              <a:gd name="T73" fmla="*/ 98262 h 282176"/>
              <a:gd name="T74" fmla="*/ 72455 w 201527"/>
              <a:gd name="T75" fmla="*/ 65783 h 282176"/>
              <a:gd name="T76" fmla="*/ 80290 w 201527"/>
              <a:gd name="T77" fmla="*/ 57638 h 282176"/>
              <a:gd name="T78" fmla="*/ 93812 w 201527"/>
              <a:gd name="T79" fmla="*/ 52409 h 282176"/>
              <a:gd name="T80" fmla="*/ 112366 w 201527"/>
              <a:gd name="T81" fmla="*/ 50562 h 282176"/>
              <a:gd name="T82" fmla="*/ 197768 w 201527"/>
              <a:gd name="T83" fmla="*/ 50562 h 282176"/>
              <a:gd name="T84" fmla="*/ 197043 w 201527"/>
              <a:gd name="T85" fmla="*/ 20775 h 282176"/>
              <a:gd name="T86" fmla="*/ 160505 w 201527"/>
              <a:gd name="T87" fmla="*/ 7747 h 282176"/>
              <a:gd name="T88" fmla="*/ 111256 w 201527"/>
              <a:gd name="T89" fmla="*/ 250 h 282176"/>
              <a:gd name="T90" fmla="*/ 97562 w 201527"/>
              <a:gd name="T91" fmla="*/ 0 h 282176"/>
              <a:gd name="T92" fmla="*/ 197768 w 201527"/>
              <a:gd name="T93" fmla="*/ 50562 h 282176"/>
              <a:gd name="T94" fmla="*/ 112366 w 201527"/>
              <a:gd name="T95" fmla="*/ 50562 h 282176"/>
              <a:gd name="T96" fmla="*/ 122319 w 201527"/>
              <a:gd name="T97" fmla="*/ 51090 h 282176"/>
              <a:gd name="T98" fmla="*/ 132618 w 201527"/>
              <a:gd name="T99" fmla="*/ 52508 h 282176"/>
              <a:gd name="T100" fmla="*/ 182449 w 201527"/>
              <a:gd name="T101" fmla="*/ 68421 h 282176"/>
              <a:gd name="T102" fmla="*/ 198373 w 201527"/>
              <a:gd name="T103" fmla="*/ 75295 h 282176"/>
              <a:gd name="T104" fmla="*/ 197768 w 201527"/>
              <a:gd name="T105" fmla="*/ 50562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49" name="object 9">
            <a:extLst>
              <a:ext uri="{FF2B5EF4-FFF2-40B4-BE49-F238E27FC236}">
                <a16:creationId xmlns:a16="http://schemas.microsoft.com/office/drawing/2014/main" id="{BC3C2589-DC6F-42FB-BBE5-093B5ABB2BE4}"/>
              </a:ext>
            </a:extLst>
          </p:cNvPr>
          <p:cNvSpPr>
            <a:spLocks/>
          </p:cNvSpPr>
          <p:nvPr/>
        </p:nvSpPr>
        <p:spPr bwMode="auto">
          <a:xfrm>
            <a:off x="7271192" y="6394994"/>
            <a:ext cx="115522" cy="111855"/>
          </a:xfrm>
          <a:custGeom>
            <a:avLst/>
            <a:gdLst>
              <a:gd name="T0" fmla="*/ 66160 w 200263"/>
              <a:gd name="T1" fmla="*/ 40331 h 192883"/>
              <a:gd name="T2" fmla="*/ 100019 w 200263"/>
              <a:gd name="T3" fmla="*/ 47269 h 192883"/>
              <a:gd name="T4" fmla="*/ 109478 w 200263"/>
              <a:gd name="T5" fmla="*/ 66314 h 192883"/>
              <a:gd name="T6" fmla="*/ 55182 w 200263"/>
              <a:gd name="T7" fmla="*/ 87170 h 192883"/>
              <a:gd name="T8" fmla="*/ 0 w 200263"/>
              <a:gd name="T9" fmla="*/ 139831 h 192883"/>
              <a:gd name="T10" fmla="*/ 24481 w 200263"/>
              <a:gd name="T11" fmla="*/ 188918 h 192883"/>
              <a:gd name="T12" fmla="*/ 62717 w 200263"/>
              <a:gd name="T13" fmla="*/ 195382 h 192883"/>
              <a:gd name="T14" fmla="*/ 85960 w 200263"/>
              <a:gd name="T15" fmla="*/ 189320 h 192883"/>
              <a:gd name="T16" fmla="*/ 110677 w 200263"/>
              <a:gd name="T17" fmla="*/ 175788 h 192883"/>
              <a:gd name="T18" fmla="*/ 196534 w 200263"/>
              <a:gd name="T19" fmla="*/ 159594 h 192883"/>
              <a:gd name="T20" fmla="*/ 69436 w 200263"/>
              <a:gd name="T21" fmla="*/ 157282 h 192883"/>
              <a:gd name="T22" fmla="*/ 61088 w 200263"/>
              <a:gd name="T23" fmla="*/ 136326 h 192883"/>
              <a:gd name="T24" fmla="*/ 72924 w 200263"/>
              <a:gd name="T25" fmla="*/ 118182 h 192883"/>
              <a:gd name="T26" fmla="*/ 98623 w 200263"/>
              <a:gd name="T27" fmla="*/ 105016 h 192883"/>
              <a:gd name="T28" fmla="*/ 167599 w 200263"/>
              <a:gd name="T29" fmla="*/ 57070 h 192883"/>
              <a:gd name="T30" fmla="*/ 165355 w 200263"/>
              <a:gd name="T31" fmla="*/ 40331 h 192883"/>
              <a:gd name="T32" fmla="*/ 110677 w 200263"/>
              <a:gd name="T33" fmla="*/ 175788 h 192883"/>
              <a:gd name="T34" fmla="*/ 127568 w 200263"/>
              <a:gd name="T35" fmla="*/ 193613 h 192883"/>
              <a:gd name="T36" fmla="*/ 154552 w 200263"/>
              <a:gd name="T37" fmla="*/ 195097 h 192883"/>
              <a:gd name="T38" fmla="*/ 179900 w 200263"/>
              <a:gd name="T39" fmla="*/ 188278 h 192883"/>
              <a:gd name="T40" fmla="*/ 193312 w 200263"/>
              <a:gd name="T41" fmla="*/ 175788 h 192883"/>
              <a:gd name="T42" fmla="*/ 98623 w 200263"/>
              <a:gd name="T43" fmla="*/ 105016 h 192883"/>
              <a:gd name="T44" fmla="*/ 98317 w 200263"/>
              <a:gd name="T45" fmla="*/ 154694 h 192883"/>
              <a:gd name="T46" fmla="*/ 196534 w 200263"/>
              <a:gd name="T47" fmla="*/ 159594 h 192883"/>
              <a:gd name="T48" fmla="*/ 171215 w 200263"/>
              <a:gd name="T49" fmla="*/ 156296 h 192883"/>
              <a:gd name="T50" fmla="*/ 167599 w 200263"/>
              <a:gd name="T51" fmla="*/ 105016 h 192883"/>
              <a:gd name="T52" fmla="*/ 185662 w 200263"/>
              <a:gd name="T53" fmla="*/ 155470 h 192883"/>
              <a:gd name="T54" fmla="*/ 197191 w 200263"/>
              <a:gd name="T55" fmla="*/ 156296 h 192883"/>
              <a:gd name="T56" fmla="*/ 100441 w 200263"/>
              <a:gd name="T57" fmla="*/ 0 h 192883"/>
              <a:gd name="T58" fmla="*/ 13463 w 200263"/>
              <a:gd name="T59" fmla="*/ 19943 h 192883"/>
              <a:gd name="T60" fmla="*/ 19011 w 200263"/>
              <a:gd name="T61" fmla="*/ 61883 h 192883"/>
              <a:gd name="T62" fmla="*/ 41787 w 200263"/>
              <a:gd name="T63" fmla="*/ 47806 h 192883"/>
              <a:gd name="T64" fmla="*/ 66160 w 200263"/>
              <a:gd name="T65" fmla="*/ 40331 h 192883"/>
              <a:gd name="T66" fmla="*/ 161356 w 200263"/>
              <a:gd name="T67" fmla="*/ 29561 h 192883"/>
              <a:gd name="T68" fmla="*/ 143844 w 200263"/>
              <a:gd name="T69" fmla="*/ 11526 h 192883"/>
              <a:gd name="T70" fmla="*/ 116889 w 200263"/>
              <a:gd name="T71" fmla="*/ 1941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0" name="object 10">
            <a:extLst>
              <a:ext uri="{FF2B5EF4-FFF2-40B4-BE49-F238E27FC236}">
                <a16:creationId xmlns:a16="http://schemas.microsoft.com/office/drawing/2014/main" id="{1E38D78A-A55E-4038-8C1C-F000CDD85E43}"/>
              </a:ext>
            </a:extLst>
          </p:cNvPr>
          <p:cNvSpPr>
            <a:spLocks/>
          </p:cNvSpPr>
          <p:nvPr/>
        </p:nvSpPr>
        <p:spPr bwMode="auto">
          <a:xfrm>
            <a:off x="7382130" y="6396827"/>
            <a:ext cx="118273" cy="110021"/>
          </a:xfrm>
          <a:custGeom>
            <a:avLst/>
            <a:gdLst>
              <a:gd name="T0" fmla="*/ 63382 w 204089"/>
              <a:gd name="T1" fmla="*/ 0 h 189572"/>
              <a:gd name="T2" fmla="*/ 0 w 204089"/>
              <a:gd name="T3" fmla="*/ 0 h 189572"/>
              <a:gd name="T4" fmla="*/ 87097 w 204089"/>
              <a:gd name="T5" fmla="*/ 193312 h 189572"/>
              <a:gd name="T6" fmla="*/ 120210 w 204089"/>
              <a:gd name="T7" fmla="*/ 193312 h 189572"/>
              <a:gd name="T8" fmla="*/ 160049 w 204089"/>
              <a:gd name="T9" fmla="*/ 104471 h 189572"/>
              <a:gd name="T10" fmla="*/ 103447 w 204089"/>
              <a:gd name="T11" fmla="*/ 104471 h 189572"/>
              <a:gd name="T12" fmla="*/ 63382 w 204089"/>
              <a:gd name="T13" fmla="*/ 0 h 189572"/>
              <a:gd name="T14" fmla="*/ 206895 w 204089"/>
              <a:gd name="T15" fmla="*/ 0 h 189572"/>
              <a:gd name="T16" fmla="*/ 143939 w 204089"/>
              <a:gd name="T17" fmla="*/ 0 h 189572"/>
              <a:gd name="T18" fmla="*/ 103447 w 204089"/>
              <a:gd name="T19" fmla="*/ 104471 h 189572"/>
              <a:gd name="T20" fmla="*/ 160049 w 204089"/>
              <a:gd name="T21" fmla="*/ 104471 h 189572"/>
              <a:gd name="T22" fmla="*/ 206895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1" name="object 11">
            <a:extLst>
              <a:ext uri="{FF2B5EF4-FFF2-40B4-BE49-F238E27FC236}">
                <a16:creationId xmlns:a16="http://schemas.microsoft.com/office/drawing/2014/main" id="{274A1FA6-32C7-4697-B5CE-DA281DB06ACD}"/>
              </a:ext>
            </a:extLst>
          </p:cNvPr>
          <p:cNvSpPr>
            <a:spLocks/>
          </p:cNvSpPr>
          <p:nvPr/>
        </p:nvSpPr>
        <p:spPr bwMode="auto">
          <a:xfrm>
            <a:off x="7504988" y="6394994"/>
            <a:ext cx="111855" cy="111855"/>
          </a:xfrm>
          <a:custGeom>
            <a:avLst/>
            <a:gdLst>
              <a:gd name="T0" fmla="*/ 105323 w 193899"/>
              <a:gd name="T1" fmla="*/ 0 h 192654"/>
              <a:gd name="T2" fmla="*/ 59216 w 193899"/>
              <a:gd name="T3" fmla="*/ 8036 h 192654"/>
              <a:gd name="T4" fmla="*/ 25147 w 193899"/>
              <a:gd name="T5" fmla="*/ 30773 h 192654"/>
              <a:gd name="T6" fmla="*/ 4911 w 193899"/>
              <a:gd name="T7" fmla="*/ 65473 h 192654"/>
              <a:gd name="T8" fmla="*/ 0 w 193899"/>
              <a:gd name="T9" fmla="*/ 93900 h 192654"/>
              <a:gd name="T10" fmla="*/ 897 w 193899"/>
              <a:gd name="T11" fmla="*/ 109938 h 192654"/>
              <a:gd name="T12" fmla="*/ 14099 w 193899"/>
              <a:gd name="T13" fmla="*/ 150716 h 192654"/>
              <a:gd name="T14" fmla="*/ 41508 w 193899"/>
              <a:gd name="T15" fmla="*/ 179451 h 192654"/>
              <a:gd name="T16" fmla="*/ 81131 w 193899"/>
              <a:gd name="T17" fmla="*/ 194801 h 192654"/>
              <a:gd name="T18" fmla="*/ 106981 w 193899"/>
              <a:gd name="T19" fmla="*/ 196770 h 192654"/>
              <a:gd name="T20" fmla="*/ 118137 w 193899"/>
              <a:gd name="T21" fmla="*/ 196460 h 192654"/>
              <a:gd name="T22" fmla="*/ 168425 w 193899"/>
              <a:gd name="T23" fmla="*/ 184789 h 192654"/>
              <a:gd name="T24" fmla="*/ 184734 w 193899"/>
              <a:gd name="T25" fmla="*/ 161176 h 192654"/>
              <a:gd name="T26" fmla="*/ 130737 w 193899"/>
              <a:gd name="T27" fmla="*/ 161176 h 192654"/>
              <a:gd name="T28" fmla="*/ 112327 w 193899"/>
              <a:gd name="T29" fmla="*/ 160133 h 192654"/>
              <a:gd name="T30" fmla="*/ 74066 w 193899"/>
              <a:gd name="T31" fmla="*/ 143115 h 192654"/>
              <a:gd name="T32" fmla="*/ 60116 w 193899"/>
              <a:gd name="T33" fmla="*/ 108068 h 192654"/>
              <a:gd name="T34" fmla="*/ 193005 w 193899"/>
              <a:gd name="T35" fmla="*/ 108068 h 192654"/>
              <a:gd name="T36" fmla="*/ 192698 w 193899"/>
              <a:gd name="T37" fmla="*/ 90798 h 192654"/>
              <a:gd name="T38" fmla="*/ 190679 w 193899"/>
              <a:gd name="T39" fmla="*/ 76753 h 192654"/>
              <a:gd name="T40" fmla="*/ 61319 w 193899"/>
              <a:gd name="T41" fmla="*/ 76753 h 192654"/>
              <a:gd name="T42" fmla="*/ 64705 w 193899"/>
              <a:gd name="T43" fmla="*/ 60917 h 192654"/>
              <a:gd name="T44" fmla="*/ 71464 w 193899"/>
              <a:gd name="T45" fmla="*/ 48620 h 192654"/>
              <a:gd name="T46" fmla="*/ 81314 w 193899"/>
              <a:gd name="T47" fmla="*/ 40133 h 192654"/>
              <a:gd name="T48" fmla="*/ 93964 w 193899"/>
              <a:gd name="T49" fmla="*/ 35728 h 192654"/>
              <a:gd name="T50" fmla="*/ 101468 w 193899"/>
              <a:gd name="T51" fmla="*/ 35140 h 192654"/>
              <a:gd name="T52" fmla="*/ 172513 w 193899"/>
              <a:gd name="T53" fmla="*/ 35140 h 192654"/>
              <a:gd name="T54" fmla="*/ 164473 w 193899"/>
              <a:gd name="T55" fmla="*/ 25911 h 192654"/>
              <a:gd name="T56" fmla="*/ 154525 w 193899"/>
              <a:gd name="T57" fmla="*/ 17470 h 192654"/>
              <a:gd name="T58" fmla="*/ 143488 w 193899"/>
              <a:gd name="T59" fmla="*/ 10623 h 192654"/>
              <a:gd name="T60" fmla="*/ 131511 w 193899"/>
              <a:gd name="T61" fmla="*/ 5405 h 192654"/>
              <a:gd name="T62" fmla="*/ 118739 w 193899"/>
              <a:gd name="T63" fmla="*/ 1854 h 192654"/>
              <a:gd name="T64" fmla="*/ 105323 w 193899"/>
              <a:gd name="T65" fmla="*/ 0 h 192654"/>
              <a:gd name="T66" fmla="*/ 189806 w 193899"/>
              <a:gd name="T67" fmla="*/ 134424 h 192654"/>
              <a:gd name="T68" fmla="*/ 152978 w 193899"/>
              <a:gd name="T69" fmla="*/ 155971 h 192654"/>
              <a:gd name="T70" fmla="*/ 130737 w 193899"/>
              <a:gd name="T71" fmla="*/ 161176 h 192654"/>
              <a:gd name="T72" fmla="*/ 184734 w 193899"/>
              <a:gd name="T73" fmla="*/ 161176 h 192654"/>
              <a:gd name="T74" fmla="*/ 189806 w 193899"/>
              <a:gd name="T75" fmla="*/ 134424 h 192654"/>
              <a:gd name="T76" fmla="*/ 172513 w 193899"/>
              <a:gd name="T77" fmla="*/ 35140 h 192654"/>
              <a:gd name="T78" fmla="*/ 101468 w 193899"/>
              <a:gd name="T79" fmla="*/ 35140 h 192654"/>
              <a:gd name="T80" fmla="*/ 115288 w 193899"/>
              <a:gd name="T81" fmla="*/ 37388 h 192654"/>
              <a:gd name="T82" fmla="*/ 126611 w 193899"/>
              <a:gd name="T83" fmla="*/ 43895 h 192654"/>
              <a:gd name="T84" fmla="*/ 135073 w 193899"/>
              <a:gd name="T85" fmla="*/ 54313 h 192654"/>
              <a:gd name="T86" fmla="*/ 140304 w 193899"/>
              <a:gd name="T87" fmla="*/ 68292 h 192654"/>
              <a:gd name="T88" fmla="*/ 61319 w 193899"/>
              <a:gd name="T89" fmla="*/ 76753 h 192654"/>
              <a:gd name="T90" fmla="*/ 190679 w 193899"/>
              <a:gd name="T91" fmla="*/ 76753 h 192654"/>
              <a:gd name="T92" fmla="*/ 190415 w 193899"/>
              <a:gd name="T93" fmla="*/ 74914 h 192654"/>
              <a:gd name="T94" fmla="*/ 186302 w 193899"/>
              <a:gd name="T95" fmla="*/ 60447 h 192654"/>
              <a:gd name="T96" fmla="*/ 180510 w 193899"/>
              <a:gd name="T97" fmla="*/ 47434 h 192654"/>
              <a:gd name="T98" fmla="*/ 173183 w 193899"/>
              <a:gd name="T99" fmla="*/ 35909 h 192654"/>
              <a:gd name="T100" fmla="*/ 172513 w 193899"/>
              <a:gd name="T101" fmla="*/ 35140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2" name="object 12">
            <a:extLst>
              <a:ext uri="{FF2B5EF4-FFF2-40B4-BE49-F238E27FC236}">
                <a16:creationId xmlns:a16="http://schemas.microsoft.com/office/drawing/2014/main" id="{CC4CFEAD-0EC2-4522-9E0B-C1AEC91B2B10}"/>
              </a:ext>
            </a:extLst>
          </p:cNvPr>
          <p:cNvSpPr>
            <a:spLocks/>
          </p:cNvSpPr>
          <p:nvPr/>
        </p:nvSpPr>
        <p:spPr bwMode="auto">
          <a:xfrm>
            <a:off x="7682855" y="6362904"/>
            <a:ext cx="88017" cy="143945"/>
          </a:xfrm>
          <a:custGeom>
            <a:avLst/>
            <a:gdLst>
              <a:gd name="T0" fmla="*/ 84075 w 152869"/>
              <a:gd name="T1" fmla="*/ 100399 h 248003"/>
              <a:gd name="T2" fmla="*/ 26294 w 152869"/>
              <a:gd name="T3" fmla="*/ 100399 h 248003"/>
              <a:gd name="T4" fmla="*/ 26332 w 152869"/>
              <a:gd name="T5" fmla="*/ 184975 h 248003"/>
              <a:gd name="T6" fmla="*/ 39811 w 152869"/>
              <a:gd name="T7" fmla="*/ 228777 h 248003"/>
              <a:gd name="T8" fmla="*/ 72699 w 152869"/>
              <a:gd name="T9" fmla="*/ 249507 h 248003"/>
              <a:gd name="T10" fmla="*/ 101939 w 152869"/>
              <a:gd name="T11" fmla="*/ 252980 h 248003"/>
              <a:gd name="T12" fmla="*/ 113774 w 152869"/>
              <a:gd name="T13" fmla="*/ 252026 h 248003"/>
              <a:gd name="T14" fmla="*/ 125508 w 152869"/>
              <a:gd name="T15" fmla="*/ 249829 h 248003"/>
              <a:gd name="T16" fmla="*/ 137725 w 152869"/>
              <a:gd name="T17" fmla="*/ 246235 h 248003"/>
              <a:gd name="T18" fmla="*/ 151001 w 152869"/>
              <a:gd name="T19" fmla="*/ 241103 h 248003"/>
              <a:gd name="T20" fmla="*/ 145656 w 152869"/>
              <a:gd name="T21" fmla="*/ 208794 h 248003"/>
              <a:gd name="T22" fmla="*/ 108262 w 152869"/>
              <a:gd name="T23" fmla="*/ 208794 h 248003"/>
              <a:gd name="T24" fmla="*/ 95145 w 152869"/>
              <a:gd name="T25" fmla="*/ 203994 h 248003"/>
              <a:gd name="T26" fmla="*/ 86923 w 152869"/>
              <a:gd name="T27" fmla="*/ 193608 h 248003"/>
              <a:gd name="T28" fmla="*/ 84075 w 152869"/>
              <a:gd name="T29" fmla="*/ 178569 h 248003"/>
              <a:gd name="T30" fmla="*/ 84075 w 152869"/>
              <a:gd name="T31" fmla="*/ 100399 h 248003"/>
              <a:gd name="T32" fmla="*/ 144399 w 152869"/>
              <a:gd name="T33" fmla="*/ 201200 h 248003"/>
              <a:gd name="T34" fmla="*/ 132589 w 152869"/>
              <a:gd name="T35" fmla="*/ 205750 h 248003"/>
              <a:gd name="T36" fmla="*/ 120968 w 152869"/>
              <a:gd name="T37" fmla="*/ 208178 h 248003"/>
              <a:gd name="T38" fmla="*/ 108262 w 152869"/>
              <a:gd name="T39" fmla="*/ 208794 h 248003"/>
              <a:gd name="T40" fmla="*/ 145656 w 152869"/>
              <a:gd name="T41" fmla="*/ 208794 h 248003"/>
              <a:gd name="T42" fmla="*/ 144399 w 152869"/>
              <a:gd name="T43" fmla="*/ 201200 h 248003"/>
              <a:gd name="T44" fmla="*/ 84075 w 152869"/>
              <a:gd name="T45" fmla="*/ 0 h 248003"/>
              <a:gd name="T46" fmla="*/ 76887 w 152869"/>
              <a:gd name="T47" fmla="*/ 0 h 248003"/>
              <a:gd name="T48" fmla="*/ 0 w 152869"/>
              <a:gd name="T49" fmla="*/ 88882 h 248003"/>
              <a:gd name="T50" fmla="*/ 0 w 152869"/>
              <a:gd name="T51" fmla="*/ 100399 h 248003"/>
              <a:gd name="T52" fmla="*/ 151001 w 152869"/>
              <a:gd name="T53" fmla="*/ 100399 h 248003"/>
              <a:gd name="T54" fmla="*/ 151001 w 152869"/>
              <a:gd name="T55" fmla="*/ 59670 h 248003"/>
              <a:gd name="T56" fmla="*/ 84075 w 152869"/>
              <a:gd name="T57" fmla="*/ 59670 h 248003"/>
              <a:gd name="T58" fmla="*/ 84075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3" name="object 13">
            <a:extLst>
              <a:ext uri="{FF2B5EF4-FFF2-40B4-BE49-F238E27FC236}">
                <a16:creationId xmlns:a16="http://schemas.microsoft.com/office/drawing/2014/main" id="{33ED6DB6-E1D9-45AD-99E1-32FF60AB47E4}"/>
              </a:ext>
            </a:extLst>
          </p:cNvPr>
          <p:cNvSpPr>
            <a:spLocks/>
          </p:cNvSpPr>
          <p:nvPr/>
        </p:nvSpPr>
        <p:spPr bwMode="auto">
          <a:xfrm>
            <a:off x="7784625"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3 w 186347"/>
              <a:gd name="T19" fmla="*/ 124103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41 h 275069"/>
              <a:gd name="T44" fmla="*/ 179969 w 186347"/>
              <a:gd name="T45" fmla="*/ 129799 h 275069"/>
              <a:gd name="T46" fmla="*/ 113530 w 186347"/>
              <a:gd name="T47" fmla="*/ 85035 h 275069"/>
              <a:gd name="T48" fmla="*/ 68326 w 186347"/>
              <a:gd name="T49" fmla="*/ 104929 h 275069"/>
              <a:gd name="T50" fmla="*/ 58524 w 186347"/>
              <a:gd name="T51" fmla="*/ 115830 h 275069"/>
              <a:gd name="T52" fmla="*/ 173896 w 186347"/>
              <a:gd name="T53" fmla="*/ 115830 h 275069"/>
              <a:gd name="T54" fmla="*/ 140184 w 186347"/>
              <a:gd name="T55" fmla="*/ 89049 h 275069"/>
              <a:gd name="T56" fmla="*/ 113530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4" name="object 14">
            <a:extLst>
              <a:ext uri="{FF2B5EF4-FFF2-40B4-BE49-F238E27FC236}">
                <a16:creationId xmlns:a16="http://schemas.microsoft.com/office/drawing/2014/main" id="{4E67C781-0F58-4568-866C-D80AAC901E07}"/>
              </a:ext>
            </a:extLst>
          </p:cNvPr>
          <p:cNvSpPr>
            <a:spLocks/>
          </p:cNvSpPr>
          <p:nvPr/>
        </p:nvSpPr>
        <p:spPr bwMode="auto">
          <a:xfrm>
            <a:off x="7909316" y="6394994"/>
            <a:ext cx="111855" cy="111855"/>
          </a:xfrm>
          <a:custGeom>
            <a:avLst/>
            <a:gdLst>
              <a:gd name="T0" fmla="*/ 105302 w 193899"/>
              <a:gd name="T1" fmla="*/ 0 h 192656"/>
              <a:gd name="T2" fmla="*/ 59204 w 193899"/>
              <a:gd name="T3" fmla="*/ 8039 h 192656"/>
              <a:gd name="T4" fmla="*/ 25139 w 193899"/>
              <a:gd name="T5" fmla="*/ 30778 h 192656"/>
              <a:gd name="T6" fmla="*/ 4907 w 193899"/>
              <a:gd name="T7" fmla="*/ 65485 h 192656"/>
              <a:gd name="T8" fmla="*/ 0 w 193899"/>
              <a:gd name="T9" fmla="*/ 93916 h 192656"/>
              <a:gd name="T10" fmla="*/ 898 w 193899"/>
              <a:gd name="T11" fmla="*/ 109949 h 192656"/>
              <a:gd name="T12" fmla="*/ 14100 w 193899"/>
              <a:gd name="T13" fmla="*/ 150724 h 192656"/>
              <a:gd name="T14" fmla="*/ 41512 w 193899"/>
              <a:gd name="T15" fmla="*/ 179453 h 192656"/>
              <a:gd name="T16" fmla="*/ 81142 w 193899"/>
              <a:gd name="T17" fmla="*/ 194798 h 192656"/>
              <a:gd name="T18" fmla="*/ 106991 w 193899"/>
              <a:gd name="T19" fmla="*/ 196764 h 192656"/>
              <a:gd name="T20" fmla="*/ 118144 w 193899"/>
              <a:gd name="T21" fmla="*/ 196453 h 192656"/>
              <a:gd name="T22" fmla="*/ 168440 w 193899"/>
              <a:gd name="T23" fmla="*/ 184772 h 192656"/>
              <a:gd name="T24" fmla="*/ 184738 w 193899"/>
              <a:gd name="T25" fmla="*/ 161171 h 192656"/>
              <a:gd name="T26" fmla="*/ 130724 w 193899"/>
              <a:gd name="T27" fmla="*/ 161171 h 192656"/>
              <a:gd name="T28" fmla="*/ 112313 w 193899"/>
              <a:gd name="T29" fmla="*/ 160127 h 192656"/>
              <a:gd name="T30" fmla="*/ 74058 w 193899"/>
              <a:gd name="T31" fmla="*/ 143105 h 192656"/>
              <a:gd name="T32" fmla="*/ 60117 w 193899"/>
              <a:gd name="T33" fmla="*/ 108064 h 192656"/>
              <a:gd name="T34" fmla="*/ 193005 w 193899"/>
              <a:gd name="T35" fmla="*/ 108064 h 192656"/>
              <a:gd name="T36" fmla="*/ 192695 w 193899"/>
              <a:gd name="T37" fmla="*/ 90794 h 192656"/>
              <a:gd name="T38" fmla="*/ 190674 w 193899"/>
              <a:gd name="T39" fmla="*/ 76752 h 192656"/>
              <a:gd name="T40" fmla="*/ 61320 w 193899"/>
              <a:gd name="T41" fmla="*/ 76752 h 192656"/>
              <a:gd name="T42" fmla="*/ 64703 w 193899"/>
              <a:gd name="T43" fmla="*/ 60912 h 192656"/>
              <a:gd name="T44" fmla="*/ 71465 w 193899"/>
              <a:gd name="T45" fmla="*/ 48615 h 192656"/>
              <a:gd name="T46" fmla="*/ 81319 w 193899"/>
              <a:gd name="T47" fmla="*/ 40130 h 192656"/>
              <a:gd name="T48" fmla="*/ 93967 w 193899"/>
              <a:gd name="T49" fmla="*/ 35727 h 192656"/>
              <a:gd name="T50" fmla="*/ 101456 w 193899"/>
              <a:gd name="T51" fmla="*/ 35141 h 192656"/>
              <a:gd name="T52" fmla="*/ 172504 w 193899"/>
              <a:gd name="T53" fmla="*/ 35141 h 192656"/>
              <a:gd name="T54" fmla="*/ 164459 w 193899"/>
              <a:gd name="T55" fmla="*/ 25907 h 192656"/>
              <a:gd name="T56" fmla="*/ 154509 w 193899"/>
              <a:gd name="T57" fmla="*/ 17466 h 192656"/>
              <a:gd name="T58" fmla="*/ 143471 w 193899"/>
              <a:gd name="T59" fmla="*/ 10621 h 192656"/>
              <a:gd name="T60" fmla="*/ 131492 w 193899"/>
              <a:gd name="T61" fmla="*/ 5403 h 192656"/>
              <a:gd name="T62" fmla="*/ 118720 w 193899"/>
              <a:gd name="T63" fmla="*/ 1853 h 192656"/>
              <a:gd name="T64" fmla="*/ 105302 w 193899"/>
              <a:gd name="T65" fmla="*/ 0 h 192656"/>
              <a:gd name="T66" fmla="*/ 189794 w 193899"/>
              <a:gd name="T67" fmla="*/ 134420 h 192656"/>
              <a:gd name="T68" fmla="*/ 152963 w 193899"/>
              <a:gd name="T69" fmla="*/ 155968 h 192656"/>
              <a:gd name="T70" fmla="*/ 130724 w 193899"/>
              <a:gd name="T71" fmla="*/ 161171 h 192656"/>
              <a:gd name="T72" fmla="*/ 184738 w 193899"/>
              <a:gd name="T73" fmla="*/ 161171 h 192656"/>
              <a:gd name="T74" fmla="*/ 189794 w 193899"/>
              <a:gd name="T75" fmla="*/ 134420 h 192656"/>
              <a:gd name="T76" fmla="*/ 172504 w 193899"/>
              <a:gd name="T77" fmla="*/ 35141 h 192656"/>
              <a:gd name="T78" fmla="*/ 101456 w 193899"/>
              <a:gd name="T79" fmla="*/ 35141 h 192656"/>
              <a:gd name="T80" fmla="*/ 115276 w 193899"/>
              <a:gd name="T81" fmla="*/ 37389 h 192656"/>
              <a:gd name="T82" fmla="*/ 126599 w 193899"/>
              <a:gd name="T83" fmla="*/ 43895 h 192656"/>
              <a:gd name="T84" fmla="*/ 135061 w 193899"/>
              <a:gd name="T85" fmla="*/ 54311 h 192656"/>
              <a:gd name="T86" fmla="*/ 140292 w 193899"/>
              <a:gd name="T87" fmla="*/ 68290 h 192656"/>
              <a:gd name="T88" fmla="*/ 61320 w 193899"/>
              <a:gd name="T89" fmla="*/ 76752 h 192656"/>
              <a:gd name="T90" fmla="*/ 190674 w 193899"/>
              <a:gd name="T91" fmla="*/ 76752 h 192656"/>
              <a:gd name="T92" fmla="*/ 190410 w 193899"/>
              <a:gd name="T93" fmla="*/ 74909 h 192656"/>
              <a:gd name="T94" fmla="*/ 186295 w 193899"/>
              <a:gd name="T95" fmla="*/ 60442 h 192656"/>
              <a:gd name="T96" fmla="*/ 180500 w 193899"/>
              <a:gd name="T97" fmla="*/ 47430 h 192656"/>
              <a:gd name="T98" fmla="*/ 173171 w 193899"/>
              <a:gd name="T99" fmla="*/ 35907 h 192656"/>
              <a:gd name="T100" fmla="*/ 172504 w 193899"/>
              <a:gd name="T101" fmla="*/ 35141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5" name="object 15">
            <a:extLst>
              <a:ext uri="{FF2B5EF4-FFF2-40B4-BE49-F238E27FC236}">
                <a16:creationId xmlns:a16="http://schemas.microsoft.com/office/drawing/2014/main" id="{3CEED06E-A072-43DE-A42E-2594BF6B8106}"/>
              </a:ext>
            </a:extLst>
          </p:cNvPr>
          <p:cNvSpPr>
            <a:spLocks/>
          </p:cNvSpPr>
          <p:nvPr/>
        </p:nvSpPr>
        <p:spPr bwMode="auto">
          <a:xfrm>
            <a:off x="8095435" y="6343651"/>
            <a:ext cx="154947" cy="163198"/>
          </a:xfrm>
          <a:custGeom>
            <a:avLst/>
            <a:gdLst>
              <a:gd name="T0" fmla="*/ 157946 w 268134"/>
              <a:gd name="T1" fmla="*/ 0 h 282037"/>
              <a:gd name="T2" fmla="*/ 108748 w 268134"/>
              <a:gd name="T3" fmla="*/ 7448 h 282037"/>
              <a:gd name="T4" fmla="*/ 68128 w 268134"/>
              <a:gd name="T5" fmla="*/ 25114 h 282037"/>
              <a:gd name="T6" fmla="*/ 36545 w 268134"/>
              <a:gd name="T7" fmla="*/ 51183 h 282037"/>
              <a:gd name="T8" fmla="*/ 14457 w 268134"/>
              <a:gd name="T9" fmla="*/ 83850 h 282037"/>
              <a:gd name="T10" fmla="*/ 2327 w 268134"/>
              <a:gd name="T11" fmla="*/ 121301 h 282037"/>
              <a:gd name="T12" fmla="*/ 0 w 268134"/>
              <a:gd name="T13" fmla="*/ 148032 h 282037"/>
              <a:gd name="T14" fmla="*/ 971 w 268134"/>
              <a:gd name="T15" fmla="*/ 160290 h 282037"/>
              <a:gd name="T16" fmla="*/ 15708 w 268134"/>
              <a:gd name="T17" fmla="*/ 207124 h 282037"/>
              <a:gd name="T18" fmla="*/ 48430 w 268134"/>
              <a:gd name="T19" fmla="*/ 246707 h 282037"/>
              <a:gd name="T20" fmla="*/ 85255 w 268134"/>
              <a:gd name="T21" fmla="*/ 268638 h 282037"/>
              <a:gd name="T22" fmla="*/ 132989 w 268134"/>
              <a:gd name="T23" fmla="*/ 281589 h 282037"/>
              <a:gd name="T24" fmla="*/ 171038 w 268134"/>
              <a:gd name="T25" fmla="*/ 284195 h 282037"/>
              <a:gd name="T26" fmla="*/ 183981 w 268134"/>
              <a:gd name="T27" fmla="*/ 283392 h 282037"/>
              <a:gd name="T28" fmla="*/ 231803 w 268134"/>
              <a:gd name="T29" fmla="*/ 273065 h 282037"/>
              <a:gd name="T30" fmla="*/ 268746 w 268134"/>
              <a:gd name="T31" fmla="*/ 256740 h 282037"/>
              <a:gd name="T32" fmla="*/ 267463 w 268134"/>
              <a:gd name="T33" fmla="*/ 226038 h 282037"/>
              <a:gd name="T34" fmla="*/ 155891 w 268134"/>
              <a:gd name="T35" fmla="*/ 226038 h 282037"/>
              <a:gd name="T36" fmla="*/ 141242 w 268134"/>
              <a:gd name="T37" fmla="*/ 223664 h 282037"/>
              <a:gd name="T38" fmla="*/ 104152 w 268134"/>
              <a:gd name="T39" fmla="*/ 206379 h 282037"/>
              <a:gd name="T40" fmla="*/ 79829 w 268134"/>
              <a:gd name="T41" fmla="*/ 174793 h 282037"/>
              <a:gd name="T42" fmla="*/ 71457 w 268134"/>
              <a:gd name="T43" fmla="*/ 130115 h 282037"/>
              <a:gd name="T44" fmla="*/ 74271 w 268134"/>
              <a:gd name="T45" fmla="*/ 117644 h 282037"/>
              <a:gd name="T46" fmla="*/ 104622 w 268134"/>
              <a:gd name="T47" fmla="*/ 77798 h 282037"/>
              <a:gd name="T48" fmla="*/ 145633 w 268134"/>
              <a:gd name="T49" fmla="*/ 61205 h 282037"/>
              <a:gd name="T50" fmla="*/ 180713 w 268134"/>
              <a:gd name="T51" fmla="*/ 57946 h 282037"/>
              <a:gd name="T52" fmla="*/ 262776 w 268134"/>
              <a:gd name="T53" fmla="*/ 57946 h 282037"/>
              <a:gd name="T54" fmla="*/ 259145 w 268134"/>
              <a:gd name="T55" fmla="*/ 20665 h 282037"/>
              <a:gd name="T56" fmla="*/ 214731 w 268134"/>
              <a:gd name="T57" fmla="*/ 5092 h 282037"/>
              <a:gd name="T58" fmla="*/ 173449 w 268134"/>
              <a:gd name="T59" fmla="*/ 288 h 282037"/>
              <a:gd name="T60" fmla="*/ 157946 w 268134"/>
              <a:gd name="T61" fmla="*/ 0 h 282037"/>
              <a:gd name="T62" fmla="*/ 266267 w 268134"/>
              <a:gd name="T63" fmla="*/ 197379 h 282037"/>
              <a:gd name="T64" fmla="*/ 231339 w 268134"/>
              <a:gd name="T65" fmla="*/ 213116 h 282037"/>
              <a:gd name="T66" fmla="*/ 184758 w 268134"/>
              <a:gd name="T67" fmla="*/ 224788 h 282037"/>
              <a:gd name="T68" fmla="*/ 155891 w 268134"/>
              <a:gd name="T69" fmla="*/ 226038 h 282037"/>
              <a:gd name="T70" fmla="*/ 267463 w 268134"/>
              <a:gd name="T71" fmla="*/ 226038 h 282037"/>
              <a:gd name="T72" fmla="*/ 266267 w 268134"/>
              <a:gd name="T73" fmla="*/ 197379 h 282037"/>
              <a:gd name="T74" fmla="*/ 262776 w 268134"/>
              <a:gd name="T75" fmla="*/ 57946 h 282037"/>
              <a:gd name="T76" fmla="*/ 180713 w 268134"/>
              <a:gd name="T77" fmla="*/ 57946 h 282037"/>
              <a:gd name="T78" fmla="*/ 193411 w 268134"/>
              <a:gd name="T79" fmla="*/ 59334 h 282037"/>
              <a:gd name="T80" fmla="*/ 205856 w 268134"/>
              <a:gd name="T81" fmla="*/ 61717 h 282037"/>
              <a:gd name="T82" fmla="*/ 242024 w 268134"/>
              <a:gd name="T83" fmla="*/ 74122 h 282037"/>
              <a:gd name="T84" fmla="*/ 265512 w 268134"/>
              <a:gd name="T85" fmla="*/ 86052 h 282037"/>
              <a:gd name="T86" fmla="*/ 262776 w 268134"/>
              <a:gd name="T87" fmla="*/ 5794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6" name="object 16">
            <a:extLst>
              <a:ext uri="{FF2B5EF4-FFF2-40B4-BE49-F238E27FC236}">
                <a16:creationId xmlns:a16="http://schemas.microsoft.com/office/drawing/2014/main" id="{14AE5CB4-447F-4EDD-9217-66C688D0FEBE}"/>
              </a:ext>
            </a:extLst>
          </p:cNvPr>
          <p:cNvSpPr>
            <a:spLocks/>
          </p:cNvSpPr>
          <p:nvPr/>
        </p:nvSpPr>
        <p:spPr bwMode="auto">
          <a:xfrm>
            <a:off x="8274220"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2 w 186347"/>
              <a:gd name="T19" fmla="*/ 124102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39 h 275069"/>
              <a:gd name="T44" fmla="*/ 179969 w 186347"/>
              <a:gd name="T45" fmla="*/ 129799 h 275069"/>
              <a:gd name="T46" fmla="*/ 113529 w 186347"/>
              <a:gd name="T47" fmla="*/ 85035 h 275069"/>
              <a:gd name="T48" fmla="*/ 68325 w 186347"/>
              <a:gd name="T49" fmla="*/ 104929 h 275069"/>
              <a:gd name="T50" fmla="*/ 58524 w 186347"/>
              <a:gd name="T51" fmla="*/ 115830 h 275069"/>
              <a:gd name="T52" fmla="*/ 173896 w 186347"/>
              <a:gd name="T53" fmla="*/ 115830 h 275069"/>
              <a:gd name="T54" fmla="*/ 140183 w 186347"/>
              <a:gd name="T55" fmla="*/ 89049 h 275069"/>
              <a:gd name="T56" fmla="*/ 113529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7" name="object 17">
            <a:extLst>
              <a:ext uri="{FF2B5EF4-FFF2-40B4-BE49-F238E27FC236}">
                <a16:creationId xmlns:a16="http://schemas.microsoft.com/office/drawing/2014/main" id="{E690C0F3-C345-4C7E-B91A-9735A42D538E}"/>
              </a:ext>
            </a:extLst>
          </p:cNvPr>
          <p:cNvSpPr>
            <a:spLocks/>
          </p:cNvSpPr>
          <p:nvPr/>
        </p:nvSpPr>
        <p:spPr bwMode="auto">
          <a:xfrm>
            <a:off x="8405329" y="6396827"/>
            <a:ext cx="33923" cy="107271"/>
          </a:xfrm>
          <a:custGeom>
            <a:avLst/>
            <a:gdLst>
              <a:gd name="T0" fmla="*/ 59505 w 58483"/>
              <a:gd name="T1" fmla="*/ 185129 h 185940"/>
              <a:gd name="T2" fmla="*/ 0 w 58483"/>
              <a:gd name="T3" fmla="*/ 185129 h 185940"/>
              <a:gd name="T4" fmla="*/ 0 w 58483"/>
              <a:gd name="T5" fmla="*/ 0 h 185940"/>
              <a:gd name="T6" fmla="*/ 59505 w 58483"/>
              <a:gd name="T7" fmla="*/ 0 h 185940"/>
              <a:gd name="T8" fmla="*/ 59505 w 58483"/>
              <a:gd name="T9" fmla="*/ 185129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8" name="object 18">
            <a:extLst>
              <a:ext uri="{FF2B5EF4-FFF2-40B4-BE49-F238E27FC236}">
                <a16:creationId xmlns:a16="http://schemas.microsoft.com/office/drawing/2014/main" id="{3F5D34FE-2A36-495C-9DAE-9E6312EB2E3A}"/>
              </a:ext>
            </a:extLst>
          </p:cNvPr>
          <p:cNvSpPr>
            <a:spLocks/>
          </p:cNvSpPr>
          <p:nvPr/>
        </p:nvSpPr>
        <p:spPr bwMode="auto">
          <a:xfrm>
            <a:off x="8403496" y="6344567"/>
            <a:ext cx="37590" cy="35757"/>
          </a:xfrm>
          <a:custGeom>
            <a:avLst/>
            <a:gdLst>
              <a:gd name="T0" fmla="*/ 23399 w 64473"/>
              <a:gd name="T1" fmla="*/ 0 h 61899"/>
              <a:gd name="T2" fmla="*/ 11296 w 64473"/>
              <a:gd name="T3" fmla="*/ 6800 h 61899"/>
              <a:gd name="T4" fmla="*/ 3032 w 64473"/>
              <a:gd name="T5" fmla="*/ 18063 h 61899"/>
              <a:gd name="T6" fmla="*/ 0 w 64473"/>
              <a:gd name="T7" fmla="*/ 32683 h 61899"/>
              <a:gd name="T8" fmla="*/ 3347 w 64473"/>
              <a:gd name="T9" fmla="*/ 44535 h 61899"/>
              <a:gd name="T10" fmla="*/ 11667 w 64473"/>
              <a:gd name="T11" fmla="*/ 54062 h 61899"/>
              <a:gd name="T12" fmla="*/ 24719 w 64473"/>
              <a:gd name="T13" fmla="*/ 60220 h 61899"/>
              <a:gd name="T14" fmla="*/ 42255 w 64473"/>
              <a:gd name="T15" fmla="*/ 61955 h 61899"/>
              <a:gd name="T16" fmla="*/ 54972 w 64473"/>
              <a:gd name="T17" fmla="*/ 55506 h 61899"/>
              <a:gd name="T18" fmla="*/ 63712 w 64473"/>
              <a:gd name="T19" fmla="*/ 44628 h 61899"/>
              <a:gd name="T20" fmla="*/ 66965 w 64473"/>
              <a:gd name="T21" fmla="*/ 30792 h 61899"/>
              <a:gd name="T22" fmla="*/ 66819 w 64473"/>
              <a:gd name="T23" fmla="*/ 27801 h 61899"/>
              <a:gd name="T24" fmla="*/ 63135 w 64473"/>
              <a:gd name="T25" fmla="*/ 16350 h 61899"/>
              <a:gd name="T26" fmla="*/ 54582 w 64473"/>
              <a:gd name="T27" fmla="*/ 7227 h 61899"/>
              <a:gd name="T28" fmla="*/ 41294 w 64473"/>
              <a:gd name="T29" fmla="*/ 1439 h 61899"/>
              <a:gd name="T30" fmla="*/ 2339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59" name="object 19">
            <a:extLst>
              <a:ext uri="{FF2B5EF4-FFF2-40B4-BE49-F238E27FC236}">
                <a16:creationId xmlns:a16="http://schemas.microsoft.com/office/drawing/2014/main" id="{4C67F18F-A1CC-4A88-BCAE-85CAB2552E22}"/>
              </a:ext>
            </a:extLst>
          </p:cNvPr>
          <p:cNvSpPr>
            <a:spLocks/>
          </p:cNvSpPr>
          <p:nvPr/>
        </p:nvSpPr>
        <p:spPr bwMode="auto">
          <a:xfrm>
            <a:off x="8464007" y="6345484"/>
            <a:ext cx="33923" cy="158614"/>
          </a:xfrm>
          <a:custGeom>
            <a:avLst/>
            <a:gdLst>
              <a:gd name="T0" fmla="*/ 59505 w 58483"/>
              <a:gd name="T1" fmla="*/ 273345 h 275069"/>
              <a:gd name="T2" fmla="*/ 0 w 58483"/>
              <a:gd name="T3" fmla="*/ 273345 h 275069"/>
              <a:gd name="T4" fmla="*/ 0 w 58483"/>
              <a:gd name="T5" fmla="*/ 0 h 275069"/>
              <a:gd name="T6" fmla="*/ 59505 w 58483"/>
              <a:gd name="T7" fmla="*/ 0 h 275069"/>
              <a:gd name="T8" fmla="*/ 59505 w 58483"/>
              <a:gd name="T9" fmla="*/ 273345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0" name="object 20">
            <a:extLst>
              <a:ext uri="{FF2B5EF4-FFF2-40B4-BE49-F238E27FC236}">
                <a16:creationId xmlns:a16="http://schemas.microsoft.com/office/drawing/2014/main" id="{17114268-0F7C-4A28-927A-D02A2B87E0CB}"/>
              </a:ext>
            </a:extLst>
          </p:cNvPr>
          <p:cNvSpPr>
            <a:spLocks/>
          </p:cNvSpPr>
          <p:nvPr/>
        </p:nvSpPr>
        <p:spPr bwMode="auto">
          <a:xfrm>
            <a:off x="8516267" y="6345484"/>
            <a:ext cx="113689" cy="161365"/>
          </a:xfrm>
          <a:custGeom>
            <a:avLst/>
            <a:gdLst>
              <a:gd name="T0" fmla="*/ 101290 w 197236"/>
              <a:gd name="T1" fmla="*/ 87186 h 278582"/>
              <a:gd name="T2" fmla="*/ 55223 w 197236"/>
              <a:gd name="T3" fmla="*/ 95109 h 278582"/>
              <a:gd name="T4" fmla="*/ 22383 w 197236"/>
              <a:gd name="T5" fmla="*/ 118136 h 278582"/>
              <a:gd name="T6" fmla="*/ 3857 w 197236"/>
              <a:gd name="T7" fmla="*/ 153521 h 278582"/>
              <a:gd name="T8" fmla="*/ 0 w 197236"/>
              <a:gd name="T9" fmla="*/ 182625 h 278582"/>
              <a:gd name="T10" fmla="*/ 1009 w 197236"/>
              <a:gd name="T11" fmla="*/ 198905 h 278582"/>
              <a:gd name="T12" fmla="*/ 15138 w 197236"/>
              <a:gd name="T13" fmla="*/ 240935 h 278582"/>
              <a:gd name="T14" fmla="*/ 43178 w 197236"/>
              <a:gd name="T15" fmla="*/ 269838 h 278582"/>
              <a:gd name="T16" fmla="*/ 81606 w 197236"/>
              <a:gd name="T17" fmla="*/ 281868 h 278582"/>
              <a:gd name="T18" fmla="*/ 96097 w 197236"/>
              <a:gd name="T19" fmla="*/ 281184 h 278582"/>
              <a:gd name="T20" fmla="*/ 108670 w 197236"/>
              <a:gd name="T21" fmla="*/ 278853 h 278582"/>
              <a:gd name="T22" fmla="*/ 119935 w 197236"/>
              <a:gd name="T23" fmla="*/ 274719 h 278582"/>
              <a:gd name="T24" fmla="*/ 130504 w 197236"/>
              <a:gd name="T25" fmla="*/ 268621 h 278582"/>
              <a:gd name="T26" fmla="*/ 195697 w 197236"/>
              <a:gd name="T27" fmla="*/ 268621 h 278582"/>
              <a:gd name="T28" fmla="*/ 195697 w 197236"/>
              <a:gd name="T29" fmla="*/ 240870 h 278582"/>
              <a:gd name="T30" fmla="*/ 114903 w 197236"/>
              <a:gd name="T31" fmla="*/ 240870 h 278582"/>
              <a:gd name="T32" fmla="*/ 98197 w 197236"/>
              <a:gd name="T33" fmla="*/ 239845 h 278582"/>
              <a:gd name="T34" fmla="*/ 66226 w 197236"/>
              <a:gd name="T35" fmla="*/ 218168 h 278582"/>
              <a:gd name="T36" fmla="*/ 59006 w 197236"/>
              <a:gd name="T37" fmla="*/ 191222 h 278582"/>
              <a:gd name="T38" fmla="*/ 60223 w 197236"/>
              <a:gd name="T39" fmla="*/ 172090 h 278582"/>
              <a:gd name="T40" fmla="*/ 78476 w 197236"/>
              <a:gd name="T41" fmla="*/ 134639 h 278582"/>
              <a:gd name="T42" fmla="*/ 101498 w 197236"/>
              <a:gd name="T43" fmla="*/ 126230 h 278582"/>
              <a:gd name="T44" fmla="*/ 195697 w 197236"/>
              <a:gd name="T45" fmla="*/ 126230 h 278582"/>
              <a:gd name="T46" fmla="*/ 195697 w 197236"/>
              <a:gd name="T47" fmla="*/ 98351 h 278582"/>
              <a:gd name="T48" fmla="*/ 137656 w 197236"/>
              <a:gd name="T49" fmla="*/ 98351 h 278582"/>
              <a:gd name="T50" fmla="*/ 125696 w 197236"/>
              <a:gd name="T51" fmla="*/ 93138 h 278582"/>
              <a:gd name="T52" fmla="*/ 113612 w 197236"/>
              <a:gd name="T53" fmla="*/ 89403 h 278582"/>
              <a:gd name="T54" fmla="*/ 101290 w 197236"/>
              <a:gd name="T55" fmla="*/ 87186 h 278582"/>
              <a:gd name="T56" fmla="*/ 195697 w 197236"/>
              <a:gd name="T57" fmla="*/ 268621 h 278582"/>
              <a:gd name="T58" fmla="*/ 130504 w 197236"/>
              <a:gd name="T59" fmla="*/ 268621 h 278582"/>
              <a:gd name="T60" fmla="*/ 137656 w 197236"/>
              <a:gd name="T61" fmla="*/ 278326 h 278582"/>
              <a:gd name="T62" fmla="*/ 195697 w 197236"/>
              <a:gd name="T63" fmla="*/ 278326 h 278582"/>
              <a:gd name="T64" fmla="*/ 195697 w 197236"/>
              <a:gd name="T65" fmla="*/ 268621 h 278582"/>
              <a:gd name="T66" fmla="*/ 195697 w 197236"/>
              <a:gd name="T67" fmla="*/ 126230 h 278582"/>
              <a:gd name="T68" fmla="*/ 101498 w 197236"/>
              <a:gd name="T69" fmla="*/ 126230 h 278582"/>
              <a:gd name="T70" fmla="*/ 115302 w 197236"/>
              <a:gd name="T71" fmla="*/ 127643 h 278582"/>
              <a:gd name="T72" fmla="*/ 127709 w 197236"/>
              <a:gd name="T73" fmla="*/ 131559 h 278582"/>
              <a:gd name="T74" fmla="*/ 137656 w 197236"/>
              <a:gd name="T75" fmla="*/ 226900 h 278582"/>
              <a:gd name="T76" fmla="*/ 126106 w 197236"/>
              <a:gd name="T77" fmla="*/ 235854 h 278582"/>
              <a:gd name="T78" fmla="*/ 114903 w 197236"/>
              <a:gd name="T79" fmla="*/ 240870 h 278582"/>
              <a:gd name="T80" fmla="*/ 195697 w 197236"/>
              <a:gd name="T81" fmla="*/ 240870 h 278582"/>
              <a:gd name="T82" fmla="*/ 195697 w 197236"/>
              <a:gd name="T83" fmla="*/ 126230 h 278582"/>
              <a:gd name="T84" fmla="*/ 195697 w 197236"/>
              <a:gd name="T85" fmla="*/ 0 h 278582"/>
              <a:gd name="T86" fmla="*/ 137656 w 197236"/>
              <a:gd name="T87" fmla="*/ 0 h 278582"/>
              <a:gd name="T88" fmla="*/ 137656 w 197236"/>
              <a:gd name="T89" fmla="*/ 98351 h 278582"/>
              <a:gd name="T90" fmla="*/ 195697 w 197236"/>
              <a:gd name="T91" fmla="*/ 98351 h 278582"/>
              <a:gd name="T92" fmla="*/ 195697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1" name="object 21">
            <a:extLst>
              <a:ext uri="{FF2B5EF4-FFF2-40B4-BE49-F238E27FC236}">
                <a16:creationId xmlns:a16="http://schemas.microsoft.com/office/drawing/2014/main" id="{4BBD12CB-0F2F-416E-88BF-740FD1DACD26}"/>
              </a:ext>
            </a:extLst>
          </p:cNvPr>
          <p:cNvSpPr>
            <a:spLocks/>
          </p:cNvSpPr>
          <p:nvPr/>
        </p:nvSpPr>
        <p:spPr bwMode="auto">
          <a:xfrm>
            <a:off x="8653794" y="6394994"/>
            <a:ext cx="86183" cy="109104"/>
          </a:xfrm>
          <a:custGeom>
            <a:avLst/>
            <a:gdLst>
              <a:gd name="T0" fmla="*/ 59751 w 148435"/>
              <a:gd name="T1" fmla="*/ 3317 h 189286"/>
              <a:gd name="T2" fmla="*/ 0 w 148435"/>
              <a:gd name="T3" fmla="*/ 3317 h 189286"/>
              <a:gd name="T4" fmla="*/ 0 w 148435"/>
              <a:gd name="T5" fmla="*/ 187794 h 189286"/>
              <a:gd name="T6" fmla="*/ 59751 w 148435"/>
              <a:gd name="T7" fmla="*/ 187794 h 189286"/>
              <a:gd name="T8" fmla="*/ 61596 w 148435"/>
              <a:gd name="T9" fmla="*/ 103511 h 189286"/>
              <a:gd name="T10" fmla="*/ 68120 w 148435"/>
              <a:gd name="T11" fmla="*/ 89037 h 189286"/>
              <a:gd name="T12" fmla="*/ 104560 w 148435"/>
              <a:gd name="T13" fmla="*/ 56384 h 189286"/>
              <a:gd name="T14" fmla="*/ 108023 w 148435"/>
              <a:gd name="T15" fmla="*/ 56137 h 189286"/>
              <a:gd name="T16" fmla="*/ 59751 w 148435"/>
              <a:gd name="T17" fmla="*/ 56137 h 189286"/>
              <a:gd name="T18" fmla="*/ 59751 w 148435"/>
              <a:gd name="T19" fmla="*/ 3317 h 189286"/>
              <a:gd name="T20" fmla="*/ 145798 w 148435"/>
              <a:gd name="T21" fmla="*/ 55409 h 189286"/>
              <a:gd name="T22" fmla="*/ 118243 w 148435"/>
              <a:gd name="T23" fmla="*/ 55409 h 189286"/>
              <a:gd name="T24" fmla="*/ 129895 w 148435"/>
              <a:gd name="T25" fmla="*/ 59818 h 189286"/>
              <a:gd name="T26" fmla="*/ 144201 w 148435"/>
              <a:gd name="T27" fmla="*/ 67742 h 189286"/>
              <a:gd name="T28" fmla="*/ 145798 w 148435"/>
              <a:gd name="T29" fmla="*/ 55409 h 189286"/>
              <a:gd name="T30" fmla="*/ 116162 w 148435"/>
              <a:gd name="T31" fmla="*/ 0 h 189286"/>
              <a:gd name="T32" fmla="*/ 77630 w 148435"/>
              <a:gd name="T33" fmla="*/ 26287 h 189286"/>
              <a:gd name="T34" fmla="*/ 60569 w 148435"/>
              <a:gd name="T35" fmla="*/ 56137 h 189286"/>
              <a:gd name="T36" fmla="*/ 108023 w 148435"/>
              <a:gd name="T37" fmla="*/ 56137 h 189286"/>
              <a:gd name="T38" fmla="*/ 118243 w 148435"/>
              <a:gd name="T39" fmla="*/ 55409 h 189286"/>
              <a:gd name="T40" fmla="*/ 145798 w 148435"/>
              <a:gd name="T41" fmla="*/ 55409 h 189286"/>
              <a:gd name="T42" fmla="*/ 151620 w 148435"/>
              <a:gd name="T43" fmla="*/ 10373 h 189286"/>
              <a:gd name="T44" fmla="*/ 140006 w 148435"/>
              <a:gd name="T45" fmla="*/ 4193 h 189286"/>
              <a:gd name="T46" fmla="*/ 128731 w 148435"/>
              <a:gd name="T47" fmla="*/ 865 h 189286"/>
              <a:gd name="T48" fmla="*/ 116162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2" name="object 22">
            <a:extLst>
              <a:ext uri="{FF2B5EF4-FFF2-40B4-BE49-F238E27FC236}">
                <a16:creationId xmlns:a16="http://schemas.microsoft.com/office/drawing/2014/main" id="{07569EE8-5556-435C-83D4-D817BBC8E202}"/>
              </a:ext>
            </a:extLst>
          </p:cNvPr>
          <p:cNvSpPr>
            <a:spLocks/>
          </p:cNvSpPr>
          <p:nvPr/>
        </p:nvSpPr>
        <p:spPr bwMode="auto">
          <a:xfrm>
            <a:off x="8747312" y="6394994"/>
            <a:ext cx="111855" cy="111855"/>
          </a:xfrm>
          <a:custGeom>
            <a:avLst/>
            <a:gdLst>
              <a:gd name="T0" fmla="*/ 105303 w 193899"/>
              <a:gd name="T1" fmla="*/ 0 h 192655"/>
              <a:gd name="T2" fmla="*/ 59205 w 193899"/>
              <a:gd name="T3" fmla="*/ 8038 h 192655"/>
              <a:gd name="T4" fmla="*/ 25139 w 193899"/>
              <a:gd name="T5" fmla="*/ 30779 h 192655"/>
              <a:gd name="T6" fmla="*/ 4907 w 193899"/>
              <a:gd name="T7" fmla="*/ 65484 h 192655"/>
              <a:gd name="T8" fmla="*/ 0 w 193899"/>
              <a:gd name="T9" fmla="*/ 93917 h 192655"/>
              <a:gd name="T10" fmla="*/ 897 w 193899"/>
              <a:gd name="T11" fmla="*/ 109951 h 192655"/>
              <a:gd name="T12" fmla="*/ 14099 w 193899"/>
              <a:gd name="T13" fmla="*/ 150722 h 192655"/>
              <a:gd name="T14" fmla="*/ 41510 w 193899"/>
              <a:gd name="T15" fmla="*/ 179453 h 192655"/>
              <a:gd name="T16" fmla="*/ 81140 w 193899"/>
              <a:gd name="T17" fmla="*/ 194800 h 192655"/>
              <a:gd name="T18" fmla="*/ 106989 w 193899"/>
              <a:gd name="T19" fmla="*/ 196767 h 192655"/>
              <a:gd name="T20" fmla="*/ 118141 w 193899"/>
              <a:gd name="T21" fmla="*/ 196456 h 192655"/>
              <a:gd name="T22" fmla="*/ 168434 w 193899"/>
              <a:gd name="T23" fmla="*/ 184777 h 192655"/>
              <a:gd name="T24" fmla="*/ 184735 w 193899"/>
              <a:gd name="T25" fmla="*/ 161173 h 192655"/>
              <a:gd name="T26" fmla="*/ 130724 w 193899"/>
              <a:gd name="T27" fmla="*/ 161173 h 192655"/>
              <a:gd name="T28" fmla="*/ 112313 w 193899"/>
              <a:gd name="T29" fmla="*/ 160130 h 192655"/>
              <a:gd name="T30" fmla="*/ 74052 w 193899"/>
              <a:gd name="T31" fmla="*/ 143109 h 192655"/>
              <a:gd name="T32" fmla="*/ 60117 w 193899"/>
              <a:gd name="T33" fmla="*/ 108064 h 192655"/>
              <a:gd name="T34" fmla="*/ 193005 w 193899"/>
              <a:gd name="T35" fmla="*/ 108064 h 192655"/>
              <a:gd name="T36" fmla="*/ 192695 w 193899"/>
              <a:gd name="T37" fmla="*/ 90796 h 192655"/>
              <a:gd name="T38" fmla="*/ 190675 w 193899"/>
              <a:gd name="T39" fmla="*/ 76753 h 192655"/>
              <a:gd name="T40" fmla="*/ 61319 w 193899"/>
              <a:gd name="T41" fmla="*/ 76753 h 192655"/>
              <a:gd name="T42" fmla="*/ 64703 w 193899"/>
              <a:gd name="T43" fmla="*/ 60914 h 192655"/>
              <a:gd name="T44" fmla="*/ 71465 w 193899"/>
              <a:gd name="T45" fmla="*/ 48616 h 192655"/>
              <a:gd name="T46" fmla="*/ 81319 w 193899"/>
              <a:gd name="T47" fmla="*/ 40130 h 192655"/>
              <a:gd name="T48" fmla="*/ 93967 w 193899"/>
              <a:gd name="T49" fmla="*/ 35727 h 192655"/>
              <a:gd name="T50" fmla="*/ 101456 w 193899"/>
              <a:gd name="T51" fmla="*/ 35141 h 192655"/>
              <a:gd name="T52" fmla="*/ 172508 w 193899"/>
              <a:gd name="T53" fmla="*/ 35141 h 192655"/>
              <a:gd name="T54" fmla="*/ 164464 w 193899"/>
              <a:gd name="T55" fmla="*/ 25907 h 192655"/>
              <a:gd name="T56" fmla="*/ 154515 w 193899"/>
              <a:gd name="T57" fmla="*/ 17468 h 192655"/>
              <a:gd name="T58" fmla="*/ 143476 w 193899"/>
              <a:gd name="T59" fmla="*/ 10621 h 192655"/>
              <a:gd name="T60" fmla="*/ 131497 w 193899"/>
              <a:gd name="T61" fmla="*/ 5403 h 192655"/>
              <a:gd name="T62" fmla="*/ 118723 w 193899"/>
              <a:gd name="T63" fmla="*/ 1853 h 192655"/>
              <a:gd name="T64" fmla="*/ 105303 w 193899"/>
              <a:gd name="T65" fmla="*/ 0 h 192655"/>
              <a:gd name="T66" fmla="*/ 189794 w 193899"/>
              <a:gd name="T67" fmla="*/ 134423 h 192655"/>
              <a:gd name="T68" fmla="*/ 152962 w 193899"/>
              <a:gd name="T69" fmla="*/ 155971 h 192655"/>
              <a:gd name="T70" fmla="*/ 130724 w 193899"/>
              <a:gd name="T71" fmla="*/ 161173 h 192655"/>
              <a:gd name="T72" fmla="*/ 184735 w 193899"/>
              <a:gd name="T73" fmla="*/ 161173 h 192655"/>
              <a:gd name="T74" fmla="*/ 189794 w 193899"/>
              <a:gd name="T75" fmla="*/ 134423 h 192655"/>
              <a:gd name="T76" fmla="*/ 172508 w 193899"/>
              <a:gd name="T77" fmla="*/ 35141 h 192655"/>
              <a:gd name="T78" fmla="*/ 101456 w 193899"/>
              <a:gd name="T79" fmla="*/ 35141 h 192655"/>
              <a:gd name="T80" fmla="*/ 115276 w 193899"/>
              <a:gd name="T81" fmla="*/ 37389 h 192655"/>
              <a:gd name="T82" fmla="*/ 126599 w 193899"/>
              <a:gd name="T83" fmla="*/ 43896 h 192655"/>
              <a:gd name="T84" fmla="*/ 135061 w 193899"/>
              <a:gd name="T85" fmla="*/ 54313 h 192655"/>
              <a:gd name="T86" fmla="*/ 140292 w 193899"/>
              <a:gd name="T87" fmla="*/ 68292 h 192655"/>
              <a:gd name="T88" fmla="*/ 61319 w 193899"/>
              <a:gd name="T89" fmla="*/ 76753 h 192655"/>
              <a:gd name="T90" fmla="*/ 190675 w 193899"/>
              <a:gd name="T91" fmla="*/ 76753 h 192655"/>
              <a:gd name="T92" fmla="*/ 190410 w 193899"/>
              <a:gd name="T93" fmla="*/ 74910 h 192655"/>
              <a:gd name="T94" fmla="*/ 186297 w 193899"/>
              <a:gd name="T95" fmla="*/ 60443 h 192655"/>
              <a:gd name="T96" fmla="*/ 180503 w 193899"/>
              <a:gd name="T97" fmla="*/ 47430 h 192655"/>
              <a:gd name="T98" fmla="*/ 173175 w 193899"/>
              <a:gd name="T99" fmla="*/ 35907 h 192655"/>
              <a:gd name="T100" fmla="*/ 172508 w 193899"/>
              <a:gd name="T101" fmla="*/ 35141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3" name="object 23">
            <a:extLst>
              <a:ext uri="{FF2B5EF4-FFF2-40B4-BE49-F238E27FC236}">
                <a16:creationId xmlns:a16="http://schemas.microsoft.com/office/drawing/2014/main" id="{053C4F62-D86B-4BC2-A26F-1CA6B9346D14}"/>
              </a:ext>
            </a:extLst>
          </p:cNvPr>
          <p:cNvSpPr>
            <a:spLocks/>
          </p:cNvSpPr>
          <p:nvPr/>
        </p:nvSpPr>
        <p:spPr bwMode="auto">
          <a:xfrm>
            <a:off x="8876587" y="6394994"/>
            <a:ext cx="108188" cy="109104"/>
          </a:xfrm>
          <a:custGeom>
            <a:avLst/>
            <a:gdLst>
              <a:gd name="T0" fmla="*/ 59216 w 186753"/>
              <a:gd name="T1" fmla="*/ 3491 h 189472"/>
              <a:gd name="T2" fmla="*/ 0 w 186753"/>
              <a:gd name="T3" fmla="*/ 3491 h 189472"/>
              <a:gd name="T4" fmla="*/ 0 w 186753"/>
              <a:gd name="T5" fmla="*/ 187242 h 189472"/>
              <a:gd name="T6" fmla="*/ 59216 w 186753"/>
              <a:gd name="T7" fmla="*/ 187242 h 189472"/>
              <a:gd name="T8" fmla="*/ 65512 w 186753"/>
              <a:gd name="T9" fmla="*/ 60200 h 189472"/>
              <a:gd name="T10" fmla="*/ 74811 w 186753"/>
              <a:gd name="T11" fmla="*/ 50113 h 189472"/>
              <a:gd name="T12" fmla="*/ 84563 w 186753"/>
              <a:gd name="T13" fmla="*/ 43599 h 189472"/>
              <a:gd name="T14" fmla="*/ 95799 w 186753"/>
              <a:gd name="T15" fmla="*/ 40282 h 189472"/>
              <a:gd name="T16" fmla="*/ 109545 w 186753"/>
              <a:gd name="T17" fmla="*/ 39782 h 189472"/>
              <a:gd name="T18" fmla="*/ 183434 w 186753"/>
              <a:gd name="T19" fmla="*/ 39782 h 189472"/>
              <a:gd name="T20" fmla="*/ 182427 w 186753"/>
              <a:gd name="T21" fmla="*/ 36627 h 189472"/>
              <a:gd name="T22" fmla="*/ 178236 w 186753"/>
              <a:gd name="T23" fmla="*/ 29795 h 189472"/>
              <a:gd name="T24" fmla="*/ 59216 w 186753"/>
              <a:gd name="T25" fmla="*/ 29795 h 189472"/>
              <a:gd name="T26" fmla="*/ 59216 w 186753"/>
              <a:gd name="T27" fmla="*/ 3491 h 189472"/>
              <a:gd name="T28" fmla="*/ 183434 w 186753"/>
              <a:gd name="T29" fmla="*/ 39782 h 189472"/>
              <a:gd name="T30" fmla="*/ 109545 w 186753"/>
              <a:gd name="T31" fmla="*/ 39782 h 189472"/>
              <a:gd name="T32" fmla="*/ 120149 w 186753"/>
              <a:gd name="T33" fmla="*/ 45859 h 189472"/>
              <a:gd name="T34" fmla="*/ 127246 w 186753"/>
              <a:gd name="T35" fmla="*/ 57508 h 189472"/>
              <a:gd name="T36" fmla="*/ 129835 w 186753"/>
              <a:gd name="T37" fmla="*/ 75241 h 189472"/>
              <a:gd name="T38" fmla="*/ 129835 w 186753"/>
              <a:gd name="T39" fmla="*/ 187242 h 189472"/>
              <a:gd name="T40" fmla="*/ 189052 w 186753"/>
              <a:gd name="T41" fmla="*/ 187242 h 189472"/>
              <a:gd name="T42" fmla="*/ 187319 w 186753"/>
              <a:gd name="T43" fmla="*/ 51956 h 189472"/>
              <a:gd name="T44" fmla="*/ 183434 w 186753"/>
              <a:gd name="T45" fmla="*/ 39782 h 189472"/>
              <a:gd name="T46" fmla="*/ 116094 w 186753"/>
              <a:gd name="T47" fmla="*/ 0 h 189472"/>
              <a:gd name="T48" fmla="*/ 69786 w 186753"/>
              <a:gd name="T49" fmla="*/ 19181 h 189472"/>
              <a:gd name="T50" fmla="*/ 59216 w 186753"/>
              <a:gd name="T51" fmla="*/ 29795 h 189472"/>
              <a:gd name="T52" fmla="*/ 178236 w 186753"/>
              <a:gd name="T53" fmla="*/ 29795 h 189472"/>
              <a:gd name="T54" fmla="*/ 141752 w 186753"/>
              <a:gd name="T55" fmla="*/ 3348 h 189472"/>
              <a:gd name="T56" fmla="*/ 116094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4" name="object 24">
            <a:extLst>
              <a:ext uri="{FF2B5EF4-FFF2-40B4-BE49-F238E27FC236}">
                <a16:creationId xmlns:a16="http://schemas.microsoft.com/office/drawing/2014/main" id="{28F0C7DC-ECF8-4106-AEF9-8E61D0DE6237}"/>
              </a:ext>
            </a:extLst>
          </p:cNvPr>
          <p:cNvSpPr>
            <a:spLocks/>
          </p:cNvSpPr>
          <p:nvPr/>
        </p:nvSpPr>
        <p:spPr bwMode="auto">
          <a:xfrm>
            <a:off x="6621149" y="6108938"/>
            <a:ext cx="456589" cy="477676"/>
          </a:xfrm>
          <a:custGeom>
            <a:avLst/>
            <a:gdLst>
              <a:gd name="T0" fmla="*/ 66601 w 790525"/>
              <a:gd name="T1" fmla="*/ 162808 h 826770"/>
              <a:gd name="T2" fmla="*/ 78818 w 790525"/>
              <a:gd name="T3" fmla="*/ 207326 h 826770"/>
              <a:gd name="T4" fmla="*/ 31287 w 790525"/>
              <a:gd name="T5" fmla="*/ 292548 h 826770"/>
              <a:gd name="T6" fmla="*/ 426 w 790525"/>
              <a:gd name="T7" fmla="*/ 466806 h 826770"/>
              <a:gd name="T8" fmla="*/ 43649 w 790525"/>
              <a:gd name="T9" fmla="*/ 625800 h 826770"/>
              <a:gd name="T10" fmla="*/ 81030 w 790525"/>
              <a:gd name="T11" fmla="*/ 683037 h 826770"/>
              <a:gd name="T12" fmla="*/ 157264 w 790525"/>
              <a:gd name="T13" fmla="*/ 755537 h 826770"/>
              <a:gd name="T14" fmla="*/ 207251 w 790525"/>
              <a:gd name="T15" fmla="*/ 784793 h 826770"/>
              <a:gd name="T16" fmla="*/ 315829 w 790525"/>
              <a:gd name="T17" fmla="*/ 822950 h 826770"/>
              <a:gd name="T18" fmla="*/ 514399 w 790525"/>
              <a:gd name="T19" fmla="*/ 820406 h 826770"/>
              <a:gd name="T20" fmla="*/ 609484 w 790525"/>
              <a:gd name="T21" fmla="*/ 787337 h 826770"/>
              <a:gd name="T22" fmla="*/ 616428 w 790525"/>
              <a:gd name="T23" fmla="*/ 745362 h 826770"/>
              <a:gd name="T24" fmla="*/ 201678 w 790525"/>
              <a:gd name="T25" fmla="*/ 716106 h 826770"/>
              <a:gd name="T26" fmla="*/ 134187 w 790525"/>
              <a:gd name="T27" fmla="*/ 655054 h 826770"/>
              <a:gd name="T28" fmla="*/ 66507 w 790525"/>
              <a:gd name="T29" fmla="*/ 544394 h 826770"/>
              <a:gd name="T30" fmla="*/ 42329 w 790525"/>
              <a:gd name="T31" fmla="*/ 401936 h 826770"/>
              <a:gd name="T32" fmla="*/ 83765 w 790525"/>
              <a:gd name="T33" fmla="*/ 248030 h 826770"/>
              <a:gd name="T34" fmla="*/ 191944 w 790525"/>
              <a:gd name="T35" fmla="*/ 212414 h 826770"/>
              <a:gd name="T36" fmla="*/ 154523 w 790525"/>
              <a:gd name="T37" fmla="*/ 174258 h 826770"/>
              <a:gd name="T38" fmla="*/ 119452 w 790525"/>
              <a:gd name="T39" fmla="*/ 148818 h 826770"/>
              <a:gd name="T40" fmla="*/ 119288 w 790525"/>
              <a:gd name="T41" fmla="*/ 255662 h 826770"/>
              <a:gd name="T42" fmla="*/ 184014 w 790525"/>
              <a:gd name="T43" fmla="*/ 330708 h 826770"/>
              <a:gd name="T44" fmla="*/ 225246 w 790525"/>
              <a:gd name="T45" fmla="*/ 381584 h 826770"/>
              <a:gd name="T46" fmla="*/ 254375 w 790525"/>
              <a:gd name="T47" fmla="*/ 426102 h 826770"/>
              <a:gd name="T48" fmla="*/ 253878 w 790525"/>
              <a:gd name="T49" fmla="*/ 483340 h 826770"/>
              <a:gd name="T50" fmla="*/ 237200 w 790525"/>
              <a:gd name="T51" fmla="*/ 555842 h 826770"/>
              <a:gd name="T52" fmla="*/ 222850 w 790525"/>
              <a:gd name="T53" fmla="*/ 719924 h 826770"/>
              <a:gd name="T54" fmla="*/ 592803 w 790525"/>
              <a:gd name="T55" fmla="*/ 670318 h 826770"/>
              <a:gd name="T56" fmla="*/ 577688 w 790525"/>
              <a:gd name="T57" fmla="*/ 483340 h 826770"/>
              <a:gd name="T58" fmla="*/ 626540 w 790525"/>
              <a:gd name="T59" fmla="*/ 357418 h 826770"/>
              <a:gd name="T60" fmla="*/ 405916 w 790525"/>
              <a:gd name="T61" fmla="*/ 321802 h 826770"/>
              <a:gd name="T62" fmla="*/ 286633 w 790525"/>
              <a:gd name="T63" fmla="*/ 284916 h 826770"/>
              <a:gd name="T64" fmla="*/ 210579 w 790525"/>
              <a:gd name="T65" fmla="*/ 228952 h 826770"/>
              <a:gd name="T66" fmla="*/ 728729 w 790525"/>
              <a:gd name="T67" fmla="*/ 339610 h 826770"/>
              <a:gd name="T68" fmla="*/ 738887 w 790525"/>
              <a:gd name="T69" fmla="*/ 504963 h 826770"/>
              <a:gd name="T70" fmla="*/ 662252 w 790525"/>
              <a:gd name="T71" fmla="*/ 666500 h 826770"/>
              <a:gd name="T72" fmla="*/ 666443 w 790525"/>
              <a:gd name="T73" fmla="*/ 685581 h 826770"/>
              <a:gd name="T74" fmla="*/ 710503 w 790525"/>
              <a:gd name="T75" fmla="*/ 646150 h 826770"/>
              <a:gd name="T76" fmla="*/ 785928 w 790525"/>
              <a:gd name="T77" fmla="*/ 415926 h 826770"/>
              <a:gd name="T78" fmla="*/ 759425 w 790525"/>
              <a:gd name="T79" fmla="*/ 269652 h 826770"/>
              <a:gd name="T80" fmla="*/ 584089 w 790525"/>
              <a:gd name="T81" fmla="*/ 142460 h 826770"/>
              <a:gd name="T82" fmla="*/ 578400 w 790525"/>
              <a:gd name="T83" fmla="*/ 264564 h 826770"/>
              <a:gd name="T84" fmla="*/ 653240 w 790525"/>
              <a:gd name="T85" fmla="*/ 321802 h 826770"/>
              <a:gd name="T86" fmla="*/ 759425 w 790525"/>
              <a:gd name="T87" fmla="*/ 269652 h 826770"/>
              <a:gd name="T88" fmla="*/ 790185 w 790525"/>
              <a:gd name="T89" fmla="*/ 166626 h 826770"/>
              <a:gd name="T90" fmla="*/ 660945 w 790525"/>
              <a:gd name="T91" fmla="*/ 128466 h 826770"/>
              <a:gd name="T92" fmla="*/ 300718 w 790525"/>
              <a:gd name="T93" fmla="*/ 85222 h 826770"/>
              <a:gd name="T94" fmla="*/ 291988 w 790525"/>
              <a:gd name="T95" fmla="*/ 138642 h 826770"/>
              <a:gd name="T96" fmla="*/ 385277 w 790525"/>
              <a:gd name="T97" fmla="*/ 283646 h 826770"/>
              <a:gd name="T98" fmla="*/ 523363 w 790525"/>
              <a:gd name="T99" fmla="*/ 206056 h 826770"/>
              <a:gd name="T100" fmla="*/ 630222 w 790525"/>
              <a:gd name="T101" fmla="*/ 104300 h 826770"/>
              <a:gd name="T102" fmla="*/ 718389 w 790525"/>
              <a:gd name="T103" fmla="*/ 146274 h 826770"/>
              <a:gd name="T104" fmla="*/ 776563 w 790525"/>
              <a:gd name="T105" fmla="*/ 143730 h 826770"/>
              <a:gd name="T106" fmla="*/ 401575 w 790525"/>
              <a:gd name="T107" fmla="*/ 0 h 826770"/>
              <a:gd name="T108" fmla="*/ 238893 w 790525"/>
              <a:gd name="T109" fmla="*/ 73772 h 826770"/>
              <a:gd name="T110" fmla="*/ 152960 w 790525"/>
              <a:gd name="T111" fmla="*/ 129740 h 826770"/>
              <a:gd name="T112" fmla="*/ 177034 w 790525"/>
              <a:gd name="T113" fmla="*/ 142460 h 826770"/>
              <a:gd name="T114" fmla="*/ 231973 w 790525"/>
              <a:gd name="T115" fmla="*/ 109388 h 826770"/>
              <a:gd name="T116" fmla="*/ 575162 w 790525"/>
              <a:gd name="T117" fmla="*/ 72502 h 826770"/>
              <a:gd name="T118" fmla="*/ 503502 w 790525"/>
              <a:gd name="T119" fmla="*/ 47062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5" name="object 25">
            <a:extLst>
              <a:ext uri="{FF2B5EF4-FFF2-40B4-BE49-F238E27FC236}">
                <a16:creationId xmlns:a16="http://schemas.microsoft.com/office/drawing/2014/main" id="{D054AE5B-A22C-4C86-B118-C65413EECB2C}"/>
              </a:ext>
            </a:extLst>
          </p:cNvPr>
          <p:cNvSpPr>
            <a:spLocks/>
          </p:cNvSpPr>
          <p:nvPr/>
        </p:nvSpPr>
        <p:spPr bwMode="auto">
          <a:xfrm>
            <a:off x="2067180" y="2422304"/>
            <a:ext cx="5207679" cy="1486206"/>
          </a:xfrm>
          <a:custGeom>
            <a:avLst/>
            <a:gdLst>
              <a:gd name="T0" fmla="*/ 0 w 9018003"/>
              <a:gd name="T1" fmla="*/ 2571248 h 2574035"/>
              <a:gd name="T2" fmla="*/ 9013991 w 9018003"/>
              <a:gd name="T3" fmla="*/ 2571248 h 2574035"/>
              <a:gd name="T4" fmla="*/ 9013991 w 9018003"/>
              <a:gd name="T5" fmla="*/ 0 h 2574035"/>
              <a:gd name="T6" fmla="*/ 0 w 9018003"/>
              <a:gd name="T7" fmla="*/ 0 h 2574035"/>
              <a:gd name="T8" fmla="*/ 0 w 9018003"/>
              <a:gd name="T9" fmla="*/ 2571248 h 25740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018003" h="2574035">
                <a:moveTo>
                  <a:pt x="0" y="2574035"/>
                </a:moveTo>
                <a:lnTo>
                  <a:pt x="9018003" y="2574035"/>
                </a:lnTo>
                <a:lnTo>
                  <a:pt x="9018003" y="0"/>
                </a:lnTo>
                <a:lnTo>
                  <a:pt x="0" y="0"/>
                </a:lnTo>
                <a:lnTo>
                  <a:pt x="0" y="25740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6" name="object 26">
            <a:extLst>
              <a:ext uri="{FF2B5EF4-FFF2-40B4-BE49-F238E27FC236}">
                <a16:creationId xmlns:a16="http://schemas.microsoft.com/office/drawing/2014/main" id="{90097E9E-16DA-4DA4-9CD9-5B5CE788895E}"/>
              </a:ext>
            </a:extLst>
          </p:cNvPr>
          <p:cNvSpPr txBox="1">
            <a:spLocks noChangeArrowheads="1"/>
          </p:cNvSpPr>
          <p:nvPr/>
        </p:nvSpPr>
        <p:spPr bwMode="auto">
          <a:xfrm>
            <a:off x="2316562" y="2613925"/>
            <a:ext cx="4693329" cy="1092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1" hangingPunct="1">
              <a:lnSpc>
                <a:spcPct val="100000"/>
              </a:lnSpc>
              <a:spcBef>
                <a:spcPct val="0"/>
              </a:spcBef>
              <a:buFontTx/>
              <a:buNone/>
            </a:pPr>
            <a:r>
              <a:rPr lang="en-US" altLang="en-US" sz="2368">
                <a:solidFill>
                  <a:srgbClr val="231F20"/>
                </a:solidFill>
                <a:latin typeface="Gill Sans Light"/>
                <a:ea typeface="Gill Sans Light"/>
                <a:cs typeface="Gill Sans Light"/>
              </a:rPr>
              <a:t>ကြာရှည် လွန်ကဲတဲ့ စိတ်ဖိစီးမှုကြောင့် စိတ်ရောကိုယ်ပါ ခြေကုန်လကက်ပန်းကျခြင်း အခြေအနေ</a:t>
            </a:r>
            <a:endParaRPr lang="en-US" altLang="en-US" sz="2368">
              <a:latin typeface="Gill Sans Light"/>
              <a:ea typeface="Gill Sans Light"/>
              <a:cs typeface="Gill Sans Light"/>
            </a:endParaRPr>
          </a:p>
        </p:txBody>
      </p:sp>
      <p:sp>
        <p:nvSpPr>
          <p:cNvPr id="10267" name="object 27">
            <a:extLst>
              <a:ext uri="{FF2B5EF4-FFF2-40B4-BE49-F238E27FC236}">
                <a16:creationId xmlns:a16="http://schemas.microsoft.com/office/drawing/2014/main" id="{BCECFE90-4476-4199-A967-826F6C671212}"/>
              </a:ext>
            </a:extLst>
          </p:cNvPr>
          <p:cNvSpPr>
            <a:spLocks/>
          </p:cNvSpPr>
          <p:nvPr/>
        </p:nvSpPr>
        <p:spPr bwMode="auto">
          <a:xfrm>
            <a:off x="2067180" y="2502987"/>
            <a:ext cx="80682" cy="296141"/>
          </a:xfrm>
          <a:custGeom>
            <a:avLst/>
            <a:gdLst>
              <a:gd name="T0" fmla="*/ 0 w 140398"/>
              <a:gd name="T1" fmla="*/ 515637 h 511809"/>
              <a:gd name="T2" fmla="*/ 137626 w 140398"/>
              <a:gd name="T3" fmla="*/ 515637 h 511809"/>
              <a:gd name="T4" fmla="*/ 137626 w 140398"/>
              <a:gd name="T5" fmla="*/ 0 h 511809"/>
              <a:gd name="T6" fmla="*/ 0 w 140398"/>
              <a:gd name="T7" fmla="*/ 0 h 511809"/>
              <a:gd name="T8" fmla="*/ 0 w 140398"/>
              <a:gd name="T9" fmla="*/ 515637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10"/>
                </a:moveTo>
                <a:lnTo>
                  <a:pt x="140398" y="511810"/>
                </a:lnTo>
                <a:lnTo>
                  <a:pt x="140398" y="0"/>
                </a:lnTo>
                <a:lnTo>
                  <a:pt x="0" y="0"/>
                </a:lnTo>
                <a:lnTo>
                  <a:pt x="0" y="5118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8" name="object 28">
            <a:extLst>
              <a:ext uri="{FF2B5EF4-FFF2-40B4-BE49-F238E27FC236}">
                <a16:creationId xmlns:a16="http://schemas.microsoft.com/office/drawing/2014/main" id="{64D3F0A2-3E31-42D1-ACF0-AD2315A99651}"/>
              </a:ext>
            </a:extLst>
          </p:cNvPr>
          <p:cNvSpPr>
            <a:spLocks/>
          </p:cNvSpPr>
          <p:nvPr/>
        </p:nvSpPr>
        <p:spPr bwMode="auto">
          <a:xfrm>
            <a:off x="2067180" y="2422304"/>
            <a:ext cx="375906" cy="80682"/>
          </a:xfrm>
          <a:custGeom>
            <a:avLst/>
            <a:gdLst>
              <a:gd name="T0" fmla="*/ 0 w 651573"/>
              <a:gd name="T1" fmla="*/ 135958 h 140970"/>
              <a:gd name="T2" fmla="*/ 648785 w 651573"/>
              <a:gd name="T3" fmla="*/ 135958 h 140970"/>
              <a:gd name="T4" fmla="*/ 648785 w 651573"/>
              <a:gd name="T5" fmla="*/ 0 h 140970"/>
              <a:gd name="T6" fmla="*/ 0 w 651573"/>
              <a:gd name="T7" fmla="*/ 0 h 140970"/>
              <a:gd name="T8" fmla="*/ 0 w 651573"/>
              <a:gd name="T9" fmla="*/ 135958 h 1409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73" h="140970">
                <a:moveTo>
                  <a:pt x="0" y="140970"/>
                </a:moveTo>
                <a:lnTo>
                  <a:pt x="651573" y="140970"/>
                </a:lnTo>
                <a:lnTo>
                  <a:pt x="651573" y="0"/>
                </a:lnTo>
                <a:lnTo>
                  <a:pt x="0" y="0"/>
                </a:lnTo>
                <a:lnTo>
                  <a:pt x="0" y="14097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69" name="object 29">
            <a:extLst>
              <a:ext uri="{FF2B5EF4-FFF2-40B4-BE49-F238E27FC236}">
                <a16:creationId xmlns:a16="http://schemas.microsoft.com/office/drawing/2014/main" id="{4BEC6FF5-0CAF-4425-B918-17C5295763DC}"/>
              </a:ext>
            </a:extLst>
          </p:cNvPr>
          <p:cNvSpPr>
            <a:spLocks/>
          </p:cNvSpPr>
          <p:nvPr/>
        </p:nvSpPr>
        <p:spPr bwMode="auto">
          <a:xfrm>
            <a:off x="7199678" y="2503904"/>
            <a:ext cx="80682" cy="294307"/>
          </a:xfrm>
          <a:custGeom>
            <a:avLst/>
            <a:gdLst>
              <a:gd name="T0" fmla="*/ 0 w 140398"/>
              <a:gd name="T1" fmla="*/ 506739 h 510540"/>
              <a:gd name="T2" fmla="*/ 137626 w 140398"/>
              <a:gd name="T3" fmla="*/ 506739 h 510540"/>
              <a:gd name="T4" fmla="*/ 137626 w 140398"/>
              <a:gd name="T5" fmla="*/ 0 h 510540"/>
              <a:gd name="T6" fmla="*/ 0 w 140398"/>
              <a:gd name="T7" fmla="*/ 0 h 510540"/>
              <a:gd name="T8" fmla="*/ 0 w 140398"/>
              <a:gd name="T9" fmla="*/ 506739 h 5105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0540">
                <a:moveTo>
                  <a:pt x="0" y="510540"/>
                </a:moveTo>
                <a:lnTo>
                  <a:pt x="140398" y="510540"/>
                </a:lnTo>
                <a:lnTo>
                  <a:pt x="140398" y="0"/>
                </a:lnTo>
                <a:lnTo>
                  <a:pt x="0" y="0"/>
                </a:lnTo>
                <a:lnTo>
                  <a:pt x="0" y="5105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70" name="object 30">
            <a:extLst>
              <a:ext uri="{FF2B5EF4-FFF2-40B4-BE49-F238E27FC236}">
                <a16:creationId xmlns:a16="http://schemas.microsoft.com/office/drawing/2014/main" id="{098054AC-6F0A-4DCE-B033-CAAD07E6B1C5}"/>
              </a:ext>
            </a:extLst>
          </p:cNvPr>
          <p:cNvSpPr>
            <a:spLocks/>
          </p:cNvSpPr>
          <p:nvPr/>
        </p:nvSpPr>
        <p:spPr bwMode="auto">
          <a:xfrm>
            <a:off x="6904454" y="2422305"/>
            <a:ext cx="375906" cy="81599"/>
          </a:xfrm>
          <a:custGeom>
            <a:avLst/>
            <a:gdLst>
              <a:gd name="T0" fmla="*/ 0 w 651598"/>
              <a:gd name="T1" fmla="*/ 142249 h 140969"/>
              <a:gd name="T2" fmla="*/ 648711 w 651598"/>
              <a:gd name="T3" fmla="*/ 142249 h 140969"/>
              <a:gd name="T4" fmla="*/ 648711 w 651598"/>
              <a:gd name="T5" fmla="*/ 0 h 140969"/>
              <a:gd name="T6" fmla="*/ 0 w 651598"/>
              <a:gd name="T7" fmla="*/ 0 h 140969"/>
              <a:gd name="T8" fmla="*/ 0 w 651598"/>
              <a:gd name="T9" fmla="*/ 142249 h 1409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98" h="140969">
                <a:moveTo>
                  <a:pt x="0" y="140969"/>
                </a:moveTo>
                <a:lnTo>
                  <a:pt x="651598" y="140969"/>
                </a:lnTo>
                <a:lnTo>
                  <a:pt x="651598" y="0"/>
                </a:lnTo>
                <a:lnTo>
                  <a:pt x="0" y="0"/>
                </a:lnTo>
                <a:lnTo>
                  <a:pt x="0" y="14096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71" name="object 31">
            <a:extLst>
              <a:ext uri="{FF2B5EF4-FFF2-40B4-BE49-F238E27FC236}">
                <a16:creationId xmlns:a16="http://schemas.microsoft.com/office/drawing/2014/main" id="{6BDFBBC1-4F04-4544-954A-D42F785C32A4}"/>
              </a:ext>
            </a:extLst>
          </p:cNvPr>
          <p:cNvSpPr>
            <a:spLocks/>
          </p:cNvSpPr>
          <p:nvPr/>
        </p:nvSpPr>
        <p:spPr bwMode="auto">
          <a:xfrm>
            <a:off x="6901704" y="3827828"/>
            <a:ext cx="375906" cy="81599"/>
          </a:xfrm>
          <a:custGeom>
            <a:avLst/>
            <a:gdLst>
              <a:gd name="T0" fmla="*/ 0 w 651573"/>
              <a:gd name="T1" fmla="*/ 142242 h 140970"/>
              <a:gd name="T2" fmla="*/ 648785 w 651573"/>
              <a:gd name="T3" fmla="*/ 142242 h 140970"/>
              <a:gd name="T4" fmla="*/ 648785 w 651573"/>
              <a:gd name="T5" fmla="*/ 0 h 140970"/>
              <a:gd name="T6" fmla="*/ 0 w 651573"/>
              <a:gd name="T7" fmla="*/ 0 h 140970"/>
              <a:gd name="T8" fmla="*/ 0 w 651573"/>
              <a:gd name="T9" fmla="*/ 142242 h 1409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73" h="140970">
                <a:moveTo>
                  <a:pt x="0" y="140970"/>
                </a:moveTo>
                <a:lnTo>
                  <a:pt x="651573" y="140970"/>
                </a:lnTo>
                <a:lnTo>
                  <a:pt x="651573" y="0"/>
                </a:lnTo>
                <a:lnTo>
                  <a:pt x="0" y="0"/>
                </a:lnTo>
                <a:lnTo>
                  <a:pt x="0" y="14097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72" name="object 32">
            <a:extLst>
              <a:ext uri="{FF2B5EF4-FFF2-40B4-BE49-F238E27FC236}">
                <a16:creationId xmlns:a16="http://schemas.microsoft.com/office/drawing/2014/main" id="{BB934220-7330-42ED-A780-545875CDBF62}"/>
              </a:ext>
            </a:extLst>
          </p:cNvPr>
          <p:cNvSpPr>
            <a:spLocks/>
          </p:cNvSpPr>
          <p:nvPr/>
        </p:nvSpPr>
        <p:spPr bwMode="auto">
          <a:xfrm>
            <a:off x="7196927" y="3531687"/>
            <a:ext cx="80682" cy="296141"/>
          </a:xfrm>
          <a:custGeom>
            <a:avLst/>
            <a:gdLst>
              <a:gd name="T0" fmla="*/ 0 w 140398"/>
              <a:gd name="T1" fmla="*/ 515637 h 511809"/>
              <a:gd name="T2" fmla="*/ 137626 w 140398"/>
              <a:gd name="T3" fmla="*/ 515637 h 511809"/>
              <a:gd name="T4" fmla="*/ 137626 w 140398"/>
              <a:gd name="T5" fmla="*/ 0 h 511809"/>
              <a:gd name="T6" fmla="*/ 0 w 140398"/>
              <a:gd name="T7" fmla="*/ 0 h 511809"/>
              <a:gd name="T8" fmla="*/ 0 w 140398"/>
              <a:gd name="T9" fmla="*/ 515637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10"/>
                </a:moveTo>
                <a:lnTo>
                  <a:pt x="140398" y="511810"/>
                </a:lnTo>
                <a:lnTo>
                  <a:pt x="140398" y="0"/>
                </a:lnTo>
                <a:lnTo>
                  <a:pt x="0" y="0"/>
                </a:lnTo>
                <a:lnTo>
                  <a:pt x="0" y="5118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73" name="object 33">
            <a:extLst>
              <a:ext uri="{FF2B5EF4-FFF2-40B4-BE49-F238E27FC236}">
                <a16:creationId xmlns:a16="http://schemas.microsoft.com/office/drawing/2014/main" id="{68600BA7-9C36-4883-8D5F-F253040B5B2D}"/>
              </a:ext>
            </a:extLst>
          </p:cNvPr>
          <p:cNvSpPr>
            <a:spLocks/>
          </p:cNvSpPr>
          <p:nvPr/>
        </p:nvSpPr>
        <p:spPr bwMode="auto">
          <a:xfrm>
            <a:off x="2064430" y="3827828"/>
            <a:ext cx="375906" cy="80682"/>
          </a:xfrm>
          <a:custGeom>
            <a:avLst/>
            <a:gdLst>
              <a:gd name="T0" fmla="*/ 0 w 651598"/>
              <a:gd name="T1" fmla="*/ 139699 h 139700"/>
              <a:gd name="T2" fmla="*/ 648711 w 651598"/>
              <a:gd name="T3" fmla="*/ 139699 h 139700"/>
              <a:gd name="T4" fmla="*/ 648711 w 651598"/>
              <a:gd name="T5" fmla="*/ 0 h 139700"/>
              <a:gd name="T6" fmla="*/ 0 w 651598"/>
              <a:gd name="T7" fmla="*/ 0 h 139700"/>
              <a:gd name="T8" fmla="*/ 0 w 651598"/>
              <a:gd name="T9" fmla="*/ 139699 h 1397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98" h="139700">
                <a:moveTo>
                  <a:pt x="0" y="139699"/>
                </a:moveTo>
                <a:lnTo>
                  <a:pt x="651598" y="139699"/>
                </a:lnTo>
                <a:lnTo>
                  <a:pt x="651598" y="0"/>
                </a:lnTo>
                <a:lnTo>
                  <a:pt x="0" y="0"/>
                </a:lnTo>
                <a:lnTo>
                  <a:pt x="0" y="13969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74" name="object 34">
            <a:extLst>
              <a:ext uri="{FF2B5EF4-FFF2-40B4-BE49-F238E27FC236}">
                <a16:creationId xmlns:a16="http://schemas.microsoft.com/office/drawing/2014/main" id="{4F53958A-3061-4D4D-B72D-8F600C435013}"/>
              </a:ext>
            </a:extLst>
          </p:cNvPr>
          <p:cNvSpPr>
            <a:spLocks/>
          </p:cNvSpPr>
          <p:nvPr/>
        </p:nvSpPr>
        <p:spPr bwMode="auto">
          <a:xfrm>
            <a:off x="2064430" y="3532604"/>
            <a:ext cx="80682" cy="295224"/>
          </a:xfrm>
          <a:custGeom>
            <a:avLst/>
            <a:gdLst>
              <a:gd name="T0" fmla="*/ 0 w 140398"/>
              <a:gd name="T1" fmla="*/ 509279 h 511809"/>
              <a:gd name="T2" fmla="*/ 137626 w 140398"/>
              <a:gd name="T3" fmla="*/ 509279 h 511809"/>
              <a:gd name="T4" fmla="*/ 137626 w 140398"/>
              <a:gd name="T5" fmla="*/ 0 h 511809"/>
              <a:gd name="T6" fmla="*/ 0 w 140398"/>
              <a:gd name="T7" fmla="*/ 0 h 511809"/>
              <a:gd name="T8" fmla="*/ 0 w 140398"/>
              <a:gd name="T9" fmla="*/ 509279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10"/>
                </a:moveTo>
                <a:lnTo>
                  <a:pt x="140398" y="511810"/>
                </a:lnTo>
                <a:lnTo>
                  <a:pt x="140398" y="0"/>
                </a:lnTo>
                <a:lnTo>
                  <a:pt x="0" y="0"/>
                </a:lnTo>
                <a:lnTo>
                  <a:pt x="0" y="5118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75" name="object 35">
            <a:extLst>
              <a:ext uri="{FF2B5EF4-FFF2-40B4-BE49-F238E27FC236}">
                <a16:creationId xmlns:a16="http://schemas.microsoft.com/office/drawing/2014/main" id="{07062225-DF4A-4934-8643-B6B3F028ED20}"/>
              </a:ext>
            </a:extLst>
          </p:cNvPr>
          <p:cNvSpPr>
            <a:spLocks/>
          </p:cNvSpPr>
          <p:nvPr/>
        </p:nvSpPr>
        <p:spPr bwMode="auto">
          <a:xfrm>
            <a:off x="2064430" y="831579"/>
            <a:ext cx="5215930" cy="779318"/>
          </a:xfrm>
          <a:custGeom>
            <a:avLst/>
            <a:gdLst>
              <a:gd name="T0" fmla="*/ 9030639 w 9031503"/>
              <a:gd name="T1" fmla="*/ 0 h 1349997"/>
              <a:gd name="T2" fmla="*/ 0 w 9031503"/>
              <a:gd name="T3" fmla="*/ 0 h 1349997"/>
              <a:gd name="T4" fmla="*/ 0 w 9031503"/>
              <a:gd name="T5" fmla="*/ 1347511 h 1349997"/>
              <a:gd name="T6" fmla="*/ 8549255 w 9031503"/>
              <a:gd name="T7" fmla="*/ 1346851 h 1349997"/>
              <a:gd name="T8" fmla="*/ 8625111 w 9031503"/>
              <a:gd name="T9" fmla="*/ 1345286 h 1349997"/>
              <a:gd name="T10" fmla="*/ 8692546 w 9031503"/>
              <a:gd name="T11" fmla="*/ 1342237 h 1349997"/>
              <a:gd name="T12" fmla="*/ 8752061 w 9031503"/>
              <a:gd name="T13" fmla="*/ 1337211 h 1349997"/>
              <a:gd name="T14" fmla="*/ 8804142 w 9031503"/>
              <a:gd name="T15" fmla="*/ 1329712 h 1349997"/>
              <a:gd name="T16" fmla="*/ 8849293 w 9031503"/>
              <a:gd name="T17" fmla="*/ 1319248 h 1349997"/>
              <a:gd name="T18" fmla="*/ 8888005 w 9031503"/>
              <a:gd name="T19" fmla="*/ 1305322 h 1349997"/>
              <a:gd name="T20" fmla="*/ 8948097 w 9031503"/>
              <a:gd name="T21" fmla="*/ 1265113 h 1349997"/>
              <a:gd name="T22" fmla="*/ 8988377 w 9031503"/>
              <a:gd name="T23" fmla="*/ 1205126 h 1349997"/>
              <a:gd name="T24" fmla="*/ 9002328 w 9031503"/>
              <a:gd name="T25" fmla="*/ 1166482 h 1349997"/>
              <a:gd name="T26" fmla="*/ 9012808 w 9031503"/>
              <a:gd name="T27" fmla="*/ 1121411 h 1349997"/>
              <a:gd name="T28" fmla="*/ 9020320 w 9031503"/>
              <a:gd name="T29" fmla="*/ 1069418 h 1349997"/>
              <a:gd name="T30" fmla="*/ 9025356 w 9031503"/>
              <a:gd name="T31" fmla="*/ 1010008 h 1349997"/>
              <a:gd name="T32" fmla="*/ 9028410 w 9031503"/>
              <a:gd name="T33" fmla="*/ 942689 h 1349997"/>
              <a:gd name="T34" fmla="*/ 9029979 w 9031503"/>
              <a:gd name="T35" fmla="*/ 866965 h 1349997"/>
              <a:gd name="T36" fmla="*/ 9030556 w 9031503"/>
              <a:gd name="T37" fmla="*/ 782342 h 1349997"/>
              <a:gd name="T38" fmla="*/ 9030639 w 9031503"/>
              <a:gd name="T39" fmla="*/ 0 h 13499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031503" h="1349997">
                <a:moveTo>
                  <a:pt x="9031503" y="0"/>
                </a:moveTo>
                <a:lnTo>
                  <a:pt x="0" y="0"/>
                </a:lnTo>
                <a:lnTo>
                  <a:pt x="0" y="1349997"/>
                </a:lnTo>
                <a:lnTo>
                  <a:pt x="8550071" y="1349336"/>
                </a:lnTo>
                <a:lnTo>
                  <a:pt x="8625935" y="1347768"/>
                </a:lnTo>
                <a:lnTo>
                  <a:pt x="8693378" y="1344714"/>
                </a:lnTo>
                <a:lnTo>
                  <a:pt x="8752897" y="1339678"/>
                </a:lnTo>
                <a:lnTo>
                  <a:pt x="8804986" y="1332166"/>
                </a:lnTo>
                <a:lnTo>
                  <a:pt x="8850141" y="1321682"/>
                </a:lnTo>
                <a:lnTo>
                  <a:pt x="8888857" y="1307731"/>
                </a:lnTo>
                <a:lnTo>
                  <a:pt x="8948953" y="1267447"/>
                </a:lnTo>
                <a:lnTo>
                  <a:pt x="8989237" y="1207350"/>
                </a:lnTo>
                <a:lnTo>
                  <a:pt x="9003188" y="1168634"/>
                </a:lnTo>
                <a:lnTo>
                  <a:pt x="9013672" y="1123480"/>
                </a:lnTo>
                <a:lnTo>
                  <a:pt x="9021184" y="1071391"/>
                </a:lnTo>
                <a:lnTo>
                  <a:pt x="9026220" y="1011872"/>
                </a:lnTo>
                <a:lnTo>
                  <a:pt x="9029274" y="944429"/>
                </a:lnTo>
                <a:lnTo>
                  <a:pt x="9030843" y="868565"/>
                </a:lnTo>
                <a:lnTo>
                  <a:pt x="9031420" y="783786"/>
                </a:lnTo>
                <a:lnTo>
                  <a:pt x="9031503"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276" name="object 36">
            <a:extLst>
              <a:ext uri="{FF2B5EF4-FFF2-40B4-BE49-F238E27FC236}">
                <a16:creationId xmlns:a16="http://schemas.microsoft.com/office/drawing/2014/main" id="{E93A8A7F-F8CF-4A31-9F27-40E25340F859}"/>
              </a:ext>
            </a:extLst>
          </p:cNvPr>
          <p:cNvSpPr>
            <a:spLocks noGrp="1"/>
          </p:cNvSpPr>
          <p:nvPr>
            <p:ph type="title"/>
          </p:nvPr>
        </p:nvSpPr>
        <p:spPr>
          <a:xfrm>
            <a:off x="-184591" y="470342"/>
            <a:ext cx="8076487" cy="1067207"/>
          </a:xfrm>
        </p:spPr>
        <p:txBody>
          <a:bodyPr vert="horz" lIns="0" tIns="505238" rIns="0" bIns="0" rtlCol="0" anchor="ctr">
            <a:noAutofit/>
          </a:bodyPr>
          <a:lstStyle/>
          <a:p>
            <a:pPr marL="2867692"/>
            <a:r>
              <a:rPr lang="en-US" altLang="en-US" sz="3465">
                <a:solidFill>
                  <a:srgbClr val="FFFFFF"/>
                </a:solidFill>
                <a:latin typeface="Gill Sans" pitchFamily="34" charset="0"/>
                <a:cs typeface="Gill Sans" pitchFamily="34" charset="0"/>
              </a:rPr>
              <a:t>စိတ်နှလုံးချွတ်ခြုံကျခြင်း?</a:t>
            </a:r>
            <a:endParaRPr lang="en-US" altLang="en-US" sz="3465">
              <a:latin typeface="Gill Sans" pitchFamily="34" charset="0"/>
              <a:cs typeface="Gill Sans" pitchFamily="34" charset="0"/>
            </a:endParaRPr>
          </a:p>
        </p:txBody>
      </p:sp>
      <p:sp>
        <p:nvSpPr>
          <p:cNvPr id="38" name="object 38">
            <a:extLst>
              <a:ext uri="{FF2B5EF4-FFF2-40B4-BE49-F238E27FC236}">
                <a16:creationId xmlns:a16="http://schemas.microsoft.com/office/drawing/2014/main" id="{8F586E04-3F5C-4FA0-B737-A98C9C00B2C1}"/>
              </a:ext>
            </a:extLst>
          </p:cNvPr>
          <p:cNvSpPr>
            <a:spLocks noGrp="1"/>
          </p:cNvSpPr>
          <p:nvPr>
            <p:ph type="ftr" sz="quarter" idx="10"/>
          </p:nvPr>
        </p:nvSpPr>
        <p:spPr/>
        <p:txBody>
          <a:bodyPr vert="horz" rtlCol="0"/>
          <a:lstStyle/>
          <a:p>
            <a:pPr>
              <a:defRPr/>
            </a:pPr>
            <a:r>
              <a:t>Se</a:t>
            </a:r>
            <a:r>
              <a:rPr spc="9"/>
              <a:t>c</a:t>
            </a:r>
            <a:r>
              <a:rPr spc="12"/>
              <a:t>t</a:t>
            </a:r>
            <a:r>
              <a:rPr spc="-6"/>
              <a:t>i</a:t>
            </a:r>
            <a:r>
              <a:t>on</a:t>
            </a:r>
            <a:r>
              <a:rPr spc="3"/>
              <a:t> </a:t>
            </a:r>
            <a:r>
              <a:rPr spc="17"/>
              <a:t>C</a:t>
            </a:r>
            <a:r>
              <a:t>:</a:t>
            </a:r>
          </a:p>
        </p:txBody>
      </p:sp>
      <p:sp>
        <p:nvSpPr>
          <p:cNvPr id="37" name="object 37">
            <a:extLst>
              <a:ext uri="{FF2B5EF4-FFF2-40B4-BE49-F238E27FC236}">
                <a16:creationId xmlns:a16="http://schemas.microsoft.com/office/drawing/2014/main" id="{932BDE15-1F67-4C34-ACC0-584D8ED465AE}"/>
              </a:ext>
            </a:extLst>
          </p:cNvPr>
          <p:cNvSpPr txBox="1"/>
          <p:nvPr/>
        </p:nvSpPr>
        <p:spPr>
          <a:xfrm>
            <a:off x="20816" y="175739"/>
            <a:ext cx="69313" cy="647659"/>
          </a:xfrm>
          <a:prstGeom prst="rect">
            <a:avLst/>
          </a:prstGeom>
        </p:spPr>
        <p:txBody>
          <a:bodyPr vert="vert270" lIns="0" tIns="0" rIns="0" bIns="0"/>
          <a:lstStyle/>
          <a:p>
            <a:pPr marL="7334">
              <a:defRPr/>
            </a:pPr>
            <a:r>
              <a:rPr sz="404" dirty="0">
                <a:solidFill>
                  <a:srgbClr val="231F20"/>
                </a:solidFill>
                <a:latin typeface="Gill Sans"/>
                <a:cs typeface="Gill Sans"/>
              </a:rPr>
              <a:t>Rob Holden/S</a:t>
            </a:r>
            <a:r>
              <a:rPr sz="404" spc="-14" dirty="0">
                <a:solidFill>
                  <a:srgbClr val="231F20"/>
                </a:solidFill>
                <a:latin typeface="Gill Sans"/>
                <a:cs typeface="Gill Sans"/>
              </a:rPr>
              <a:t>a</a:t>
            </a:r>
            <a:r>
              <a:rPr sz="404" spc="-9" dirty="0">
                <a:solidFill>
                  <a:srgbClr val="231F20"/>
                </a:solidFill>
                <a:latin typeface="Gill Sans"/>
                <a:cs typeface="Gill Sans"/>
              </a:rPr>
              <a:t>v</a:t>
            </a:r>
            <a:r>
              <a:rPr sz="404" dirty="0">
                <a:solidFill>
                  <a:srgbClr val="231F20"/>
                </a:solidFill>
                <a:latin typeface="Gill Sans"/>
                <a:cs typeface="Gill Sans"/>
              </a:rPr>
              <a:t>e the Child</a:t>
            </a:r>
            <a:r>
              <a:rPr sz="404" spc="-9" dirty="0">
                <a:solidFill>
                  <a:srgbClr val="231F20"/>
                </a:solidFill>
                <a:latin typeface="Gill Sans"/>
                <a:cs typeface="Gill Sans"/>
              </a:rPr>
              <a:t>r</a:t>
            </a:r>
            <a:r>
              <a:rPr sz="404" dirty="0">
                <a:solidFill>
                  <a:srgbClr val="231F20"/>
                </a:solidFill>
                <a:latin typeface="Gill Sans"/>
                <a:cs typeface="Gill Sans"/>
              </a:rPr>
              <a:t>en</a:t>
            </a:r>
            <a:endParaRPr sz="404">
              <a:latin typeface="Gill Sans"/>
              <a:cs typeface="Gill Sans"/>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object 2">
            <a:extLst>
              <a:ext uri="{FF2B5EF4-FFF2-40B4-BE49-F238E27FC236}">
                <a16:creationId xmlns:a16="http://schemas.microsoft.com/office/drawing/2014/main" id="{C782AF28-3DF5-484C-B2B0-DF36943E3A4C}"/>
              </a:ext>
            </a:extLst>
          </p:cNvPr>
          <p:cNvSpPr>
            <a:spLocks/>
          </p:cNvSpPr>
          <p:nvPr/>
        </p:nvSpPr>
        <p:spPr bwMode="auto">
          <a:xfrm>
            <a:off x="2445" y="5795377"/>
            <a:ext cx="9140027" cy="118273"/>
          </a:xfrm>
          <a:custGeom>
            <a:avLst/>
            <a:gdLst>
              <a:gd name="T0" fmla="*/ 0 w 15825596"/>
              <a:gd name="T1" fmla="*/ 0 h 204177"/>
              <a:gd name="T2" fmla="*/ 0 w 15825596"/>
              <a:gd name="T3" fmla="*/ 206628 h 204177"/>
              <a:gd name="T4" fmla="*/ 15826364 w 15825596"/>
              <a:gd name="T5" fmla="*/ 206628 h 204177"/>
              <a:gd name="T6" fmla="*/ 15826364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67" name="object 3">
            <a:extLst>
              <a:ext uri="{FF2B5EF4-FFF2-40B4-BE49-F238E27FC236}">
                <a16:creationId xmlns:a16="http://schemas.microsoft.com/office/drawing/2014/main" id="{8000FC28-2A64-4C23-A30B-E04B15A9E665}"/>
              </a:ext>
            </a:extLst>
          </p:cNvPr>
          <p:cNvSpPr>
            <a:spLocks/>
          </p:cNvSpPr>
          <p:nvPr/>
        </p:nvSpPr>
        <p:spPr bwMode="auto">
          <a:xfrm>
            <a:off x="2445" y="5603756"/>
            <a:ext cx="1435779"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68" name="object 4">
            <a:extLst>
              <a:ext uri="{FF2B5EF4-FFF2-40B4-BE49-F238E27FC236}">
                <a16:creationId xmlns:a16="http://schemas.microsoft.com/office/drawing/2014/main" id="{C222992C-D42C-4EE7-8DED-FADB86AC6E81}"/>
              </a:ext>
            </a:extLst>
          </p:cNvPr>
          <p:cNvSpPr>
            <a:spLocks/>
          </p:cNvSpPr>
          <p:nvPr/>
        </p:nvSpPr>
        <p:spPr bwMode="auto">
          <a:xfrm>
            <a:off x="2445" y="0"/>
            <a:ext cx="9140027"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69" name="object 5">
            <a:extLst>
              <a:ext uri="{FF2B5EF4-FFF2-40B4-BE49-F238E27FC236}">
                <a16:creationId xmlns:a16="http://schemas.microsoft.com/office/drawing/2014/main" id="{7CAE4BB7-D457-4713-9A67-1563BDE20D22}"/>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0" name="object 6">
            <a:extLst>
              <a:ext uri="{FF2B5EF4-FFF2-40B4-BE49-F238E27FC236}">
                <a16:creationId xmlns:a16="http://schemas.microsoft.com/office/drawing/2014/main" id="{CC8442C7-34E6-4E86-8CF2-E9227FDB3A24}"/>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13</a:t>
            </a:r>
            <a:endParaRPr lang="en-US" altLang="en-US" sz="2021" dirty="0">
              <a:latin typeface="Gill Sans" pitchFamily="34" charset="0"/>
              <a:cs typeface="Gill Sans" pitchFamily="34" charset="0"/>
            </a:endParaRPr>
          </a:p>
        </p:txBody>
      </p:sp>
      <p:sp>
        <p:nvSpPr>
          <p:cNvPr id="11271" name="object 7">
            <a:extLst>
              <a:ext uri="{FF2B5EF4-FFF2-40B4-BE49-F238E27FC236}">
                <a16:creationId xmlns:a16="http://schemas.microsoft.com/office/drawing/2014/main" id="{64CCB535-6DD2-4475-89C0-E3CF6DD55161}"/>
              </a:ext>
            </a:extLst>
          </p:cNvPr>
          <p:cNvSpPr>
            <a:spLocks/>
          </p:cNvSpPr>
          <p:nvPr/>
        </p:nvSpPr>
        <p:spPr bwMode="auto">
          <a:xfrm>
            <a:off x="7137332" y="6343651"/>
            <a:ext cx="116440" cy="163198"/>
          </a:xfrm>
          <a:custGeom>
            <a:avLst/>
            <a:gdLst>
              <a:gd name="T0" fmla="*/ 5648 w 201527"/>
              <a:gd name="T1" fmla="*/ 197396 h 282176"/>
              <a:gd name="T2" fmla="*/ 8693 w 201527"/>
              <a:gd name="T3" fmla="*/ 258588 h 282176"/>
              <a:gd name="T4" fmla="*/ 49795 w 201527"/>
              <a:gd name="T5" fmla="*/ 276284 h 282176"/>
              <a:gd name="T6" fmla="*/ 90641 w 201527"/>
              <a:gd name="T7" fmla="*/ 283254 h 282176"/>
              <a:gd name="T8" fmla="*/ 107915 w 201527"/>
              <a:gd name="T9" fmla="*/ 283776 h 282176"/>
              <a:gd name="T10" fmla="*/ 123819 w 201527"/>
              <a:gd name="T11" fmla="*/ 282773 h 282176"/>
              <a:gd name="T12" fmla="*/ 165303 w 201527"/>
              <a:gd name="T13" fmla="*/ 270779 h 282176"/>
              <a:gd name="T14" fmla="*/ 194918 w 201527"/>
              <a:gd name="T15" fmla="*/ 245114 h 282176"/>
              <a:gd name="T16" fmla="*/ 201871 w 201527"/>
              <a:gd name="T17" fmla="*/ 232711 h 282176"/>
              <a:gd name="T18" fmla="*/ 89537 w 201527"/>
              <a:gd name="T19" fmla="*/ 232711 h 282176"/>
              <a:gd name="T20" fmla="*/ 78595 w 201527"/>
              <a:gd name="T21" fmla="*/ 231352 h 282176"/>
              <a:gd name="T22" fmla="*/ 33082 w 201527"/>
              <a:gd name="T23" fmla="*/ 214251 h 282176"/>
              <a:gd name="T24" fmla="*/ 19974 w 201527"/>
              <a:gd name="T25" fmla="*/ 206592 h 282176"/>
              <a:gd name="T26" fmla="*/ 5648 w 201527"/>
              <a:gd name="T27" fmla="*/ 197396 h 282176"/>
              <a:gd name="T28" fmla="*/ 97562 w 201527"/>
              <a:gd name="T29" fmla="*/ 0 h 282176"/>
              <a:gd name="T30" fmla="*/ 50219 w 201527"/>
              <a:gd name="T31" fmla="*/ 9555 h 282176"/>
              <a:gd name="T32" fmla="*/ 17183 w 201527"/>
              <a:gd name="T33" fmla="*/ 32599 h 282176"/>
              <a:gd name="T34" fmla="*/ 0 w 201527"/>
              <a:gd name="T35" fmla="*/ 80848 h 282176"/>
              <a:gd name="T36" fmla="*/ 1617 w 201527"/>
              <a:gd name="T37" fmla="*/ 96947 h 282176"/>
              <a:gd name="T38" fmla="*/ 20203 w 201527"/>
              <a:gd name="T39" fmla="*/ 133251 h 282176"/>
              <a:gd name="T40" fmla="*/ 52296 w 201527"/>
              <a:gd name="T41" fmla="*/ 156189 h 282176"/>
              <a:gd name="T42" fmla="*/ 100339 w 201527"/>
              <a:gd name="T43" fmla="*/ 176253 h 282176"/>
              <a:gd name="T44" fmla="*/ 111031 w 201527"/>
              <a:gd name="T45" fmla="*/ 180857 h 282176"/>
              <a:gd name="T46" fmla="*/ 139718 w 201527"/>
              <a:gd name="T47" fmla="*/ 212422 h 282176"/>
              <a:gd name="T48" fmla="*/ 135314 w 201527"/>
              <a:gd name="T49" fmla="*/ 221204 h 282176"/>
              <a:gd name="T50" fmla="*/ 125851 w 201527"/>
              <a:gd name="T51" fmla="*/ 227641 h 282176"/>
              <a:gd name="T52" fmla="*/ 110775 w 201527"/>
              <a:gd name="T53" fmla="*/ 231540 h 282176"/>
              <a:gd name="T54" fmla="*/ 89537 w 201527"/>
              <a:gd name="T55" fmla="*/ 232711 h 282176"/>
              <a:gd name="T56" fmla="*/ 201871 w 201527"/>
              <a:gd name="T57" fmla="*/ 232711 h 282176"/>
              <a:gd name="T58" fmla="*/ 206455 w 201527"/>
              <a:gd name="T59" fmla="*/ 220289 h 282176"/>
              <a:gd name="T60" fmla="*/ 209399 w 201527"/>
              <a:gd name="T61" fmla="*/ 205534 h 282176"/>
              <a:gd name="T62" fmla="*/ 210302 w 201527"/>
              <a:gd name="T63" fmla="*/ 189207 h 282176"/>
              <a:gd name="T64" fmla="*/ 207096 w 201527"/>
              <a:gd name="T65" fmla="*/ 174315 h 282176"/>
              <a:gd name="T66" fmla="*/ 184337 w 201527"/>
              <a:gd name="T67" fmla="*/ 140678 h 282176"/>
              <a:gd name="T68" fmla="*/ 149564 w 201527"/>
              <a:gd name="T69" fmla="*/ 118964 h 282176"/>
              <a:gd name="T70" fmla="*/ 112708 w 201527"/>
              <a:gd name="T71" fmla="*/ 103216 h 282176"/>
              <a:gd name="T72" fmla="*/ 101675 w 201527"/>
              <a:gd name="T73" fmla="*/ 98262 h 282176"/>
              <a:gd name="T74" fmla="*/ 72455 w 201527"/>
              <a:gd name="T75" fmla="*/ 65783 h 282176"/>
              <a:gd name="T76" fmla="*/ 80290 w 201527"/>
              <a:gd name="T77" fmla="*/ 57638 h 282176"/>
              <a:gd name="T78" fmla="*/ 93812 w 201527"/>
              <a:gd name="T79" fmla="*/ 52409 h 282176"/>
              <a:gd name="T80" fmla="*/ 112366 w 201527"/>
              <a:gd name="T81" fmla="*/ 50562 h 282176"/>
              <a:gd name="T82" fmla="*/ 197768 w 201527"/>
              <a:gd name="T83" fmla="*/ 50562 h 282176"/>
              <a:gd name="T84" fmla="*/ 197043 w 201527"/>
              <a:gd name="T85" fmla="*/ 20775 h 282176"/>
              <a:gd name="T86" fmla="*/ 160505 w 201527"/>
              <a:gd name="T87" fmla="*/ 7747 h 282176"/>
              <a:gd name="T88" fmla="*/ 111256 w 201527"/>
              <a:gd name="T89" fmla="*/ 250 h 282176"/>
              <a:gd name="T90" fmla="*/ 97562 w 201527"/>
              <a:gd name="T91" fmla="*/ 0 h 282176"/>
              <a:gd name="T92" fmla="*/ 197768 w 201527"/>
              <a:gd name="T93" fmla="*/ 50562 h 282176"/>
              <a:gd name="T94" fmla="*/ 112366 w 201527"/>
              <a:gd name="T95" fmla="*/ 50562 h 282176"/>
              <a:gd name="T96" fmla="*/ 122319 w 201527"/>
              <a:gd name="T97" fmla="*/ 51090 h 282176"/>
              <a:gd name="T98" fmla="*/ 132618 w 201527"/>
              <a:gd name="T99" fmla="*/ 52508 h 282176"/>
              <a:gd name="T100" fmla="*/ 182449 w 201527"/>
              <a:gd name="T101" fmla="*/ 68421 h 282176"/>
              <a:gd name="T102" fmla="*/ 198373 w 201527"/>
              <a:gd name="T103" fmla="*/ 75295 h 282176"/>
              <a:gd name="T104" fmla="*/ 197768 w 201527"/>
              <a:gd name="T105" fmla="*/ 50562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2" name="object 8">
            <a:extLst>
              <a:ext uri="{FF2B5EF4-FFF2-40B4-BE49-F238E27FC236}">
                <a16:creationId xmlns:a16="http://schemas.microsoft.com/office/drawing/2014/main" id="{32EBB950-4D4A-4E17-AD86-4E242D5BD814}"/>
              </a:ext>
            </a:extLst>
          </p:cNvPr>
          <p:cNvSpPr>
            <a:spLocks/>
          </p:cNvSpPr>
          <p:nvPr/>
        </p:nvSpPr>
        <p:spPr bwMode="auto">
          <a:xfrm>
            <a:off x="7271192" y="6394994"/>
            <a:ext cx="115522" cy="111855"/>
          </a:xfrm>
          <a:custGeom>
            <a:avLst/>
            <a:gdLst>
              <a:gd name="T0" fmla="*/ 66160 w 200263"/>
              <a:gd name="T1" fmla="*/ 40331 h 192883"/>
              <a:gd name="T2" fmla="*/ 100019 w 200263"/>
              <a:gd name="T3" fmla="*/ 47269 h 192883"/>
              <a:gd name="T4" fmla="*/ 109478 w 200263"/>
              <a:gd name="T5" fmla="*/ 66314 h 192883"/>
              <a:gd name="T6" fmla="*/ 55182 w 200263"/>
              <a:gd name="T7" fmla="*/ 87170 h 192883"/>
              <a:gd name="T8" fmla="*/ 0 w 200263"/>
              <a:gd name="T9" fmla="*/ 139831 h 192883"/>
              <a:gd name="T10" fmla="*/ 24481 w 200263"/>
              <a:gd name="T11" fmla="*/ 188918 h 192883"/>
              <a:gd name="T12" fmla="*/ 62717 w 200263"/>
              <a:gd name="T13" fmla="*/ 195382 h 192883"/>
              <a:gd name="T14" fmla="*/ 85960 w 200263"/>
              <a:gd name="T15" fmla="*/ 189320 h 192883"/>
              <a:gd name="T16" fmla="*/ 110677 w 200263"/>
              <a:gd name="T17" fmla="*/ 175788 h 192883"/>
              <a:gd name="T18" fmla="*/ 196534 w 200263"/>
              <a:gd name="T19" fmla="*/ 159594 h 192883"/>
              <a:gd name="T20" fmla="*/ 69436 w 200263"/>
              <a:gd name="T21" fmla="*/ 157282 h 192883"/>
              <a:gd name="T22" fmla="*/ 61088 w 200263"/>
              <a:gd name="T23" fmla="*/ 136326 h 192883"/>
              <a:gd name="T24" fmla="*/ 72924 w 200263"/>
              <a:gd name="T25" fmla="*/ 118182 h 192883"/>
              <a:gd name="T26" fmla="*/ 98623 w 200263"/>
              <a:gd name="T27" fmla="*/ 105016 h 192883"/>
              <a:gd name="T28" fmla="*/ 167599 w 200263"/>
              <a:gd name="T29" fmla="*/ 57070 h 192883"/>
              <a:gd name="T30" fmla="*/ 165355 w 200263"/>
              <a:gd name="T31" fmla="*/ 40331 h 192883"/>
              <a:gd name="T32" fmla="*/ 110677 w 200263"/>
              <a:gd name="T33" fmla="*/ 175788 h 192883"/>
              <a:gd name="T34" fmla="*/ 127568 w 200263"/>
              <a:gd name="T35" fmla="*/ 193613 h 192883"/>
              <a:gd name="T36" fmla="*/ 154552 w 200263"/>
              <a:gd name="T37" fmla="*/ 195097 h 192883"/>
              <a:gd name="T38" fmla="*/ 179900 w 200263"/>
              <a:gd name="T39" fmla="*/ 188278 h 192883"/>
              <a:gd name="T40" fmla="*/ 193312 w 200263"/>
              <a:gd name="T41" fmla="*/ 175788 h 192883"/>
              <a:gd name="T42" fmla="*/ 98623 w 200263"/>
              <a:gd name="T43" fmla="*/ 105016 h 192883"/>
              <a:gd name="T44" fmla="*/ 98317 w 200263"/>
              <a:gd name="T45" fmla="*/ 154694 h 192883"/>
              <a:gd name="T46" fmla="*/ 196534 w 200263"/>
              <a:gd name="T47" fmla="*/ 159594 h 192883"/>
              <a:gd name="T48" fmla="*/ 171215 w 200263"/>
              <a:gd name="T49" fmla="*/ 156296 h 192883"/>
              <a:gd name="T50" fmla="*/ 167599 w 200263"/>
              <a:gd name="T51" fmla="*/ 105016 h 192883"/>
              <a:gd name="T52" fmla="*/ 185662 w 200263"/>
              <a:gd name="T53" fmla="*/ 155470 h 192883"/>
              <a:gd name="T54" fmla="*/ 197191 w 200263"/>
              <a:gd name="T55" fmla="*/ 156296 h 192883"/>
              <a:gd name="T56" fmla="*/ 100441 w 200263"/>
              <a:gd name="T57" fmla="*/ 0 h 192883"/>
              <a:gd name="T58" fmla="*/ 13463 w 200263"/>
              <a:gd name="T59" fmla="*/ 19943 h 192883"/>
              <a:gd name="T60" fmla="*/ 19011 w 200263"/>
              <a:gd name="T61" fmla="*/ 61883 h 192883"/>
              <a:gd name="T62" fmla="*/ 41787 w 200263"/>
              <a:gd name="T63" fmla="*/ 47806 h 192883"/>
              <a:gd name="T64" fmla="*/ 66160 w 200263"/>
              <a:gd name="T65" fmla="*/ 40331 h 192883"/>
              <a:gd name="T66" fmla="*/ 161356 w 200263"/>
              <a:gd name="T67" fmla="*/ 29561 h 192883"/>
              <a:gd name="T68" fmla="*/ 143844 w 200263"/>
              <a:gd name="T69" fmla="*/ 11526 h 192883"/>
              <a:gd name="T70" fmla="*/ 116889 w 200263"/>
              <a:gd name="T71" fmla="*/ 1941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3" name="object 9">
            <a:extLst>
              <a:ext uri="{FF2B5EF4-FFF2-40B4-BE49-F238E27FC236}">
                <a16:creationId xmlns:a16="http://schemas.microsoft.com/office/drawing/2014/main" id="{B9D77129-F127-452A-8305-74BD33A9B6D8}"/>
              </a:ext>
            </a:extLst>
          </p:cNvPr>
          <p:cNvSpPr>
            <a:spLocks/>
          </p:cNvSpPr>
          <p:nvPr/>
        </p:nvSpPr>
        <p:spPr bwMode="auto">
          <a:xfrm>
            <a:off x="7382130" y="6396827"/>
            <a:ext cx="118273" cy="110021"/>
          </a:xfrm>
          <a:custGeom>
            <a:avLst/>
            <a:gdLst>
              <a:gd name="T0" fmla="*/ 63382 w 204089"/>
              <a:gd name="T1" fmla="*/ 0 h 189572"/>
              <a:gd name="T2" fmla="*/ 0 w 204089"/>
              <a:gd name="T3" fmla="*/ 0 h 189572"/>
              <a:gd name="T4" fmla="*/ 87097 w 204089"/>
              <a:gd name="T5" fmla="*/ 193312 h 189572"/>
              <a:gd name="T6" fmla="*/ 120210 w 204089"/>
              <a:gd name="T7" fmla="*/ 193312 h 189572"/>
              <a:gd name="T8" fmla="*/ 160049 w 204089"/>
              <a:gd name="T9" fmla="*/ 104471 h 189572"/>
              <a:gd name="T10" fmla="*/ 103447 w 204089"/>
              <a:gd name="T11" fmla="*/ 104471 h 189572"/>
              <a:gd name="T12" fmla="*/ 63382 w 204089"/>
              <a:gd name="T13" fmla="*/ 0 h 189572"/>
              <a:gd name="T14" fmla="*/ 206895 w 204089"/>
              <a:gd name="T15" fmla="*/ 0 h 189572"/>
              <a:gd name="T16" fmla="*/ 143939 w 204089"/>
              <a:gd name="T17" fmla="*/ 0 h 189572"/>
              <a:gd name="T18" fmla="*/ 103447 w 204089"/>
              <a:gd name="T19" fmla="*/ 104471 h 189572"/>
              <a:gd name="T20" fmla="*/ 160049 w 204089"/>
              <a:gd name="T21" fmla="*/ 104471 h 189572"/>
              <a:gd name="T22" fmla="*/ 206895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4" name="object 10">
            <a:extLst>
              <a:ext uri="{FF2B5EF4-FFF2-40B4-BE49-F238E27FC236}">
                <a16:creationId xmlns:a16="http://schemas.microsoft.com/office/drawing/2014/main" id="{94FF10F6-4B2E-4A43-85EC-0AF6C6A214AA}"/>
              </a:ext>
            </a:extLst>
          </p:cNvPr>
          <p:cNvSpPr>
            <a:spLocks/>
          </p:cNvSpPr>
          <p:nvPr/>
        </p:nvSpPr>
        <p:spPr bwMode="auto">
          <a:xfrm>
            <a:off x="7504988" y="6394994"/>
            <a:ext cx="111855" cy="111855"/>
          </a:xfrm>
          <a:custGeom>
            <a:avLst/>
            <a:gdLst>
              <a:gd name="T0" fmla="*/ 105323 w 193899"/>
              <a:gd name="T1" fmla="*/ 0 h 192654"/>
              <a:gd name="T2" fmla="*/ 59216 w 193899"/>
              <a:gd name="T3" fmla="*/ 8036 h 192654"/>
              <a:gd name="T4" fmla="*/ 25147 w 193899"/>
              <a:gd name="T5" fmla="*/ 30773 h 192654"/>
              <a:gd name="T6" fmla="*/ 4911 w 193899"/>
              <a:gd name="T7" fmla="*/ 65473 h 192654"/>
              <a:gd name="T8" fmla="*/ 0 w 193899"/>
              <a:gd name="T9" fmla="*/ 93900 h 192654"/>
              <a:gd name="T10" fmla="*/ 897 w 193899"/>
              <a:gd name="T11" fmla="*/ 109938 h 192654"/>
              <a:gd name="T12" fmla="*/ 14099 w 193899"/>
              <a:gd name="T13" fmla="*/ 150716 h 192654"/>
              <a:gd name="T14" fmla="*/ 41508 w 193899"/>
              <a:gd name="T15" fmla="*/ 179451 h 192654"/>
              <a:gd name="T16" fmla="*/ 81131 w 193899"/>
              <a:gd name="T17" fmla="*/ 194801 h 192654"/>
              <a:gd name="T18" fmla="*/ 106981 w 193899"/>
              <a:gd name="T19" fmla="*/ 196770 h 192654"/>
              <a:gd name="T20" fmla="*/ 118137 w 193899"/>
              <a:gd name="T21" fmla="*/ 196460 h 192654"/>
              <a:gd name="T22" fmla="*/ 168425 w 193899"/>
              <a:gd name="T23" fmla="*/ 184789 h 192654"/>
              <a:gd name="T24" fmla="*/ 184734 w 193899"/>
              <a:gd name="T25" fmla="*/ 161176 h 192654"/>
              <a:gd name="T26" fmla="*/ 130737 w 193899"/>
              <a:gd name="T27" fmla="*/ 161176 h 192654"/>
              <a:gd name="T28" fmla="*/ 112327 w 193899"/>
              <a:gd name="T29" fmla="*/ 160133 h 192654"/>
              <a:gd name="T30" fmla="*/ 74066 w 193899"/>
              <a:gd name="T31" fmla="*/ 143115 h 192654"/>
              <a:gd name="T32" fmla="*/ 60116 w 193899"/>
              <a:gd name="T33" fmla="*/ 108068 h 192654"/>
              <a:gd name="T34" fmla="*/ 193005 w 193899"/>
              <a:gd name="T35" fmla="*/ 108068 h 192654"/>
              <a:gd name="T36" fmla="*/ 192698 w 193899"/>
              <a:gd name="T37" fmla="*/ 90798 h 192654"/>
              <a:gd name="T38" fmla="*/ 190679 w 193899"/>
              <a:gd name="T39" fmla="*/ 76753 h 192654"/>
              <a:gd name="T40" fmla="*/ 61319 w 193899"/>
              <a:gd name="T41" fmla="*/ 76753 h 192654"/>
              <a:gd name="T42" fmla="*/ 64705 w 193899"/>
              <a:gd name="T43" fmla="*/ 60917 h 192654"/>
              <a:gd name="T44" fmla="*/ 71464 w 193899"/>
              <a:gd name="T45" fmla="*/ 48620 h 192654"/>
              <a:gd name="T46" fmla="*/ 81314 w 193899"/>
              <a:gd name="T47" fmla="*/ 40133 h 192654"/>
              <a:gd name="T48" fmla="*/ 93964 w 193899"/>
              <a:gd name="T49" fmla="*/ 35728 h 192654"/>
              <a:gd name="T50" fmla="*/ 101468 w 193899"/>
              <a:gd name="T51" fmla="*/ 35140 h 192654"/>
              <a:gd name="T52" fmla="*/ 172513 w 193899"/>
              <a:gd name="T53" fmla="*/ 35140 h 192654"/>
              <a:gd name="T54" fmla="*/ 164473 w 193899"/>
              <a:gd name="T55" fmla="*/ 25911 h 192654"/>
              <a:gd name="T56" fmla="*/ 154525 w 193899"/>
              <a:gd name="T57" fmla="*/ 17470 h 192654"/>
              <a:gd name="T58" fmla="*/ 143488 w 193899"/>
              <a:gd name="T59" fmla="*/ 10623 h 192654"/>
              <a:gd name="T60" fmla="*/ 131511 w 193899"/>
              <a:gd name="T61" fmla="*/ 5405 h 192654"/>
              <a:gd name="T62" fmla="*/ 118739 w 193899"/>
              <a:gd name="T63" fmla="*/ 1854 h 192654"/>
              <a:gd name="T64" fmla="*/ 105323 w 193899"/>
              <a:gd name="T65" fmla="*/ 0 h 192654"/>
              <a:gd name="T66" fmla="*/ 189806 w 193899"/>
              <a:gd name="T67" fmla="*/ 134424 h 192654"/>
              <a:gd name="T68" fmla="*/ 152978 w 193899"/>
              <a:gd name="T69" fmla="*/ 155971 h 192654"/>
              <a:gd name="T70" fmla="*/ 130737 w 193899"/>
              <a:gd name="T71" fmla="*/ 161176 h 192654"/>
              <a:gd name="T72" fmla="*/ 184734 w 193899"/>
              <a:gd name="T73" fmla="*/ 161176 h 192654"/>
              <a:gd name="T74" fmla="*/ 189806 w 193899"/>
              <a:gd name="T75" fmla="*/ 134424 h 192654"/>
              <a:gd name="T76" fmla="*/ 172513 w 193899"/>
              <a:gd name="T77" fmla="*/ 35140 h 192654"/>
              <a:gd name="T78" fmla="*/ 101468 w 193899"/>
              <a:gd name="T79" fmla="*/ 35140 h 192654"/>
              <a:gd name="T80" fmla="*/ 115288 w 193899"/>
              <a:gd name="T81" fmla="*/ 37388 h 192654"/>
              <a:gd name="T82" fmla="*/ 126611 w 193899"/>
              <a:gd name="T83" fmla="*/ 43895 h 192654"/>
              <a:gd name="T84" fmla="*/ 135073 w 193899"/>
              <a:gd name="T85" fmla="*/ 54313 h 192654"/>
              <a:gd name="T86" fmla="*/ 140304 w 193899"/>
              <a:gd name="T87" fmla="*/ 68292 h 192654"/>
              <a:gd name="T88" fmla="*/ 61319 w 193899"/>
              <a:gd name="T89" fmla="*/ 76753 h 192654"/>
              <a:gd name="T90" fmla="*/ 190679 w 193899"/>
              <a:gd name="T91" fmla="*/ 76753 h 192654"/>
              <a:gd name="T92" fmla="*/ 190415 w 193899"/>
              <a:gd name="T93" fmla="*/ 74914 h 192654"/>
              <a:gd name="T94" fmla="*/ 186302 w 193899"/>
              <a:gd name="T95" fmla="*/ 60447 h 192654"/>
              <a:gd name="T96" fmla="*/ 180510 w 193899"/>
              <a:gd name="T97" fmla="*/ 47434 h 192654"/>
              <a:gd name="T98" fmla="*/ 173183 w 193899"/>
              <a:gd name="T99" fmla="*/ 35909 h 192654"/>
              <a:gd name="T100" fmla="*/ 172513 w 193899"/>
              <a:gd name="T101" fmla="*/ 35140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5" name="object 11">
            <a:extLst>
              <a:ext uri="{FF2B5EF4-FFF2-40B4-BE49-F238E27FC236}">
                <a16:creationId xmlns:a16="http://schemas.microsoft.com/office/drawing/2014/main" id="{9EBFA495-A964-4FCC-91CF-1EC5FB5EE2ED}"/>
              </a:ext>
            </a:extLst>
          </p:cNvPr>
          <p:cNvSpPr>
            <a:spLocks/>
          </p:cNvSpPr>
          <p:nvPr/>
        </p:nvSpPr>
        <p:spPr bwMode="auto">
          <a:xfrm>
            <a:off x="7682855" y="6362904"/>
            <a:ext cx="88017" cy="143945"/>
          </a:xfrm>
          <a:custGeom>
            <a:avLst/>
            <a:gdLst>
              <a:gd name="T0" fmla="*/ 84075 w 152869"/>
              <a:gd name="T1" fmla="*/ 100399 h 248003"/>
              <a:gd name="T2" fmla="*/ 26294 w 152869"/>
              <a:gd name="T3" fmla="*/ 100399 h 248003"/>
              <a:gd name="T4" fmla="*/ 26332 w 152869"/>
              <a:gd name="T5" fmla="*/ 184975 h 248003"/>
              <a:gd name="T6" fmla="*/ 39811 w 152869"/>
              <a:gd name="T7" fmla="*/ 228777 h 248003"/>
              <a:gd name="T8" fmla="*/ 72699 w 152869"/>
              <a:gd name="T9" fmla="*/ 249507 h 248003"/>
              <a:gd name="T10" fmla="*/ 101939 w 152869"/>
              <a:gd name="T11" fmla="*/ 252980 h 248003"/>
              <a:gd name="T12" fmla="*/ 113774 w 152869"/>
              <a:gd name="T13" fmla="*/ 252026 h 248003"/>
              <a:gd name="T14" fmla="*/ 125508 w 152869"/>
              <a:gd name="T15" fmla="*/ 249829 h 248003"/>
              <a:gd name="T16" fmla="*/ 137725 w 152869"/>
              <a:gd name="T17" fmla="*/ 246235 h 248003"/>
              <a:gd name="T18" fmla="*/ 151001 w 152869"/>
              <a:gd name="T19" fmla="*/ 241103 h 248003"/>
              <a:gd name="T20" fmla="*/ 145656 w 152869"/>
              <a:gd name="T21" fmla="*/ 208794 h 248003"/>
              <a:gd name="T22" fmla="*/ 108262 w 152869"/>
              <a:gd name="T23" fmla="*/ 208794 h 248003"/>
              <a:gd name="T24" fmla="*/ 95145 w 152869"/>
              <a:gd name="T25" fmla="*/ 203994 h 248003"/>
              <a:gd name="T26" fmla="*/ 86923 w 152869"/>
              <a:gd name="T27" fmla="*/ 193608 h 248003"/>
              <a:gd name="T28" fmla="*/ 84075 w 152869"/>
              <a:gd name="T29" fmla="*/ 178569 h 248003"/>
              <a:gd name="T30" fmla="*/ 84075 w 152869"/>
              <a:gd name="T31" fmla="*/ 100399 h 248003"/>
              <a:gd name="T32" fmla="*/ 144399 w 152869"/>
              <a:gd name="T33" fmla="*/ 201200 h 248003"/>
              <a:gd name="T34" fmla="*/ 132589 w 152869"/>
              <a:gd name="T35" fmla="*/ 205750 h 248003"/>
              <a:gd name="T36" fmla="*/ 120968 w 152869"/>
              <a:gd name="T37" fmla="*/ 208178 h 248003"/>
              <a:gd name="T38" fmla="*/ 108262 w 152869"/>
              <a:gd name="T39" fmla="*/ 208794 h 248003"/>
              <a:gd name="T40" fmla="*/ 145656 w 152869"/>
              <a:gd name="T41" fmla="*/ 208794 h 248003"/>
              <a:gd name="T42" fmla="*/ 144399 w 152869"/>
              <a:gd name="T43" fmla="*/ 201200 h 248003"/>
              <a:gd name="T44" fmla="*/ 84075 w 152869"/>
              <a:gd name="T45" fmla="*/ 0 h 248003"/>
              <a:gd name="T46" fmla="*/ 76887 w 152869"/>
              <a:gd name="T47" fmla="*/ 0 h 248003"/>
              <a:gd name="T48" fmla="*/ 0 w 152869"/>
              <a:gd name="T49" fmla="*/ 88882 h 248003"/>
              <a:gd name="T50" fmla="*/ 0 w 152869"/>
              <a:gd name="T51" fmla="*/ 100399 h 248003"/>
              <a:gd name="T52" fmla="*/ 151001 w 152869"/>
              <a:gd name="T53" fmla="*/ 100399 h 248003"/>
              <a:gd name="T54" fmla="*/ 151001 w 152869"/>
              <a:gd name="T55" fmla="*/ 59670 h 248003"/>
              <a:gd name="T56" fmla="*/ 84075 w 152869"/>
              <a:gd name="T57" fmla="*/ 59670 h 248003"/>
              <a:gd name="T58" fmla="*/ 84075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6" name="object 12">
            <a:extLst>
              <a:ext uri="{FF2B5EF4-FFF2-40B4-BE49-F238E27FC236}">
                <a16:creationId xmlns:a16="http://schemas.microsoft.com/office/drawing/2014/main" id="{AA508F01-C79B-4372-973C-3D546462E599}"/>
              </a:ext>
            </a:extLst>
          </p:cNvPr>
          <p:cNvSpPr>
            <a:spLocks/>
          </p:cNvSpPr>
          <p:nvPr/>
        </p:nvSpPr>
        <p:spPr bwMode="auto">
          <a:xfrm>
            <a:off x="7784625"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3 w 186347"/>
              <a:gd name="T19" fmla="*/ 124103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41 h 275069"/>
              <a:gd name="T44" fmla="*/ 179969 w 186347"/>
              <a:gd name="T45" fmla="*/ 129799 h 275069"/>
              <a:gd name="T46" fmla="*/ 113530 w 186347"/>
              <a:gd name="T47" fmla="*/ 85035 h 275069"/>
              <a:gd name="T48" fmla="*/ 68326 w 186347"/>
              <a:gd name="T49" fmla="*/ 104929 h 275069"/>
              <a:gd name="T50" fmla="*/ 58524 w 186347"/>
              <a:gd name="T51" fmla="*/ 115830 h 275069"/>
              <a:gd name="T52" fmla="*/ 173896 w 186347"/>
              <a:gd name="T53" fmla="*/ 115830 h 275069"/>
              <a:gd name="T54" fmla="*/ 140184 w 186347"/>
              <a:gd name="T55" fmla="*/ 89049 h 275069"/>
              <a:gd name="T56" fmla="*/ 113530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7" name="object 13">
            <a:extLst>
              <a:ext uri="{FF2B5EF4-FFF2-40B4-BE49-F238E27FC236}">
                <a16:creationId xmlns:a16="http://schemas.microsoft.com/office/drawing/2014/main" id="{B3F01FF8-6D5B-447F-B2A5-A012906CDF5B}"/>
              </a:ext>
            </a:extLst>
          </p:cNvPr>
          <p:cNvSpPr>
            <a:spLocks/>
          </p:cNvSpPr>
          <p:nvPr/>
        </p:nvSpPr>
        <p:spPr bwMode="auto">
          <a:xfrm>
            <a:off x="7909316" y="6394994"/>
            <a:ext cx="111855" cy="111855"/>
          </a:xfrm>
          <a:custGeom>
            <a:avLst/>
            <a:gdLst>
              <a:gd name="T0" fmla="*/ 105302 w 193899"/>
              <a:gd name="T1" fmla="*/ 0 h 192656"/>
              <a:gd name="T2" fmla="*/ 59204 w 193899"/>
              <a:gd name="T3" fmla="*/ 8039 h 192656"/>
              <a:gd name="T4" fmla="*/ 25139 w 193899"/>
              <a:gd name="T5" fmla="*/ 30778 h 192656"/>
              <a:gd name="T6" fmla="*/ 4907 w 193899"/>
              <a:gd name="T7" fmla="*/ 65485 h 192656"/>
              <a:gd name="T8" fmla="*/ 0 w 193899"/>
              <a:gd name="T9" fmla="*/ 93916 h 192656"/>
              <a:gd name="T10" fmla="*/ 898 w 193899"/>
              <a:gd name="T11" fmla="*/ 109949 h 192656"/>
              <a:gd name="T12" fmla="*/ 14100 w 193899"/>
              <a:gd name="T13" fmla="*/ 150724 h 192656"/>
              <a:gd name="T14" fmla="*/ 41512 w 193899"/>
              <a:gd name="T15" fmla="*/ 179453 h 192656"/>
              <a:gd name="T16" fmla="*/ 81142 w 193899"/>
              <a:gd name="T17" fmla="*/ 194798 h 192656"/>
              <a:gd name="T18" fmla="*/ 106991 w 193899"/>
              <a:gd name="T19" fmla="*/ 196764 h 192656"/>
              <a:gd name="T20" fmla="*/ 118144 w 193899"/>
              <a:gd name="T21" fmla="*/ 196453 h 192656"/>
              <a:gd name="T22" fmla="*/ 168440 w 193899"/>
              <a:gd name="T23" fmla="*/ 184772 h 192656"/>
              <a:gd name="T24" fmla="*/ 184738 w 193899"/>
              <a:gd name="T25" fmla="*/ 161171 h 192656"/>
              <a:gd name="T26" fmla="*/ 130724 w 193899"/>
              <a:gd name="T27" fmla="*/ 161171 h 192656"/>
              <a:gd name="T28" fmla="*/ 112313 w 193899"/>
              <a:gd name="T29" fmla="*/ 160127 h 192656"/>
              <a:gd name="T30" fmla="*/ 74058 w 193899"/>
              <a:gd name="T31" fmla="*/ 143105 h 192656"/>
              <a:gd name="T32" fmla="*/ 60117 w 193899"/>
              <a:gd name="T33" fmla="*/ 108064 h 192656"/>
              <a:gd name="T34" fmla="*/ 193005 w 193899"/>
              <a:gd name="T35" fmla="*/ 108064 h 192656"/>
              <a:gd name="T36" fmla="*/ 192695 w 193899"/>
              <a:gd name="T37" fmla="*/ 90794 h 192656"/>
              <a:gd name="T38" fmla="*/ 190674 w 193899"/>
              <a:gd name="T39" fmla="*/ 76752 h 192656"/>
              <a:gd name="T40" fmla="*/ 61320 w 193899"/>
              <a:gd name="T41" fmla="*/ 76752 h 192656"/>
              <a:gd name="T42" fmla="*/ 64703 w 193899"/>
              <a:gd name="T43" fmla="*/ 60912 h 192656"/>
              <a:gd name="T44" fmla="*/ 71465 w 193899"/>
              <a:gd name="T45" fmla="*/ 48615 h 192656"/>
              <a:gd name="T46" fmla="*/ 81319 w 193899"/>
              <a:gd name="T47" fmla="*/ 40130 h 192656"/>
              <a:gd name="T48" fmla="*/ 93967 w 193899"/>
              <a:gd name="T49" fmla="*/ 35727 h 192656"/>
              <a:gd name="T50" fmla="*/ 101456 w 193899"/>
              <a:gd name="T51" fmla="*/ 35141 h 192656"/>
              <a:gd name="T52" fmla="*/ 172504 w 193899"/>
              <a:gd name="T53" fmla="*/ 35141 h 192656"/>
              <a:gd name="T54" fmla="*/ 164459 w 193899"/>
              <a:gd name="T55" fmla="*/ 25907 h 192656"/>
              <a:gd name="T56" fmla="*/ 154509 w 193899"/>
              <a:gd name="T57" fmla="*/ 17466 h 192656"/>
              <a:gd name="T58" fmla="*/ 143471 w 193899"/>
              <a:gd name="T59" fmla="*/ 10621 h 192656"/>
              <a:gd name="T60" fmla="*/ 131492 w 193899"/>
              <a:gd name="T61" fmla="*/ 5403 h 192656"/>
              <a:gd name="T62" fmla="*/ 118720 w 193899"/>
              <a:gd name="T63" fmla="*/ 1853 h 192656"/>
              <a:gd name="T64" fmla="*/ 105302 w 193899"/>
              <a:gd name="T65" fmla="*/ 0 h 192656"/>
              <a:gd name="T66" fmla="*/ 189794 w 193899"/>
              <a:gd name="T67" fmla="*/ 134420 h 192656"/>
              <a:gd name="T68" fmla="*/ 152963 w 193899"/>
              <a:gd name="T69" fmla="*/ 155968 h 192656"/>
              <a:gd name="T70" fmla="*/ 130724 w 193899"/>
              <a:gd name="T71" fmla="*/ 161171 h 192656"/>
              <a:gd name="T72" fmla="*/ 184738 w 193899"/>
              <a:gd name="T73" fmla="*/ 161171 h 192656"/>
              <a:gd name="T74" fmla="*/ 189794 w 193899"/>
              <a:gd name="T75" fmla="*/ 134420 h 192656"/>
              <a:gd name="T76" fmla="*/ 172504 w 193899"/>
              <a:gd name="T77" fmla="*/ 35141 h 192656"/>
              <a:gd name="T78" fmla="*/ 101456 w 193899"/>
              <a:gd name="T79" fmla="*/ 35141 h 192656"/>
              <a:gd name="T80" fmla="*/ 115276 w 193899"/>
              <a:gd name="T81" fmla="*/ 37389 h 192656"/>
              <a:gd name="T82" fmla="*/ 126599 w 193899"/>
              <a:gd name="T83" fmla="*/ 43895 h 192656"/>
              <a:gd name="T84" fmla="*/ 135061 w 193899"/>
              <a:gd name="T85" fmla="*/ 54311 h 192656"/>
              <a:gd name="T86" fmla="*/ 140292 w 193899"/>
              <a:gd name="T87" fmla="*/ 68290 h 192656"/>
              <a:gd name="T88" fmla="*/ 61320 w 193899"/>
              <a:gd name="T89" fmla="*/ 76752 h 192656"/>
              <a:gd name="T90" fmla="*/ 190674 w 193899"/>
              <a:gd name="T91" fmla="*/ 76752 h 192656"/>
              <a:gd name="T92" fmla="*/ 190410 w 193899"/>
              <a:gd name="T93" fmla="*/ 74909 h 192656"/>
              <a:gd name="T94" fmla="*/ 186295 w 193899"/>
              <a:gd name="T95" fmla="*/ 60442 h 192656"/>
              <a:gd name="T96" fmla="*/ 180500 w 193899"/>
              <a:gd name="T97" fmla="*/ 47430 h 192656"/>
              <a:gd name="T98" fmla="*/ 173171 w 193899"/>
              <a:gd name="T99" fmla="*/ 35907 h 192656"/>
              <a:gd name="T100" fmla="*/ 172504 w 193899"/>
              <a:gd name="T101" fmla="*/ 35141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8" name="object 14">
            <a:extLst>
              <a:ext uri="{FF2B5EF4-FFF2-40B4-BE49-F238E27FC236}">
                <a16:creationId xmlns:a16="http://schemas.microsoft.com/office/drawing/2014/main" id="{D7F56A92-E301-4D11-BE32-B924F79D02C5}"/>
              </a:ext>
            </a:extLst>
          </p:cNvPr>
          <p:cNvSpPr>
            <a:spLocks/>
          </p:cNvSpPr>
          <p:nvPr/>
        </p:nvSpPr>
        <p:spPr bwMode="auto">
          <a:xfrm>
            <a:off x="8095435" y="6343651"/>
            <a:ext cx="154947" cy="163198"/>
          </a:xfrm>
          <a:custGeom>
            <a:avLst/>
            <a:gdLst>
              <a:gd name="T0" fmla="*/ 157946 w 268134"/>
              <a:gd name="T1" fmla="*/ 0 h 282037"/>
              <a:gd name="T2" fmla="*/ 108748 w 268134"/>
              <a:gd name="T3" fmla="*/ 7448 h 282037"/>
              <a:gd name="T4" fmla="*/ 68128 w 268134"/>
              <a:gd name="T5" fmla="*/ 25114 h 282037"/>
              <a:gd name="T6" fmla="*/ 36545 w 268134"/>
              <a:gd name="T7" fmla="*/ 51183 h 282037"/>
              <a:gd name="T8" fmla="*/ 14457 w 268134"/>
              <a:gd name="T9" fmla="*/ 83850 h 282037"/>
              <a:gd name="T10" fmla="*/ 2327 w 268134"/>
              <a:gd name="T11" fmla="*/ 121301 h 282037"/>
              <a:gd name="T12" fmla="*/ 0 w 268134"/>
              <a:gd name="T13" fmla="*/ 148032 h 282037"/>
              <a:gd name="T14" fmla="*/ 971 w 268134"/>
              <a:gd name="T15" fmla="*/ 160290 h 282037"/>
              <a:gd name="T16" fmla="*/ 15708 w 268134"/>
              <a:gd name="T17" fmla="*/ 207124 h 282037"/>
              <a:gd name="T18" fmla="*/ 48430 w 268134"/>
              <a:gd name="T19" fmla="*/ 246707 h 282037"/>
              <a:gd name="T20" fmla="*/ 85255 w 268134"/>
              <a:gd name="T21" fmla="*/ 268638 h 282037"/>
              <a:gd name="T22" fmla="*/ 132989 w 268134"/>
              <a:gd name="T23" fmla="*/ 281589 h 282037"/>
              <a:gd name="T24" fmla="*/ 171038 w 268134"/>
              <a:gd name="T25" fmla="*/ 284195 h 282037"/>
              <a:gd name="T26" fmla="*/ 183981 w 268134"/>
              <a:gd name="T27" fmla="*/ 283392 h 282037"/>
              <a:gd name="T28" fmla="*/ 231803 w 268134"/>
              <a:gd name="T29" fmla="*/ 273065 h 282037"/>
              <a:gd name="T30" fmla="*/ 268746 w 268134"/>
              <a:gd name="T31" fmla="*/ 256740 h 282037"/>
              <a:gd name="T32" fmla="*/ 267463 w 268134"/>
              <a:gd name="T33" fmla="*/ 226038 h 282037"/>
              <a:gd name="T34" fmla="*/ 155891 w 268134"/>
              <a:gd name="T35" fmla="*/ 226038 h 282037"/>
              <a:gd name="T36" fmla="*/ 141242 w 268134"/>
              <a:gd name="T37" fmla="*/ 223664 h 282037"/>
              <a:gd name="T38" fmla="*/ 104152 w 268134"/>
              <a:gd name="T39" fmla="*/ 206379 h 282037"/>
              <a:gd name="T40" fmla="*/ 79829 w 268134"/>
              <a:gd name="T41" fmla="*/ 174793 h 282037"/>
              <a:gd name="T42" fmla="*/ 71457 w 268134"/>
              <a:gd name="T43" fmla="*/ 130115 h 282037"/>
              <a:gd name="T44" fmla="*/ 74271 w 268134"/>
              <a:gd name="T45" fmla="*/ 117644 h 282037"/>
              <a:gd name="T46" fmla="*/ 104622 w 268134"/>
              <a:gd name="T47" fmla="*/ 77798 h 282037"/>
              <a:gd name="T48" fmla="*/ 145633 w 268134"/>
              <a:gd name="T49" fmla="*/ 61205 h 282037"/>
              <a:gd name="T50" fmla="*/ 180713 w 268134"/>
              <a:gd name="T51" fmla="*/ 57946 h 282037"/>
              <a:gd name="T52" fmla="*/ 262776 w 268134"/>
              <a:gd name="T53" fmla="*/ 57946 h 282037"/>
              <a:gd name="T54" fmla="*/ 259145 w 268134"/>
              <a:gd name="T55" fmla="*/ 20665 h 282037"/>
              <a:gd name="T56" fmla="*/ 214731 w 268134"/>
              <a:gd name="T57" fmla="*/ 5092 h 282037"/>
              <a:gd name="T58" fmla="*/ 173449 w 268134"/>
              <a:gd name="T59" fmla="*/ 288 h 282037"/>
              <a:gd name="T60" fmla="*/ 157946 w 268134"/>
              <a:gd name="T61" fmla="*/ 0 h 282037"/>
              <a:gd name="T62" fmla="*/ 266267 w 268134"/>
              <a:gd name="T63" fmla="*/ 197379 h 282037"/>
              <a:gd name="T64" fmla="*/ 231339 w 268134"/>
              <a:gd name="T65" fmla="*/ 213116 h 282037"/>
              <a:gd name="T66" fmla="*/ 184758 w 268134"/>
              <a:gd name="T67" fmla="*/ 224788 h 282037"/>
              <a:gd name="T68" fmla="*/ 155891 w 268134"/>
              <a:gd name="T69" fmla="*/ 226038 h 282037"/>
              <a:gd name="T70" fmla="*/ 267463 w 268134"/>
              <a:gd name="T71" fmla="*/ 226038 h 282037"/>
              <a:gd name="T72" fmla="*/ 266267 w 268134"/>
              <a:gd name="T73" fmla="*/ 197379 h 282037"/>
              <a:gd name="T74" fmla="*/ 262776 w 268134"/>
              <a:gd name="T75" fmla="*/ 57946 h 282037"/>
              <a:gd name="T76" fmla="*/ 180713 w 268134"/>
              <a:gd name="T77" fmla="*/ 57946 h 282037"/>
              <a:gd name="T78" fmla="*/ 193411 w 268134"/>
              <a:gd name="T79" fmla="*/ 59334 h 282037"/>
              <a:gd name="T80" fmla="*/ 205856 w 268134"/>
              <a:gd name="T81" fmla="*/ 61717 h 282037"/>
              <a:gd name="T82" fmla="*/ 242024 w 268134"/>
              <a:gd name="T83" fmla="*/ 74122 h 282037"/>
              <a:gd name="T84" fmla="*/ 265512 w 268134"/>
              <a:gd name="T85" fmla="*/ 86052 h 282037"/>
              <a:gd name="T86" fmla="*/ 262776 w 268134"/>
              <a:gd name="T87" fmla="*/ 5794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79" name="object 15">
            <a:extLst>
              <a:ext uri="{FF2B5EF4-FFF2-40B4-BE49-F238E27FC236}">
                <a16:creationId xmlns:a16="http://schemas.microsoft.com/office/drawing/2014/main" id="{6F9CD25F-7C70-4E54-A179-D8236AF71AD5}"/>
              </a:ext>
            </a:extLst>
          </p:cNvPr>
          <p:cNvSpPr>
            <a:spLocks/>
          </p:cNvSpPr>
          <p:nvPr/>
        </p:nvSpPr>
        <p:spPr bwMode="auto">
          <a:xfrm>
            <a:off x="8274220"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2 w 186347"/>
              <a:gd name="T19" fmla="*/ 124102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39 h 275069"/>
              <a:gd name="T44" fmla="*/ 179969 w 186347"/>
              <a:gd name="T45" fmla="*/ 129799 h 275069"/>
              <a:gd name="T46" fmla="*/ 113529 w 186347"/>
              <a:gd name="T47" fmla="*/ 85035 h 275069"/>
              <a:gd name="T48" fmla="*/ 68325 w 186347"/>
              <a:gd name="T49" fmla="*/ 104929 h 275069"/>
              <a:gd name="T50" fmla="*/ 58524 w 186347"/>
              <a:gd name="T51" fmla="*/ 115830 h 275069"/>
              <a:gd name="T52" fmla="*/ 173896 w 186347"/>
              <a:gd name="T53" fmla="*/ 115830 h 275069"/>
              <a:gd name="T54" fmla="*/ 140183 w 186347"/>
              <a:gd name="T55" fmla="*/ 89049 h 275069"/>
              <a:gd name="T56" fmla="*/ 113529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0" name="object 16">
            <a:extLst>
              <a:ext uri="{FF2B5EF4-FFF2-40B4-BE49-F238E27FC236}">
                <a16:creationId xmlns:a16="http://schemas.microsoft.com/office/drawing/2014/main" id="{A7AC0CB3-56DC-4A2E-AB4A-A30CF28DCF8E}"/>
              </a:ext>
            </a:extLst>
          </p:cNvPr>
          <p:cNvSpPr>
            <a:spLocks/>
          </p:cNvSpPr>
          <p:nvPr/>
        </p:nvSpPr>
        <p:spPr bwMode="auto">
          <a:xfrm>
            <a:off x="8405329" y="6396827"/>
            <a:ext cx="33923" cy="107271"/>
          </a:xfrm>
          <a:custGeom>
            <a:avLst/>
            <a:gdLst>
              <a:gd name="T0" fmla="*/ 59505 w 58483"/>
              <a:gd name="T1" fmla="*/ 185129 h 185940"/>
              <a:gd name="T2" fmla="*/ 0 w 58483"/>
              <a:gd name="T3" fmla="*/ 185129 h 185940"/>
              <a:gd name="T4" fmla="*/ 0 w 58483"/>
              <a:gd name="T5" fmla="*/ 0 h 185940"/>
              <a:gd name="T6" fmla="*/ 59505 w 58483"/>
              <a:gd name="T7" fmla="*/ 0 h 185940"/>
              <a:gd name="T8" fmla="*/ 59505 w 58483"/>
              <a:gd name="T9" fmla="*/ 185129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1" name="object 17">
            <a:extLst>
              <a:ext uri="{FF2B5EF4-FFF2-40B4-BE49-F238E27FC236}">
                <a16:creationId xmlns:a16="http://schemas.microsoft.com/office/drawing/2014/main" id="{462AEEB7-C2F6-4FA5-A9B9-44ECA54F13B7}"/>
              </a:ext>
            </a:extLst>
          </p:cNvPr>
          <p:cNvSpPr>
            <a:spLocks/>
          </p:cNvSpPr>
          <p:nvPr/>
        </p:nvSpPr>
        <p:spPr bwMode="auto">
          <a:xfrm>
            <a:off x="8403496" y="6344567"/>
            <a:ext cx="37590" cy="35757"/>
          </a:xfrm>
          <a:custGeom>
            <a:avLst/>
            <a:gdLst>
              <a:gd name="T0" fmla="*/ 23399 w 64473"/>
              <a:gd name="T1" fmla="*/ 0 h 61899"/>
              <a:gd name="T2" fmla="*/ 11296 w 64473"/>
              <a:gd name="T3" fmla="*/ 6800 h 61899"/>
              <a:gd name="T4" fmla="*/ 3032 w 64473"/>
              <a:gd name="T5" fmla="*/ 18063 h 61899"/>
              <a:gd name="T6" fmla="*/ 0 w 64473"/>
              <a:gd name="T7" fmla="*/ 32683 h 61899"/>
              <a:gd name="T8" fmla="*/ 3347 w 64473"/>
              <a:gd name="T9" fmla="*/ 44535 h 61899"/>
              <a:gd name="T10" fmla="*/ 11667 w 64473"/>
              <a:gd name="T11" fmla="*/ 54062 h 61899"/>
              <a:gd name="T12" fmla="*/ 24719 w 64473"/>
              <a:gd name="T13" fmla="*/ 60220 h 61899"/>
              <a:gd name="T14" fmla="*/ 42255 w 64473"/>
              <a:gd name="T15" fmla="*/ 61955 h 61899"/>
              <a:gd name="T16" fmla="*/ 54972 w 64473"/>
              <a:gd name="T17" fmla="*/ 55506 h 61899"/>
              <a:gd name="T18" fmla="*/ 63712 w 64473"/>
              <a:gd name="T19" fmla="*/ 44628 h 61899"/>
              <a:gd name="T20" fmla="*/ 66965 w 64473"/>
              <a:gd name="T21" fmla="*/ 30792 h 61899"/>
              <a:gd name="T22" fmla="*/ 66819 w 64473"/>
              <a:gd name="T23" fmla="*/ 27801 h 61899"/>
              <a:gd name="T24" fmla="*/ 63135 w 64473"/>
              <a:gd name="T25" fmla="*/ 16350 h 61899"/>
              <a:gd name="T26" fmla="*/ 54582 w 64473"/>
              <a:gd name="T27" fmla="*/ 7227 h 61899"/>
              <a:gd name="T28" fmla="*/ 41294 w 64473"/>
              <a:gd name="T29" fmla="*/ 1439 h 61899"/>
              <a:gd name="T30" fmla="*/ 2339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2" name="object 18">
            <a:extLst>
              <a:ext uri="{FF2B5EF4-FFF2-40B4-BE49-F238E27FC236}">
                <a16:creationId xmlns:a16="http://schemas.microsoft.com/office/drawing/2014/main" id="{6F151092-DAF7-43E3-AAC0-0FE283D436F6}"/>
              </a:ext>
            </a:extLst>
          </p:cNvPr>
          <p:cNvSpPr>
            <a:spLocks/>
          </p:cNvSpPr>
          <p:nvPr/>
        </p:nvSpPr>
        <p:spPr bwMode="auto">
          <a:xfrm>
            <a:off x="8464007" y="6345484"/>
            <a:ext cx="33923" cy="158614"/>
          </a:xfrm>
          <a:custGeom>
            <a:avLst/>
            <a:gdLst>
              <a:gd name="T0" fmla="*/ 59505 w 58483"/>
              <a:gd name="T1" fmla="*/ 273345 h 275069"/>
              <a:gd name="T2" fmla="*/ 0 w 58483"/>
              <a:gd name="T3" fmla="*/ 273345 h 275069"/>
              <a:gd name="T4" fmla="*/ 0 w 58483"/>
              <a:gd name="T5" fmla="*/ 0 h 275069"/>
              <a:gd name="T6" fmla="*/ 59505 w 58483"/>
              <a:gd name="T7" fmla="*/ 0 h 275069"/>
              <a:gd name="T8" fmla="*/ 59505 w 58483"/>
              <a:gd name="T9" fmla="*/ 273345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3" name="object 19">
            <a:extLst>
              <a:ext uri="{FF2B5EF4-FFF2-40B4-BE49-F238E27FC236}">
                <a16:creationId xmlns:a16="http://schemas.microsoft.com/office/drawing/2014/main" id="{B04B2BF3-5C8A-43F6-818A-372DF5ADCDD3}"/>
              </a:ext>
            </a:extLst>
          </p:cNvPr>
          <p:cNvSpPr>
            <a:spLocks/>
          </p:cNvSpPr>
          <p:nvPr/>
        </p:nvSpPr>
        <p:spPr bwMode="auto">
          <a:xfrm>
            <a:off x="8516267" y="6345484"/>
            <a:ext cx="113689" cy="161365"/>
          </a:xfrm>
          <a:custGeom>
            <a:avLst/>
            <a:gdLst>
              <a:gd name="T0" fmla="*/ 101290 w 197236"/>
              <a:gd name="T1" fmla="*/ 87186 h 278582"/>
              <a:gd name="T2" fmla="*/ 55223 w 197236"/>
              <a:gd name="T3" fmla="*/ 95109 h 278582"/>
              <a:gd name="T4" fmla="*/ 22383 w 197236"/>
              <a:gd name="T5" fmla="*/ 118136 h 278582"/>
              <a:gd name="T6" fmla="*/ 3857 w 197236"/>
              <a:gd name="T7" fmla="*/ 153521 h 278582"/>
              <a:gd name="T8" fmla="*/ 0 w 197236"/>
              <a:gd name="T9" fmla="*/ 182625 h 278582"/>
              <a:gd name="T10" fmla="*/ 1009 w 197236"/>
              <a:gd name="T11" fmla="*/ 198905 h 278582"/>
              <a:gd name="T12" fmla="*/ 15138 w 197236"/>
              <a:gd name="T13" fmla="*/ 240935 h 278582"/>
              <a:gd name="T14" fmla="*/ 43178 w 197236"/>
              <a:gd name="T15" fmla="*/ 269838 h 278582"/>
              <a:gd name="T16" fmla="*/ 81606 w 197236"/>
              <a:gd name="T17" fmla="*/ 281868 h 278582"/>
              <a:gd name="T18" fmla="*/ 96097 w 197236"/>
              <a:gd name="T19" fmla="*/ 281184 h 278582"/>
              <a:gd name="T20" fmla="*/ 108670 w 197236"/>
              <a:gd name="T21" fmla="*/ 278853 h 278582"/>
              <a:gd name="T22" fmla="*/ 119935 w 197236"/>
              <a:gd name="T23" fmla="*/ 274719 h 278582"/>
              <a:gd name="T24" fmla="*/ 130504 w 197236"/>
              <a:gd name="T25" fmla="*/ 268621 h 278582"/>
              <a:gd name="T26" fmla="*/ 195697 w 197236"/>
              <a:gd name="T27" fmla="*/ 268621 h 278582"/>
              <a:gd name="T28" fmla="*/ 195697 w 197236"/>
              <a:gd name="T29" fmla="*/ 240870 h 278582"/>
              <a:gd name="T30" fmla="*/ 114903 w 197236"/>
              <a:gd name="T31" fmla="*/ 240870 h 278582"/>
              <a:gd name="T32" fmla="*/ 98197 w 197236"/>
              <a:gd name="T33" fmla="*/ 239845 h 278582"/>
              <a:gd name="T34" fmla="*/ 66226 w 197236"/>
              <a:gd name="T35" fmla="*/ 218168 h 278582"/>
              <a:gd name="T36" fmla="*/ 59006 w 197236"/>
              <a:gd name="T37" fmla="*/ 191222 h 278582"/>
              <a:gd name="T38" fmla="*/ 60223 w 197236"/>
              <a:gd name="T39" fmla="*/ 172090 h 278582"/>
              <a:gd name="T40" fmla="*/ 78476 w 197236"/>
              <a:gd name="T41" fmla="*/ 134639 h 278582"/>
              <a:gd name="T42" fmla="*/ 101498 w 197236"/>
              <a:gd name="T43" fmla="*/ 126230 h 278582"/>
              <a:gd name="T44" fmla="*/ 195697 w 197236"/>
              <a:gd name="T45" fmla="*/ 126230 h 278582"/>
              <a:gd name="T46" fmla="*/ 195697 w 197236"/>
              <a:gd name="T47" fmla="*/ 98351 h 278582"/>
              <a:gd name="T48" fmla="*/ 137656 w 197236"/>
              <a:gd name="T49" fmla="*/ 98351 h 278582"/>
              <a:gd name="T50" fmla="*/ 125696 w 197236"/>
              <a:gd name="T51" fmla="*/ 93138 h 278582"/>
              <a:gd name="T52" fmla="*/ 113612 w 197236"/>
              <a:gd name="T53" fmla="*/ 89403 h 278582"/>
              <a:gd name="T54" fmla="*/ 101290 w 197236"/>
              <a:gd name="T55" fmla="*/ 87186 h 278582"/>
              <a:gd name="T56" fmla="*/ 195697 w 197236"/>
              <a:gd name="T57" fmla="*/ 268621 h 278582"/>
              <a:gd name="T58" fmla="*/ 130504 w 197236"/>
              <a:gd name="T59" fmla="*/ 268621 h 278582"/>
              <a:gd name="T60" fmla="*/ 137656 w 197236"/>
              <a:gd name="T61" fmla="*/ 278326 h 278582"/>
              <a:gd name="T62" fmla="*/ 195697 w 197236"/>
              <a:gd name="T63" fmla="*/ 278326 h 278582"/>
              <a:gd name="T64" fmla="*/ 195697 w 197236"/>
              <a:gd name="T65" fmla="*/ 268621 h 278582"/>
              <a:gd name="T66" fmla="*/ 195697 w 197236"/>
              <a:gd name="T67" fmla="*/ 126230 h 278582"/>
              <a:gd name="T68" fmla="*/ 101498 w 197236"/>
              <a:gd name="T69" fmla="*/ 126230 h 278582"/>
              <a:gd name="T70" fmla="*/ 115302 w 197236"/>
              <a:gd name="T71" fmla="*/ 127643 h 278582"/>
              <a:gd name="T72" fmla="*/ 127709 w 197236"/>
              <a:gd name="T73" fmla="*/ 131559 h 278582"/>
              <a:gd name="T74" fmla="*/ 137656 w 197236"/>
              <a:gd name="T75" fmla="*/ 226900 h 278582"/>
              <a:gd name="T76" fmla="*/ 126106 w 197236"/>
              <a:gd name="T77" fmla="*/ 235854 h 278582"/>
              <a:gd name="T78" fmla="*/ 114903 w 197236"/>
              <a:gd name="T79" fmla="*/ 240870 h 278582"/>
              <a:gd name="T80" fmla="*/ 195697 w 197236"/>
              <a:gd name="T81" fmla="*/ 240870 h 278582"/>
              <a:gd name="T82" fmla="*/ 195697 w 197236"/>
              <a:gd name="T83" fmla="*/ 126230 h 278582"/>
              <a:gd name="T84" fmla="*/ 195697 w 197236"/>
              <a:gd name="T85" fmla="*/ 0 h 278582"/>
              <a:gd name="T86" fmla="*/ 137656 w 197236"/>
              <a:gd name="T87" fmla="*/ 0 h 278582"/>
              <a:gd name="T88" fmla="*/ 137656 w 197236"/>
              <a:gd name="T89" fmla="*/ 98351 h 278582"/>
              <a:gd name="T90" fmla="*/ 195697 w 197236"/>
              <a:gd name="T91" fmla="*/ 98351 h 278582"/>
              <a:gd name="T92" fmla="*/ 195697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4" name="object 20">
            <a:extLst>
              <a:ext uri="{FF2B5EF4-FFF2-40B4-BE49-F238E27FC236}">
                <a16:creationId xmlns:a16="http://schemas.microsoft.com/office/drawing/2014/main" id="{CFE7A0E5-47A6-4861-85A5-173D1D521091}"/>
              </a:ext>
            </a:extLst>
          </p:cNvPr>
          <p:cNvSpPr>
            <a:spLocks/>
          </p:cNvSpPr>
          <p:nvPr/>
        </p:nvSpPr>
        <p:spPr bwMode="auto">
          <a:xfrm>
            <a:off x="8653794" y="6394994"/>
            <a:ext cx="86183" cy="109104"/>
          </a:xfrm>
          <a:custGeom>
            <a:avLst/>
            <a:gdLst>
              <a:gd name="T0" fmla="*/ 59751 w 148435"/>
              <a:gd name="T1" fmla="*/ 3317 h 189286"/>
              <a:gd name="T2" fmla="*/ 0 w 148435"/>
              <a:gd name="T3" fmla="*/ 3317 h 189286"/>
              <a:gd name="T4" fmla="*/ 0 w 148435"/>
              <a:gd name="T5" fmla="*/ 187794 h 189286"/>
              <a:gd name="T6" fmla="*/ 59751 w 148435"/>
              <a:gd name="T7" fmla="*/ 187794 h 189286"/>
              <a:gd name="T8" fmla="*/ 61596 w 148435"/>
              <a:gd name="T9" fmla="*/ 103511 h 189286"/>
              <a:gd name="T10" fmla="*/ 68120 w 148435"/>
              <a:gd name="T11" fmla="*/ 89037 h 189286"/>
              <a:gd name="T12" fmla="*/ 104560 w 148435"/>
              <a:gd name="T13" fmla="*/ 56384 h 189286"/>
              <a:gd name="T14" fmla="*/ 108023 w 148435"/>
              <a:gd name="T15" fmla="*/ 56137 h 189286"/>
              <a:gd name="T16" fmla="*/ 59751 w 148435"/>
              <a:gd name="T17" fmla="*/ 56137 h 189286"/>
              <a:gd name="T18" fmla="*/ 59751 w 148435"/>
              <a:gd name="T19" fmla="*/ 3317 h 189286"/>
              <a:gd name="T20" fmla="*/ 145798 w 148435"/>
              <a:gd name="T21" fmla="*/ 55409 h 189286"/>
              <a:gd name="T22" fmla="*/ 118243 w 148435"/>
              <a:gd name="T23" fmla="*/ 55409 h 189286"/>
              <a:gd name="T24" fmla="*/ 129895 w 148435"/>
              <a:gd name="T25" fmla="*/ 59818 h 189286"/>
              <a:gd name="T26" fmla="*/ 144201 w 148435"/>
              <a:gd name="T27" fmla="*/ 67742 h 189286"/>
              <a:gd name="T28" fmla="*/ 145798 w 148435"/>
              <a:gd name="T29" fmla="*/ 55409 h 189286"/>
              <a:gd name="T30" fmla="*/ 116162 w 148435"/>
              <a:gd name="T31" fmla="*/ 0 h 189286"/>
              <a:gd name="T32" fmla="*/ 77630 w 148435"/>
              <a:gd name="T33" fmla="*/ 26287 h 189286"/>
              <a:gd name="T34" fmla="*/ 60569 w 148435"/>
              <a:gd name="T35" fmla="*/ 56137 h 189286"/>
              <a:gd name="T36" fmla="*/ 108023 w 148435"/>
              <a:gd name="T37" fmla="*/ 56137 h 189286"/>
              <a:gd name="T38" fmla="*/ 118243 w 148435"/>
              <a:gd name="T39" fmla="*/ 55409 h 189286"/>
              <a:gd name="T40" fmla="*/ 145798 w 148435"/>
              <a:gd name="T41" fmla="*/ 55409 h 189286"/>
              <a:gd name="T42" fmla="*/ 151620 w 148435"/>
              <a:gd name="T43" fmla="*/ 10373 h 189286"/>
              <a:gd name="T44" fmla="*/ 140006 w 148435"/>
              <a:gd name="T45" fmla="*/ 4193 h 189286"/>
              <a:gd name="T46" fmla="*/ 128731 w 148435"/>
              <a:gd name="T47" fmla="*/ 865 h 189286"/>
              <a:gd name="T48" fmla="*/ 116162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5" name="object 21">
            <a:extLst>
              <a:ext uri="{FF2B5EF4-FFF2-40B4-BE49-F238E27FC236}">
                <a16:creationId xmlns:a16="http://schemas.microsoft.com/office/drawing/2014/main" id="{C3248DBF-BF3C-434E-84B4-5714A6AE0064}"/>
              </a:ext>
            </a:extLst>
          </p:cNvPr>
          <p:cNvSpPr>
            <a:spLocks/>
          </p:cNvSpPr>
          <p:nvPr/>
        </p:nvSpPr>
        <p:spPr bwMode="auto">
          <a:xfrm>
            <a:off x="8747312" y="6394994"/>
            <a:ext cx="111855" cy="111855"/>
          </a:xfrm>
          <a:custGeom>
            <a:avLst/>
            <a:gdLst>
              <a:gd name="T0" fmla="*/ 105303 w 193899"/>
              <a:gd name="T1" fmla="*/ 0 h 192655"/>
              <a:gd name="T2" fmla="*/ 59205 w 193899"/>
              <a:gd name="T3" fmla="*/ 8038 h 192655"/>
              <a:gd name="T4" fmla="*/ 25139 w 193899"/>
              <a:gd name="T5" fmla="*/ 30779 h 192655"/>
              <a:gd name="T6" fmla="*/ 4907 w 193899"/>
              <a:gd name="T7" fmla="*/ 65484 h 192655"/>
              <a:gd name="T8" fmla="*/ 0 w 193899"/>
              <a:gd name="T9" fmla="*/ 93917 h 192655"/>
              <a:gd name="T10" fmla="*/ 897 w 193899"/>
              <a:gd name="T11" fmla="*/ 109951 h 192655"/>
              <a:gd name="T12" fmla="*/ 14099 w 193899"/>
              <a:gd name="T13" fmla="*/ 150722 h 192655"/>
              <a:gd name="T14" fmla="*/ 41510 w 193899"/>
              <a:gd name="T15" fmla="*/ 179453 h 192655"/>
              <a:gd name="T16" fmla="*/ 81140 w 193899"/>
              <a:gd name="T17" fmla="*/ 194800 h 192655"/>
              <a:gd name="T18" fmla="*/ 106989 w 193899"/>
              <a:gd name="T19" fmla="*/ 196767 h 192655"/>
              <a:gd name="T20" fmla="*/ 118141 w 193899"/>
              <a:gd name="T21" fmla="*/ 196456 h 192655"/>
              <a:gd name="T22" fmla="*/ 168434 w 193899"/>
              <a:gd name="T23" fmla="*/ 184777 h 192655"/>
              <a:gd name="T24" fmla="*/ 184735 w 193899"/>
              <a:gd name="T25" fmla="*/ 161173 h 192655"/>
              <a:gd name="T26" fmla="*/ 130724 w 193899"/>
              <a:gd name="T27" fmla="*/ 161173 h 192655"/>
              <a:gd name="T28" fmla="*/ 112313 w 193899"/>
              <a:gd name="T29" fmla="*/ 160130 h 192655"/>
              <a:gd name="T30" fmla="*/ 74052 w 193899"/>
              <a:gd name="T31" fmla="*/ 143109 h 192655"/>
              <a:gd name="T32" fmla="*/ 60117 w 193899"/>
              <a:gd name="T33" fmla="*/ 108064 h 192655"/>
              <a:gd name="T34" fmla="*/ 193005 w 193899"/>
              <a:gd name="T35" fmla="*/ 108064 h 192655"/>
              <a:gd name="T36" fmla="*/ 192695 w 193899"/>
              <a:gd name="T37" fmla="*/ 90796 h 192655"/>
              <a:gd name="T38" fmla="*/ 190675 w 193899"/>
              <a:gd name="T39" fmla="*/ 76753 h 192655"/>
              <a:gd name="T40" fmla="*/ 61319 w 193899"/>
              <a:gd name="T41" fmla="*/ 76753 h 192655"/>
              <a:gd name="T42" fmla="*/ 64703 w 193899"/>
              <a:gd name="T43" fmla="*/ 60914 h 192655"/>
              <a:gd name="T44" fmla="*/ 71465 w 193899"/>
              <a:gd name="T45" fmla="*/ 48616 h 192655"/>
              <a:gd name="T46" fmla="*/ 81319 w 193899"/>
              <a:gd name="T47" fmla="*/ 40130 h 192655"/>
              <a:gd name="T48" fmla="*/ 93967 w 193899"/>
              <a:gd name="T49" fmla="*/ 35727 h 192655"/>
              <a:gd name="T50" fmla="*/ 101456 w 193899"/>
              <a:gd name="T51" fmla="*/ 35141 h 192655"/>
              <a:gd name="T52" fmla="*/ 172508 w 193899"/>
              <a:gd name="T53" fmla="*/ 35141 h 192655"/>
              <a:gd name="T54" fmla="*/ 164464 w 193899"/>
              <a:gd name="T55" fmla="*/ 25907 h 192655"/>
              <a:gd name="T56" fmla="*/ 154515 w 193899"/>
              <a:gd name="T57" fmla="*/ 17468 h 192655"/>
              <a:gd name="T58" fmla="*/ 143476 w 193899"/>
              <a:gd name="T59" fmla="*/ 10621 h 192655"/>
              <a:gd name="T60" fmla="*/ 131497 w 193899"/>
              <a:gd name="T61" fmla="*/ 5403 h 192655"/>
              <a:gd name="T62" fmla="*/ 118723 w 193899"/>
              <a:gd name="T63" fmla="*/ 1853 h 192655"/>
              <a:gd name="T64" fmla="*/ 105303 w 193899"/>
              <a:gd name="T65" fmla="*/ 0 h 192655"/>
              <a:gd name="T66" fmla="*/ 189794 w 193899"/>
              <a:gd name="T67" fmla="*/ 134423 h 192655"/>
              <a:gd name="T68" fmla="*/ 152962 w 193899"/>
              <a:gd name="T69" fmla="*/ 155971 h 192655"/>
              <a:gd name="T70" fmla="*/ 130724 w 193899"/>
              <a:gd name="T71" fmla="*/ 161173 h 192655"/>
              <a:gd name="T72" fmla="*/ 184735 w 193899"/>
              <a:gd name="T73" fmla="*/ 161173 h 192655"/>
              <a:gd name="T74" fmla="*/ 189794 w 193899"/>
              <a:gd name="T75" fmla="*/ 134423 h 192655"/>
              <a:gd name="T76" fmla="*/ 172508 w 193899"/>
              <a:gd name="T77" fmla="*/ 35141 h 192655"/>
              <a:gd name="T78" fmla="*/ 101456 w 193899"/>
              <a:gd name="T79" fmla="*/ 35141 h 192655"/>
              <a:gd name="T80" fmla="*/ 115276 w 193899"/>
              <a:gd name="T81" fmla="*/ 37389 h 192655"/>
              <a:gd name="T82" fmla="*/ 126599 w 193899"/>
              <a:gd name="T83" fmla="*/ 43896 h 192655"/>
              <a:gd name="T84" fmla="*/ 135061 w 193899"/>
              <a:gd name="T85" fmla="*/ 54313 h 192655"/>
              <a:gd name="T86" fmla="*/ 140292 w 193899"/>
              <a:gd name="T87" fmla="*/ 68292 h 192655"/>
              <a:gd name="T88" fmla="*/ 61319 w 193899"/>
              <a:gd name="T89" fmla="*/ 76753 h 192655"/>
              <a:gd name="T90" fmla="*/ 190675 w 193899"/>
              <a:gd name="T91" fmla="*/ 76753 h 192655"/>
              <a:gd name="T92" fmla="*/ 190410 w 193899"/>
              <a:gd name="T93" fmla="*/ 74910 h 192655"/>
              <a:gd name="T94" fmla="*/ 186297 w 193899"/>
              <a:gd name="T95" fmla="*/ 60443 h 192655"/>
              <a:gd name="T96" fmla="*/ 180503 w 193899"/>
              <a:gd name="T97" fmla="*/ 47430 h 192655"/>
              <a:gd name="T98" fmla="*/ 173175 w 193899"/>
              <a:gd name="T99" fmla="*/ 35907 h 192655"/>
              <a:gd name="T100" fmla="*/ 172508 w 193899"/>
              <a:gd name="T101" fmla="*/ 35141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6" name="object 22">
            <a:extLst>
              <a:ext uri="{FF2B5EF4-FFF2-40B4-BE49-F238E27FC236}">
                <a16:creationId xmlns:a16="http://schemas.microsoft.com/office/drawing/2014/main" id="{DA4FFA15-EB0F-4334-817E-F9108AD6D60F}"/>
              </a:ext>
            </a:extLst>
          </p:cNvPr>
          <p:cNvSpPr>
            <a:spLocks/>
          </p:cNvSpPr>
          <p:nvPr/>
        </p:nvSpPr>
        <p:spPr bwMode="auto">
          <a:xfrm>
            <a:off x="8876587" y="6394994"/>
            <a:ext cx="108188" cy="109104"/>
          </a:xfrm>
          <a:custGeom>
            <a:avLst/>
            <a:gdLst>
              <a:gd name="T0" fmla="*/ 59216 w 186753"/>
              <a:gd name="T1" fmla="*/ 3491 h 189472"/>
              <a:gd name="T2" fmla="*/ 0 w 186753"/>
              <a:gd name="T3" fmla="*/ 3491 h 189472"/>
              <a:gd name="T4" fmla="*/ 0 w 186753"/>
              <a:gd name="T5" fmla="*/ 187242 h 189472"/>
              <a:gd name="T6" fmla="*/ 59216 w 186753"/>
              <a:gd name="T7" fmla="*/ 187242 h 189472"/>
              <a:gd name="T8" fmla="*/ 65512 w 186753"/>
              <a:gd name="T9" fmla="*/ 60200 h 189472"/>
              <a:gd name="T10" fmla="*/ 74811 w 186753"/>
              <a:gd name="T11" fmla="*/ 50113 h 189472"/>
              <a:gd name="T12" fmla="*/ 84563 w 186753"/>
              <a:gd name="T13" fmla="*/ 43599 h 189472"/>
              <a:gd name="T14" fmla="*/ 95799 w 186753"/>
              <a:gd name="T15" fmla="*/ 40282 h 189472"/>
              <a:gd name="T16" fmla="*/ 109545 w 186753"/>
              <a:gd name="T17" fmla="*/ 39782 h 189472"/>
              <a:gd name="T18" fmla="*/ 183434 w 186753"/>
              <a:gd name="T19" fmla="*/ 39782 h 189472"/>
              <a:gd name="T20" fmla="*/ 182427 w 186753"/>
              <a:gd name="T21" fmla="*/ 36627 h 189472"/>
              <a:gd name="T22" fmla="*/ 178236 w 186753"/>
              <a:gd name="T23" fmla="*/ 29795 h 189472"/>
              <a:gd name="T24" fmla="*/ 59216 w 186753"/>
              <a:gd name="T25" fmla="*/ 29795 h 189472"/>
              <a:gd name="T26" fmla="*/ 59216 w 186753"/>
              <a:gd name="T27" fmla="*/ 3491 h 189472"/>
              <a:gd name="T28" fmla="*/ 183434 w 186753"/>
              <a:gd name="T29" fmla="*/ 39782 h 189472"/>
              <a:gd name="T30" fmla="*/ 109545 w 186753"/>
              <a:gd name="T31" fmla="*/ 39782 h 189472"/>
              <a:gd name="T32" fmla="*/ 120149 w 186753"/>
              <a:gd name="T33" fmla="*/ 45859 h 189472"/>
              <a:gd name="T34" fmla="*/ 127246 w 186753"/>
              <a:gd name="T35" fmla="*/ 57508 h 189472"/>
              <a:gd name="T36" fmla="*/ 129835 w 186753"/>
              <a:gd name="T37" fmla="*/ 75241 h 189472"/>
              <a:gd name="T38" fmla="*/ 129835 w 186753"/>
              <a:gd name="T39" fmla="*/ 187242 h 189472"/>
              <a:gd name="T40" fmla="*/ 189052 w 186753"/>
              <a:gd name="T41" fmla="*/ 187242 h 189472"/>
              <a:gd name="T42" fmla="*/ 187319 w 186753"/>
              <a:gd name="T43" fmla="*/ 51956 h 189472"/>
              <a:gd name="T44" fmla="*/ 183434 w 186753"/>
              <a:gd name="T45" fmla="*/ 39782 h 189472"/>
              <a:gd name="T46" fmla="*/ 116094 w 186753"/>
              <a:gd name="T47" fmla="*/ 0 h 189472"/>
              <a:gd name="T48" fmla="*/ 69786 w 186753"/>
              <a:gd name="T49" fmla="*/ 19181 h 189472"/>
              <a:gd name="T50" fmla="*/ 59216 w 186753"/>
              <a:gd name="T51" fmla="*/ 29795 h 189472"/>
              <a:gd name="T52" fmla="*/ 178236 w 186753"/>
              <a:gd name="T53" fmla="*/ 29795 h 189472"/>
              <a:gd name="T54" fmla="*/ 141752 w 186753"/>
              <a:gd name="T55" fmla="*/ 3348 h 189472"/>
              <a:gd name="T56" fmla="*/ 116094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7" name="object 23">
            <a:extLst>
              <a:ext uri="{FF2B5EF4-FFF2-40B4-BE49-F238E27FC236}">
                <a16:creationId xmlns:a16="http://schemas.microsoft.com/office/drawing/2014/main" id="{492DFB06-0504-41E5-94F9-1ABF012F71FC}"/>
              </a:ext>
            </a:extLst>
          </p:cNvPr>
          <p:cNvSpPr>
            <a:spLocks/>
          </p:cNvSpPr>
          <p:nvPr/>
        </p:nvSpPr>
        <p:spPr bwMode="auto">
          <a:xfrm>
            <a:off x="6621149" y="6108938"/>
            <a:ext cx="456589" cy="477676"/>
          </a:xfrm>
          <a:custGeom>
            <a:avLst/>
            <a:gdLst>
              <a:gd name="T0" fmla="*/ 66601 w 790525"/>
              <a:gd name="T1" fmla="*/ 162808 h 826770"/>
              <a:gd name="T2" fmla="*/ 78818 w 790525"/>
              <a:gd name="T3" fmla="*/ 207326 h 826770"/>
              <a:gd name="T4" fmla="*/ 31287 w 790525"/>
              <a:gd name="T5" fmla="*/ 292548 h 826770"/>
              <a:gd name="T6" fmla="*/ 426 w 790525"/>
              <a:gd name="T7" fmla="*/ 466806 h 826770"/>
              <a:gd name="T8" fmla="*/ 43649 w 790525"/>
              <a:gd name="T9" fmla="*/ 625800 h 826770"/>
              <a:gd name="T10" fmla="*/ 81030 w 790525"/>
              <a:gd name="T11" fmla="*/ 683037 h 826770"/>
              <a:gd name="T12" fmla="*/ 157264 w 790525"/>
              <a:gd name="T13" fmla="*/ 755537 h 826770"/>
              <a:gd name="T14" fmla="*/ 207251 w 790525"/>
              <a:gd name="T15" fmla="*/ 784793 h 826770"/>
              <a:gd name="T16" fmla="*/ 315829 w 790525"/>
              <a:gd name="T17" fmla="*/ 822950 h 826770"/>
              <a:gd name="T18" fmla="*/ 514399 w 790525"/>
              <a:gd name="T19" fmla="*/ 820406 h 826770"/>
              <a:gd name="T20" fmla="*/ 609484 w 790525"/>
              <a:gd name="T21" fmla="*/ 787337 h 826770"/>
              <a:gd name="T22" fmla="*/ 616428 w 790525"/>
              <a:gd name="T23" fmla="*/ 745362 h 826770"/>
              <a:gd name="T24" fmla="*/ 201678 w 790525"/>
              <a:gd name="T25" fmla="*/ 716106 h 826770"/>
              <a:gd name="T26" fmla="*/ 134187 w 790525"/>
              <a:gd name="T27" fmla="*/ 655054 h 826770"/>
              <a:gd name="T28" fmla="*/ 66507 w 790525"/>
              <a:gd name="T29" fmla="*/ 544394 h 826770"/>
              <a:gd name="T30" fmla="*/ 42329 w 790525"/>
              <a:gd name="T31" fmla="*/ 401936 h 826770"/>
              <a:gd name="T32" fmla="*/ 83765 w 790525"/>
              <a:gd name="T33" fmla="*/ 248030 h 826770"/>
              <a:gd name="T34" fmla="*/ 191944 w 790525"/>
              <a:gd name="T35" fmla="*/ 212414 h 826770"/>
              <a:gd name="T36" fmla="*/ 154523 w 790525"/>
              <a:gd name="T37" fmla="*/ 174258 h 826770"/>
              <a:gd name="T38" fmla="*/ 119452 w 790525"/>
              <a:gd name="T39" fmla="*/ 148818 h 826770"/>
              <a:gd name="T40" fmla="*/ 119288 w 790525"/>
              <a:gd name="T41" fmla="*/ 255662 h 826770"/>
              <a:gd name="T42" fmla="*/ 184014 w 790525"/>
              <a:gd name="T43" fmla="*/ 330708 h 826770"/>
              <a:gd name="T44" fmla="*/ 225246 w 790525"/>
              <a:gd name="T45" fmla="*/ 381584 h 826770"/>
              <a:gd name="T46" fmla="*/ 254375 w 790525"/>
              <a:gd name="T47" fmla="*/ 426102 h 826770"/>
              <a:gd name="T48" fmla="*/ 253878 w 790525"/>
              <a:gd name="T49" fmla="*/ 483340 h 826770"/>
              <a:gd name="T50" fmla="*/ 237200 w 790525"/>
              <a:gd name="T51" fmla="*/ 555842 h 826770"/>
              <a:gd name="T52" fmla="*/ 222850 w 790525"/>
              <a:gd name="T53" fmla="*/ 719924 h 826770"/>
              <a:gd name="T54" fmla="*/ 592803 w 790525"/>
              <a:gd name="T55" fmla="*/ 670318 h 826770"/>
              <a:gd name="T56" fmla="*/ 577688 w 790525"/>
              <a:gd name="T57" fmla="*/ 483340 h 826770"/>
              <a:gd name="T58" fmla="*/ 626540 w 790525"/>
              <a:gd name="T59" fmla="*/ 357418 h 826770"/>
              <a:gd name="T60" fmla="*/ 405916 w 790525"/>
              <a:gd name="T61" fmla="*/ 321802 h 826770"/>
              <a:gd name="T62" fmla="*/ 286633 w 790525"/>
              <a:gd name="T63" fmla="*/ 284916 h 826770"/>
              <a:gd name="T64" fmla="*/ 210579 w 790525"/>
              <a:gd name="T65" fmla="*/ 228952 h 826770"/>
              <a:gd name="T66" fmla="*/ 728729 w 790525"/>
              <a:gd name="T67" fmla="*/ 339610 h 826770"/>
              <a:gd name="T68" fmla="*/ 738887 w 790525"/>
              <a:gd name="T69" fmla="*/ 504963 h 826770"/>
              <a:gd name="T70" fmla="*/ 662252 w 790525"/>
              <a:gd name="T71" fmla="*/ 666500 h 826770"/>
              <a:gd name="T72" fmla="*/ 666443 w 790525"/>
              <a:gd name="T73" fmla="*/ 685581 h 826770"/>
              <a:gd name="T74" fmla="*/ 710503 w 790525"/>
              <a:gd name="T75" fmla="*/ 646150 h 826770"/>
              <a:gd name="T76" fmla="*/ 785928 w 790525"/>
              <a:gd name="T77" fmla="*/ 415926 h 826770"/>
              <a:gd name="T78" fmla="*/ 759425 w 790525"/>
              <a:gd name="T79" fmla="*/ 269652 h 826770"/>
              <a:gd name="T80" fmla="*/ 584089 w 790525"/>
              <a:gd name="T81" fmla="*/ 142460 h 826770"/>
              <a:gd name="T82" fmla="*/ 578400 w 790525"/>
              <a:gd name="T83" fmla="*/ 264564 h 826770"/>
              <a:gd name="T84" fmla="*/ 653240 w 790525"/>
              <a:gd name="T85" fmla="*/ 321802 h 826770"/>
              <a:gd name="T86" fmla="*/ 759425 w 790525"/>
              <a:gd name="T87" fmla="*/ 269652 h 826770"/>
              <a:gd name="T88" fmla="*/ 790185 w 790525"/>
              <a:gd name="T89" fmla="*/ 166626 h 826770"/>
              <a:gd name="T90" fmla="*/ 660945 w 790525"/>
              <a:gd name="T91" fmla="*/ 128466 h 826770"/>
              <a:gd name="T92" fmla="*/ 300718 w 790525"/>
              <a:gd name="T93" fmla="*/ 85222 h 826770"/>
              <a:gd name="T94" fmla="*/ 291988 w 790525"/>
              <a:gd name="T95" fmla="*/ 138642 h 826770"/>
              <a:gd name="T96" fmla="*/ 385277 w 790525"/>
              <a:gd name="T97" fmla="*/ 283646 h 826770"/>
              <a:gd name="T98" fmla="*/ 523363 w 790525"/>
              <a:gd name="T99" fmla="*/ 206056 h 826770"/>
              <a:gd name="T100" fmla="*/ 630222 w 790525"/>
              <a:gd name="T101" fmla="*/ 104300 h 826770"/>
              <a:gd name="T102" fmla="*/ 718389 w 790525"/>
              <a:gd name="T103" fmla="*/ 146274 h 826770"/>
              <a:gd name="T104" fmla="*/ 776563 w 790525"/>
              <a:gd name="T105" fmla="*/ 143730 h 826770"/>
              <a:gd name="T106" fmla="*/ 401575 w 790525"/>
              <a:gd name="T107" fmla="*/ 0 h 826770"/>
              <a:gd name="T108" fmla="*/ 238893 w 790525"/>
              <a:gd name="T109" fmla="*/ 73772 h 826770"/>
              <a:gd name="T110" fmla="*/ 152960 w 790525"/>
              <a:gd name="T111" fmla="*/ 129740 h 826770"/>
              <a:gd name="T112" fmla="*/ 177034 w 790525"/>
              <a:gd name="T113" fmla="*/ 142460 h 826770"/>
              <a:gd name="T114" fmla="*/ 231973 w 790525"/>
              <a:gd name="T115" fmla="*/ 109388 h 826770"/>
              <a:gd name="T116" fmla="*/ 575162 w 790525"/>
              <a:gd name="T117" fmla="*/ 72502 h 826770"/>
              <a:gd name="T118" fmla="*/ 503502 w 790525"/>
              <a:gd name="T119" fmla="*/ 47062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88" name="object 24">
            <a:extLst>
              <a:ext uri="{FF2B5EF4-FFF2-40B4-BE49-F238E27FC236}">
                <a16:creationId xmlns:a16="http://schemas.microsoft.com/office/drawing/2014/main" id="{3CF31239-3A43-49AC-AECC-B0FDF688AC3C}"/>
              </a:ext>
            </a:extLst>
          </p:cNvPr>
          <p:cNvSpPr>
            <a:spLocks noChangeArrowheads="1"/>
          </p:cNvSpPr>
          <p:nvPr/>
        </p:nvSpPr>
        <p:spPr bwMode="auto">
          <a:xfrm>
            <a:off x="2445" y="2661601"/>
            <a:ext cx="4819854" cy="3658211"/>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1040"/>
          </a:p>
        </p:txBody>
      </p:sp>
      <p:sp>
        <p:nvSpPr>
          <p:cNvPr id="11289" name="object 25">
            <a:extLst>
              <a:ext uri="{FF2B5EF4-FFF2-40B4-BE49-F238E27FC236}">
                <a16:creationId xmlns:a16="http://schemas.microsoft.com/office/drawing/2014/main" id="{4AA59611-A286-4E84-88D3-520DE54F28AE}"/>
              </a:ext>
            </a:extLst>
          </p:cNvPr>
          <p:cNvSpPr>
            <a:spLocks/>
          </p:cNvSpPr>
          <p:nvPr/>
        </p:nvSpPr>
        <p:spPr bwMode="auto">
          <a:xfrm>
            <a:off x="4399633" y="998444"/>
            <a:ext cx="4156975" cy="890256"/>
          </a:xfrm>
          <a:custGeom>
            <a:avLst/>
            <a:gdLst>
              <a:gd name="T0" fmla="*/ 0 w 7198220"/>
              <a:gd name="T1" fmla="*/ 1540892 h 1541652"/>
              <a:gd name="T2" fmla="*/ 7196240 w 7198220"/>
              <a:gd name="T3" fmla="*/ 1540892 h 1541652"/>
              <a:gd name="T4" fmla="*/ 7196240 w 7198220"/>
              <a:gd name="T5" fmla="*/ 0 h 1541652"/>
              <a:gd name="T6" fmla="*/ 0 w 7198220"/>
              <a:gd name="T7" fmla="*/ 0 h 1541652"/>
              <a:gd name="T8" fmla="*/ 0 w 7198220"/>
              <a:gd name="T9" fmla="*/ 1540892 h 15416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541652">
                <a:moveTo>
                  <a:pt x="0" y="1541652"/>
                </a:moveTo>
                <a:lnTo>
                  <a:pt x="7198220" y="1541652"/>
                </a:lnTo>
                <a:lnTo>
                  <a:pt x="7198220" y="0"/>
                </a:lnTo>
                <a:lnTo>
                  <a:pt x="0" y="0"/>
                </a:lnTo>
                <a:lnTo>
                  <a:pt x="0" y="1541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90" name="object 26">
            <a:extLst>
              <a:ext uri="{FF2B5EF4-FFF2-40B4-BE49-F238E27FC236}">
                <a16:creationId xmlns:a16="http://schemas.microsoft.com/office/drawing/2014/main" id="{5B11B57A-1FE0-4C12-AAF4-FC21AAC5FA49}"/>
              </a:ext>
            </a:extLst>
          </p:cNvPr>
          <p:cNvSpPr>
            <a:spLocks/>
          </p:cNvSpPr>
          <p:nvPr/>
        </p:nvSpPr>
        <p:spPr bwMode="auto">
          <a:xfrm>
            <a:off x="4399633" y="3722390"/>
            <a:ext cx="4156975" cy="609702"/>
          </a:xfrm>
          <a:custGeom>
            <a:avLst/>
            <a:gdLst>
              <a:gd name="T0" fmla="*/ 0 w 7198220"/>
              <a:gd name="T1" fmla="*/ 1055844 h 1055636"/>
              <a:gd name="T2" fmla="*/ 7196240 w 7198220"/>
              <a:gd name="T3" fmla="*/ 1055844 h 1055636"/>
              <a:gd name="T4" fmla="*/ 7196240 w 7198220"/>
              <a:gd name="T5" fmla="*/ 0 h 1055636"/>
              <a:gd name="T6" fmla="*/ 0 w 7198220"/>
              <a:gd name="T7" fmla="*/ 0 h 1055636"/>
              <a:gd name="T8" fmla="*/ 0 w 7198220"/>
              <a:gd name="T9" fmla="*/ 1055844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91" name="object 27">
            <a:extLst>
              <a:ext uri="{FF2B5EF4-FFF2-40B4-BE49-F238E27FC236}">
                <a16:creationId xmlns:a16="http://schemas.microsoft.com/office/drawing/2014/main" id="{1DD14269-4CB8-46B0-B90A-034528A83840}"/>
              </a:ext>
            </a:extLst>
          </p:cNvPr>
          <p:cNvSpPr txBox="1">
            <a:spLocks noChangeArrowheads="1"/>
          </p:cNvSpPr>
          <p:nvPr/>
        </p:nvSpPr>
        <p:spPr bwMode="auto">
          <a:xfrm>
            <a:off x="4580252" y="1112134"/>
            <a:ext cx="3263051" cy="64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79">
                <a:solidFill>
                  <a:srgbClr val="231F20"/>
                </a:solidFill>
                <a:latin typeface="Gill Sans Light"/>
                <a:ea typeface="Gill Sans Light"/>
                <a:cs typeface="Gill Sans Light"/>
              </a:rPr>
              <a:t>စိတ်ရောကိုယ်ပါ ကြာရှည်စွာ ပင်ပန်းနေခြင်း</a:t>
            </a:r>
            <a:endParaRPr lang="en-US" altLang="en-US" sz="2079">
              <a:latin typeface="Gill Sans Light"/>
              <a:ea typeface="Gill Sans Light"/>
              <a:cs typeface="Gill Sans Light"/>
            </a:endParaRPr>
          </a:p>
        </p:txBody>
      </p:sp>
      <p:sp>
        <p:nvSpPr>
          <p:cNvPr id="11292" name="object 28">
            <a:extLst>
              <a:ext uri="{FF2B5EF4-FFF2-40B4-BE49-F238E27FC236}">
                <a16:creationId xmlns:a16="http://schemas.microsoft.com/office/drawing/2014/main" id="{2C183D36-FC36-44E5-B285-952A205532BA}"/>
              </a:ext>
            </a:extLst>
          </p:cNvPr>
          <p:cNvSpPr>
            <a:spLocks/>
          </p:cNvSpPr>
          <p:nvPr/>
        </p:nvSpPr>
        <p:spPr bwMode="auto">
          <a:xfrm>
            <a:off x="4399633" y="2125247"/>
            <a:ext cx="4156975" cy="609702"/>
          </a:xfrm>
          <a:custGeom>
            <a:avLst/>
            <a:gdLst>
              <a:gd name="T0" fmla="*/ 0 w 7198220"/>
              <a:gd name="T1" fmla="*/ 1055844 h 1055636"/>
              <a:gd name="T2" fmla="*/ 7196240 w 7198220"/>
              <a:gd name="T3" fmla="*/ 1055844 h 1055636"/>
              <a:gd name="T4" fmla="*/ 7196240 w 7198220"/>
              <a:gd name="T5" fmla="*/ 0 h 1055636"/>
              <a:gd name="T6" fmla="*/ 0 w 7198220"/>
              <a:gd name="T7" fmla="*/ 0 h 1055636"/>
              <a:gd name="T8" fmla="*/ 0 w 7198220"/>
              <a:gd name="T9" fmla="*/ 1055844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93" name="object 29">
            <a:extLst>
              <a:ext uri="{FF2B5EF4-FFF2-40B4-BE49-F238E27FC236}">
                <a16:creationId xmlns:a16="http://schemas.microsoft.com/office/drawing/2014/main" id="{E4334A95-E9B7-4D79-B2D8-34B950DE02ED}"/>
              </a:ext>
            </a:extLst>
          </p:cNvPr>
          <p:cNvSpPr>
            <a:spLocks/>
          </p:cNvSpPr>
          <p:nvPr/>
        </p:nvSpPr>
        <p:spPr bwMode="auto">
          <a:xfrm>
            <a:off x="4399633" y="4520963"/>
            <a:ext cx="4156975" cy="609702"/>
          </a:xfrm>
          <a:custGeom>
            <a:avLst/>
            <a:gdLst>
              <a:gd name="T0" fmla="*/ 0 w 7198220"/>
              <a:gd name="T1" fmla="*/ 1055840 h 1055636"/>
              <a:gd name="T2" fmla="*/ 7196240 w 7198220"/>
              <a:gd name="T3" fmla="*/ 1055840 h 1055636"/>
              <a:gd name="T4" fmla="*/ 7196240 w 7198220"/>
              <a:gd name="T5" fmla="*/ 0 h 1055636"/>
              <a:gd name="T6" fmla="*/ 0 w 7198220"/>
              <a:gd name="T7" fmla="*/ 0 h 1055636"/>
              <a:gd name="T8" fmla="*/ 0 w 7198220"/>
              <a:gd name="T9" fmla="*/ 10558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94" name="object 30">
            <a:extLst>
              <a:ext uri="{FF2B5EF4-FFF2-40B4-BE49-F238E27FC236}">
                <a16:creationId xmlns:a16="http://schemas.microsoft.com/office/drawing/2014/main" id="{32C35E27-FB8A-4529-8DBC-65563BF22327}"/>
              </a:ext>
            </a:extLst>
          </p:cNvPr>
          <p:cNvSpPr>
            <a:spLocks/>
          </p:cNvSpPr>
          <p:nvPr/>
        </p:nvSpPr>
        <p:spPr bwMode="auto">
          <a:xfrm>
            <a:off x="4399633" y="2923819"/>
            <a:ext cx="4156975" cy="609702"/>
          </a:xfrm>
          <a:custGeom>
            <a:avLst/>
            <a:gdLst>
              <a:gd name="T0" fmla="*/ 0 w 7198220"/>
              <a:gd name="T1" fmla="*/ 1055840 h 1055636"/>
              <a:gd name="T2" fmla="*/ 7196240 w 7198220"/>
              <a:gd name="T3" fmla="*/ 1055840 h 1055636"/>
              <a:gd name="T4" fmla="*/ 7196240 w 7198220"/>
              <a:gd name="T5" fmla="*/ 0 h 1055636"/>
              <a:gd name="T6" fmla="*/ 0 w 7198220"/>
              <a:gd name="T7" fmla="*/ 0 h 1055636"/>
              <a:gd name="T8" fmla="*/ 0 w 7198220"/>
              <a:gd name="T9" fmla="*/ 10558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95" name="object 31">
            <a:extLst>
              <a:ext uri="{FF2B5EF4-FFF2-40B4-BE49-F238E27FC236}">
                <a16:creationId xmlns:a16="http://schemas.microsoft.com/office/drawing/2014/main" id="{EE16413B-1CBD-46E8-AA1D-35A78F8C0F43}"/>
              </a:ext>
            </a:extLst>
          </p:cNvPr>
          <p:cNvSpPr txBox="1">
            <a:spLocks noChangeArrowheads="1"/>
          </p:cNvSpPr>
          <p:nvPr/>
        </p:nvSpPr>
        <p:spPr bwMode="auto">
          <a:xfrm>
            <a:off x="4607757" y="2260023"/>
            <a:ext cx="4132220" cy="272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79">
                <a:solidFill>
                  <a:srgbClr val="231F20"/>
                </a:solidFill>
                <a:latin typeface="Gill Sans Light"/>
                <a:ea typeface="Gill Sans Light"/>
                <a:cs typeface="Gill Sans Light"/>
              </a:rPr>
              <a:t>အားအင်ကုန်ခမ်းလာခြင်း</a:t>
            </a:r>
            <a:endParaRPr lang="en-US" altLang="en-US" sz="2079">
              <a:latin typeface="Gill Sans Light"/>
              <a:ea typeface="Gill Sans Light"/>
              <a:cs typeface="Gill Sans Light"/>
            </a:endParaRPr>
          </a:p>
          <a:p>
            <a:pPr eaLnBrk="1" hangingPunct="1">
              <a:lnSpc>
                <a:spcPct val="252000"/>
              </a:lnSpc>
              <a:spcBef>
                <a:spcPct val="0"/>
              </a:spcBef>
              <a:buFontTx/>
              <a:buNone/>
            </a:pPr>
            <a:r>
              <a:rPr lang="en-US" altLang="en-US" sz="2079">
                <a:solidFill>
                  <a:srgbClr val="231F20"/>
                </a:solidFill>
                <a:latin typeface="Gill Sans Light"/>
                <a:ea typeface="Gill Sans Light"/>
                <a:cs typeface="Gill Sans Light"/>
              </a:rPr>
              <a:t>သံယော်ဇဉ်ပြတ်လာ၊ခွဲထွက်နေလာခြင်းစိတ်တို စိတ်မောဖြစ်နေခြင်း</a:t>
            </a:r>
            <a:endParaRPr lang="en-US" altLang="en-US" sz="2079">
              <a:latin typeface="Gill Sans Light"/>
              <a:ea typeface="Gill Sans Light"/>
              <a:cs typeface="Gill Sans Light"/>
            </a:endParaRPr>
          </a:p>
          <a:p>
            <a:pPr>
              <a:lnSpc>
                <a:spcPts val="318"/>
              </a:lnSpc>
              <a:spcBef>
                <a:spcPts val="8"/>
              </a:spcBef>
              <a:buNone/>
            </a:pPr>
            <a:endParaRPr lang="en-US" altLang="en-US" sz="289"/>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eaLnBrk="1" hangingPunct="1">
              <a:lnSpc>
                <a:spcPct val="100000"/>
              </a:lnSpc>
              <a:spcBef>
                <a:spcPct val="0"/>
              </a:spcBef>
              <a:buFontTx/>
              <a:buNone/>
            </a:pPr>
            <a:r>
              <a:rPr lang="en-US" altLang="en-US" sz="2079">
                <a:solidFill>
                  <a:srgbClr val="231F20"/>
                </a:solidFill>
                <a:latin typeface="Gill Sans Light"/>
                <a:ea typeface="Gill Sans Light"/>
                <a:cs typeface="Gill Sans Light"/>
              </a:rPr>
              <a:t>ပိတ်မိနေတယ်လို့ ခံစားရခြင်း</a:t>
            </a:r>
            <a:endParaRPr lang="en-US" altLang="en-US" sz="2079">
              <a:latin typeface="Gill Sans Light"/>
              <a:ea typeface="Gill Sans Light"/>
              <a:cs typeface="Gill Sans Light"/>
            </a:endParaRPr>
          </a:p>
        </p:txBody>
      </p:sp>
      <p:sp>
        <p:nvSpPr>
          <p:cNvPr id="11296" name="object 32">
            <a:extLst>
              <a:ext uri="{FF2B5EF4-FFF2-40B4-BE49-F238E27FC236}">
                <a16:creationId xmlns:a16="http://schemas.microsoft.com/office/drawing/2014/main" id="{A37AEEAA-9C7E-4557-96A7-CA14634A2A5B}"/>
              </a:ext>
            </a:extLst>
          </p:cNvPr>
          <p:cNvSpPr txBox="1">
            <a:spLocks noChangeArrowheads="1"/>
          </p:cNvSpPr>
          <p:nvPr/>
        </p:nvSpPr>
        <p:spPr bwMode="auto">
          <a:xfrm>
            <a:off x="637819" y="827911"/>
            <a:ext cx="3074181" cy="106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my-MM" altLang="en-US" sz="2310">
                <a:solidFill>
                  <a:srgbClr val="FF0000"/>
                </a:solidFill>
                <a:latin typeface="Gill Sans" pitchFamily="34" charset="0"/>
                <a:cs typeface="Gill Sans" pitchFamily="34" charset="0"/>
              </a:rPr>
              <a:t>စိတ်နှလုံးချွတ်ခြုံကျခြင်း</a:t>
            </a:r>
            <a:r>
              <a:rPr lang="en-US" altLang="en-US" sz="2310">
                <a:solidFill>
                  <a:srgbClr val="FF0000"/>
                </a:solidFill>
                <a:latin typeface="Gill Sans" pitchFamily="34" charset="0"/>
                <a:cs typeface="Gill Sans" pitchFamily="34" charset="0"/>
              </a:rPr>
              <a:t> လက္ခဏာများ</a:t>
            </a:r>
            <a:endParaRPr lang="en-US" altLang="en-US" sz="2310">
              <a:solidFill>
                <a:srgbClr val="FF0000"/>
              </a:solidFill>
              <a:latin typeface="Gill Sans Light"/>
              <a:ea typeface="Gill Sans Light"/>
              <a:cs typeface="Gill Sans Light"/>
            </a:endParaRPr>
          </a:p>
        </p:txBody>
      </p:sp>
      <p:sp>
        <p:nvSpPr>
          <p:cNvPr id="11297" name="object 33">
            <a:extLst>
              <a:ext uri="{FF2B5EF4-FFF2-40B4-BE49-F238E27FC236}">
                <a16:creationId xmlns:a16="http://schemas.microsoft.com/office/drawing/2014/main" id="{3F505BE2-6047-40CD-A3EA-4FAC632A695E}"/>
              </a:ext>
            </a:extLst>
          </p:cNvPr>
          <p:cNvSpPr>
            <a:spLocks/>
          </p:cNvSpPr>
          <p:nvPr/>
        </p:nvSpPr>
        <p:spPr bwMode="auto">
          <a:xfrm>
            <a:off x="3935710" y="1175396"/>
            <a:ext cx="272303" cy="434584"/>
          </a:xfrm>
          <a:custGeom>
            <a:avLst/>
            <a:gdLst>
              <a:gd name="T0" fmla="*/ 260520 w 471106"/>
              <a:gd name="T1" fmla="*/ 0 h 752436"/>
              <a:gd name="T2" fmla="*/ 0 w 471106"/>
              <a:gd name="T3" fmla="*/ 420064 h 752436"/>
              <a:gd name="T4" fmla="*/ 200088 w 471106"/>
              <a:gd name="T5" fmla="*/ 429970 h 752436"/>
              <a:gd name="T6" fmla="*/ 469 w 471106"/>
              <a:gd name="T7" fmla="*/ 752592 h 752436"/>
              <a:gd name="T8" fmla="*/ 472636 w 471106"/>
              <a:gd name="T9" fmla="*/ 298713 h 752436"/>
              <a:gd name="T10" fmla="*/ 268942 w 471106"/>
              <a:gd name="T11" fmla="*/ 288629 h 752436"/>
              <a:gd name="T12" fmla="*/ 442350 w 471106"/>
              <a:gd name="T13" fmla="*/ 8966 h 752436"/>
              <a:gd name="T14" fmla="*/ 260520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98" name="object 34">
            <a:extLst>
              <a:ext uri="{FF2B5EF4-FFF2-40B4-BE49-F238E27FC236}">
                <a16:creationId xmlns:a16="http://schemas.microsoft.com/office/drawing/2014/main" id="{B33E062B-656B-4786-BCE8-B2647C174596}"/>
              </a:ext>
            </a:extLst>
          </p:cNvPr>
          <p:cNvSpPr>
            <a:spLocks/>
          </p:cNvSpPr>
          <p:nvPr/>
        </p:nvSpPr>
        <p:spPr bwMode="auto">
          <a:xfrm>
            <a:off x="3712000" y="1279915"/>
            <a:ext cx="120107" cy="286056"/>
          </a:xfrm>
          <a:custGeom>
            <a:avLst/>
            <a:gdLst>
              <a:gd name="T0" fmla="*/ 204705 w 207975"/>
              <a:gd name="T1" fmla="*/ 274989 h 496265"/>
              <a:gd name="T2" fmla="*/ 152198 w 207975"/>
              <a:gd name="T3" fmla="*/ 274989 h 496265"/>
              <a:gd name="T4" fmla="*/ 207927 w 207975"/>
              <a:gd name="T5" fmla="*/ 492417 h 496265"/>
              <a:gd name="T6" fmla="*/ 204705 w 207975"/>
              <a:gd name="T7" fmla="*/ 274989 h 496265"/>
              <a:gd name="T8" fmla="*/ 72564 w 207975"/>
              <a:gd name="T9" fmla="*/ 0 h 496265"/>
              <a:gd name="T10" fmla="*/ 0 w 207975"/>
              <a:gd name="T11" fmla="*/ 83812 h 496265"/>
              <a:gd name="T12" fmla="*/ 72348 w 207975"/>
              <a:gd name="T13" fmla="*/ 367195 h 496265"/>
              <a:gd name="T14" fmla="*/ 152198 w 207975"/>
              <a:gd name="T15" fmla="*/ 274989 h 496265"/>
              <a:gd name="T16" fmla="*/ 204705 w 207975"/>
              <a:gd name="T17" fmla="*/ 274989 h 496265"/>
              <a:gd name="T18" fmla="*/ 203425 w 207975"/>
              <a:gd name="T19" fmla="*/ 188656 h 496265"/>
              <a:gd name="T20" fmla="*/ 120736 w 207975"/>
              <a:gd name="T21" fmla="*/ 188656 h 496265"/>
              <a:gd name="T22" fmla="*/ 72564 w 207975"/>
              <a:gd name="T23" fmla="*/ 0 h 496265"/>
              <a:gd name="T24" fmla="*/ 202034 w 207975"/>
              <a:gd name="T25" fmla="*/ 94775 h 496265"/>
              <a:gd name="T26" fmla="*/ 120736 w 207975"/>
              <a:gd name="T27" fmla="*/ 188656 h 496265"/>
              <a:gd name="T28" fmla="*/ 203425 w 207975"/>
              <a:gd name="T29" fmla="*/ 188656 h 496265"/>
              <a:gd name="T30" fmla="*/ 202034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299" name="object 35">
            <a:extLst>
              <a:ext uri="{FF2B5EF4-FFF2-40B4-BE49-F238E27FC236}">
                <a16:creationId xmlns:a16="http://schemas.microsoft.com/office/drawing/2014/main" id="{BF277729-48E4-4CCC-AD4B-6CE0418D624F}"/>
              </a:ext>
            </a:extLst>
          </p:cNvPr>
          <p:cNvSpPr>
            <a:spLocks/>
          </p:cNvSpPr>
          <p:nvPr/>
        </p:nvSpPr>
        <p:spPr bwMode="auto">
          <a:xfrm>
            <a:off x="3935710" y="2290279"/>
            <a:ext cx="272303" cy="434584"/>
          </a:xfrm>
          <a:custGeom>
            <a:avLst/>
            <a:gdLst>
              <a:gd name="T0" fmla="*/ 260520 w 471106"/>
              <a:gd name="T1" fmla="*/ 0 h 752436"/>
              <a:gd name="T2" fmla="*/ 0 w 471106"/>
              <a:gd name="T3" fmla="*/ 420064 h 752436"/>
              <a:gd name="T4" fmla="*/ 200088 w 471106"/>
              <a:gd name="T5" fmla="*/ 429970 h 752436"/>
              <a:gd name="T6" fmla="*/ 469 w 471106"/>
              <a:gd name="T7" fmla="*/ 752592 h 752436"/>
              <a:gd name="T8" fmla="*/ 472636 w 471106"/>
              <a:gd name="T9" fmla="*/ 298713 h 752436"/>
              <a:gd name="T10" fmla="*/ 268942 w 471106"/>
              <a:gd name="T11" fmla="*/ 288629 h 752436"/>
              <a:gd name="T12" fmla="*/ 442350 w 471106"/>
              <a:gd name="T13" fmla="*/ 8966 h 752436"/>
              <a:gd name="T14" fmla="*/ 260520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0" name="object 36">
            <a:extLst>
              <a:ext uri="{FF2B5EF4-FFF2-40B4-BE49-F238E27FC236}">
                <a16:creationId xmlns:a16="http://schemas.microsoft.com/office/drawing/2014/main" id="{10CC5690-BB97-4ADC-96EB-865B20D6DAE1}"/>
              </a:ext>
            </a:extLst>
          </p:cNvPr>
          <p:cNvSpPr>
            <a:spLocks/>
          </p:cNvSpPr>
          <p:nvPr/>
        </p:nvSpPr>
        <p:spPr bwMode="auto">
          <a:xfrm>
            <a:off x="3712000" y="2394799"/>
            <a:ext cx="120107" cy="286056"/>
          </a:xfrm>
          <a:custGeom>
            <a:avLst/>
            <a:gdLst>
              <a:gd name="T0" fmla="*/ 204705 w 207975"/>
              <a:gd name="T1" fmla="*/ 274989 h 496265"/>
              <a:gd name="T2" fmla="*/ 152198 w 207975"/>
              <a:gd name="T3" fmla="*/ 274989 h 496265"/>
              <a:gd name="T4" fmla="*/ 207927 w 207975"/>
              <a:gd name="T5" fmla="*/ 492417 h 496265"/>
              <a:gd name="T6" fmla="*/ 204705 w 207975"/>
              <a:gd name="T7" fmla="*/ 274989 h 496265"/>
              <a:gd name="T8" fmla="*/ 72564 w 207975"/>
              <a:gd name="T9" fmla="*/ 0 h 496265"/>
              <a:gd name="T10" fmla="*/ 0 w 207975"/>
              <a:gd name="T11" fmla="*/ 83812 h 496265"/>
              <a:gd name="T12" fmla="*/ 72348 w 207975"/>
              <a:gd name="T13" fmla="*/ 367195 h 496265"/>
              <a:gd name="T14" fmla="*/ 152198 w 207975"/>
              <a:gd name="T15" fmla="*/ 274989 h 496265"/>
              <a:gd name="T16" fmla="*/ 204705 w 207975"/>
              <a:gd name="T17" fmla="*/ 274989 h 496265"/>
              <a:gd name="T18" fmla="*/ 203425 w 207975"/>
              <a:gd name="T19" fmla="*/ 188656 h 496265"/>
              <a:gd name="T20" fmla="*/ 120736 w 207975"/>
              <a:gd name="T21" fmla="*/ 188656 h 496265"/>
              <a:gd name="T22" fmla="*/ 72564 w 207975"/>
              <a:gd name="T23" fmla="*/ 0 h 496265"/>
              <a:gd name="T24" fmla="*/ 202034 w 207975"/>
              <a:gd name="T25" fmla="*/ 94775 h 496265"/>
              <a:gd name="T26" fmla="*/ 120736 w 207975"/>
              <a:gd name="T27" fmla="*/ 188656 h 496265"/>
              <a:gd name="T28" fmla="*/ 203425 w 207975"/>
              <a:gd name="T29" fmla="*/ 188656 h 496265"/>
              <a:gd name="T30" fmla="*/ 202034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1" name="object 37">
            <a:extLst>
              <a:ext uri="{FF2B5EF4-FFF2-40B4-BE49-F238E27FC236}">
                <a16:creationId xmlns:a16="http://schemas.microsoft.com/office/drawing/2014/main" id="{67ED6E08-A80F-4AB9-962C-E09193B8FBDD}"/>
              </a:ext>
            </a:extLst>
          </p:cNvPr>
          <p:cNvSpPr>
            <a:spLocks/>
          </p:cNvSpPr>
          <p:nvPr/>
        </p:nvSpPr>
        <p:spPr bwMode="auto">
          <a:xfrm>
            <a:off x="3935710" y="3076932"/>
            <a:ext cx="272303" cy="434584"/>
          </a:xfrm>
          <a:custGeom>
            <a:avLst/>
            <a:gdLst>
              <a:gd name="T0" fmla="*/ 260520 w 471106"/>
              <a:gd name="T1" fmla="*/ 0 h 752436"/>
              <a:gd name="T2" fmla="*/ 0 w 471106"/>
              <a:gd name="T3" fmla="*/ 420064 h 752436"/>
              <a:gd name="T4" fmla="*/ 200088 w 471106"/>
              <a:gd name="T5" fmla="*/ 429970 h 752436"/>
              <a:gd name="T6" fmla="*/ 469 w 471106"/>
              <a:gd name="T7" fmla="*/ 752592 h 752436"/>
              <a:gd name="T8" fmla="*/ 472636 w 471106"/>
              <a:gd name="T9" fmla="*/ 298713 h 752436"/>
              <a:gd name="T10" fmla="*/ 268942 w 471106"/>
              <a:gd name="T11" fmla="*/ 288629 h 752436"/>
              <a:gd name="T12" fmla="*/ 442350 w 471106"/>
              <a:gd name="T13" fmla="*/ 8966 h 752436"/>
              <a:gd name="T14" fmla="*/ 260520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2" name="object 38">
            <a:extLst>
              <a:ext uri="{FF2B5EF4-FFF2-40B4-BE49-F238E27FC236}">
                <a16:creationId xmlns:a16="http://schemas.microsoft.com/office/drawing/2014/main" id="{7538AD47-0263-4E7B-A103-F2232DBE52D8}"/>
              </a:ext>
            </a:extLst>
          </p:cNvPr>
          <p:cNvSpPr>
            <a:spLocks/>
          </p:cNvSpPr>
          <p:nvPr/>
        </p:nvSpPr>
        <p:spPr bwMode="auto">
          <a:xfrm>
            <a:off x="3712000" y="3180536"/>
            <a:ext cx="120107" cy="286972"/>
          </a:xfrm>
          <a:custGeom>
            <a:avLst/>
            <a:gdLst>
              <a:gd name="T0" fmla="*/ 204705 w 207975"/>
              <a:gd name="T1" fmla="*/ 278531 h 496265"/>
              <a:gd name="T2" fmla="*/ 152198 w 207975"/>
              <a:gd name="T3" fmla="*/ 278531 h 496265"/>
              <a:gd name="T4" fmla="*/ 207927 w 207975"/>
              <a:gd name="T5" fmla="*/ 498758 h 496265"/>
              <a:gd name="T6" fmla="*/ 204705 w 207975"/>
              <a:gd name="T7" fmla="*/ 278531 h 496265"/>
              <a:gd name="T8" fmla="*/ 72564 w 207975"/>
              <a:gd name="T9" fmla="*/ 0 h 496265"/>
              <a:gd name="T10" fmla="*/ 0 w 207975"/>
              <a:gd name="T11" fmla="*/ 84891 h 496265"/>
              <a:gd name="T12" fmla="*/ 72348 w 207975"/>
              <a:gd name="T13" fmla="*/ 371924 h 496265"/>
              <a:gd name="T14" fmla="*/ 152198 w 207975"/>
              <a:gd name="T15" fmla="*/ 278531 h 496265"/>
              <a:gd name="T16" fmla="*/ 204705 w 207975"/>
              <a:gd name="T17" fmla="*/ 278531 h 496265"/>
              <a:gd name="T18" fmla="*/ 203425 w 207975"/>
              <a:gd name="T19" fmla="*/ 191086 h 496265"/>
              <a:gd name="T20" fmla="*/ 120736 w 207975"/>
              <a:gd name="T21" fmla="*/ 191086 h 496265"/>
              <a:gd name="T22" fmla="*/ 72564 w 207975"/>
              <a:gd name="T23" fmla="*/ 0 h 496265"/>
              <a:gd name="T24" fmla="*/ 202034 w 207975"/>
              <a:gd name="T25" fmla="*/ 95996 h 496265"/>
              <a:gd name="T26" fmla="*/ 120736 w 207975"/>
              <a:gd name="T27" fmla="*/ 191086 h 496265"/>
              <a:gd name="T28" fmla="*/ 203425 w 207975"/>
              <a:gd name="T29" fmla="*/ 191086 h 496265"/>
              <a:gd name="T30" fmla="*/ 202034 w 207975"/>
              <a:gd name="T31" fmla="*/ 95996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3" name="object 39">
            <a:extLst>
              <a:ext uri="{FF2B5EF4-FFF2-40B4-BE49-F238E27FC236}">
                <a16:creationId xmlns:a16="http://schemas.microsoft.com/office/drawing/2014/main" id="{0DC27442-BE0E-458C-81CB-B270FD879428}"/>
              </a:ext>
            </a:extLst>
          </p:cNvPr>
          <p:cNvSpPr>
            <a:spLocks/>
          </p:cNvSpPr>
          <p:nvPr/>
        </p:nvSpPr>
        <p:spPr bwMode="auto">
          <a:xfrm>
            <a:off x="3935710" y="3874587"/>
            <a:ext cx="272303" cy="434584"/>
          </a:xfrm>
          <a:custGeom>
            <a:avLst/>
            <a:gdLst>
              <a:gd name="T0" fmla="*/ 260520 w 471106"/>
              <a:gd name="T1" fmla="*/ 0 h 752436"/>
              <a:gd name="T2" fmla="*/ 0 w 471106"/>
              <a:gd name="T3" fmla="*/ 420064 h 752436"/>
              <a:gd name="T4" fmla="*/ 200088 w 471106"/>
              <a:gd name="T5" fmla="*/ 429970 h 752436"/>
              <a:gd name="T6" fmla="*/ 469 w 471106"/>
              <a:gd name="T7" fmla="*/ 752592 h 752436"/>
              <a:gd name="T8" fmla="*/ 472636 w 471106"/>
              <a:gd name="T9" fmla="*/ 298713 h 752436"/>
              <a:gd name="T10" fmla="*/ 268942 w 471106"/>
              <a:gd name="T11" fmla="*/ 288629 h 752436"/>
              <a:gd name="T12" fmla="*/ 442350 w 471106"/>
              <a:gd name="T13" fmla="*/ 8966 h 752436"/>
              <a:gd name="T14" fmla="*/ 260520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4" name="object 40">
            <a:extLst>
              <a:ext uri="{FF2B5EF4-FFF2-40B4-BE49-F238E27FC236}">
                <a16:creationId xmlns:a16="http://schemas.microsoft.com/office/drawing/2014/main" id="{23D1D801-A71E-42A0-AE7D-3B3DB00533D9}"/>
              </a:ext>
            </a:extLst>
          </p:cNvPr>
          <p:cNvSpPr>
            <a:spLocks/>
          </p:cNvSpPr>
          <p:nvPr/>
        </p:nvSpPr>
        <p:spPr bwMode="auto">
          <a:xfrm>
            <a:off x="3712000" y="3979107"/>
            <a:ext cx="120107" cy="286056"/>
          </a:xfrm>
          <a:custGeom>
            <a:avLst/>
            <a:gdLst>
              <a:gd name="T0" fmla="*/ 204705 w 207975"/>
              <a:gd name="T1" fmla="*/ 274989 h 496265"/>
              <a:gd name="T2" fmla="*/ 152198 w 207975"/>
              <a:gd name="T3" fmla="*/ 274989 h 496265"/>
              <a:gd name="T4" fmla="*/ 207927 w 207975"/>
              <a:gd name="T5" fmla="*/ 492417 h 496265"/>
              <a:gd name="T6" fmla="*/ 204705 w 207975"/>
              <a:gd name="T7" fmla="*/ 274989 h 496265"/>
              <a:gd name="T8" fmla="*/ 72564 w 207975"/>
              <a:gd name="T9" fmla="*/ 0 h 496265"/>
              <a:gd name="T10" fmla="*/ 0 w 207975"/>
              <a:gd name="T11" fmla="*/ 83812 h 496265"/>
              <a:gd name="T12" fmla="*/ 72348 w 207975"/>
              <a:gd name="T13" fmla="*/ 367195 h 496265"/>
              <a:gd name="T14" fmla="*/ 152198 w 207975"/>
              <a:gd name="T15" fmla="*/ 274989 h 496265"/>
              <a:gd name="T16" fmla="*/ 204705 w 207975"/>
              <a:gd name="T17" fmla="*/ 274989 h 496265"/>
              <a:gd name="T18" fmla="*/ 203425 w 207975"/>
              <a:gd name="T19" fmla="*/ 188656 h 496265"/>
              <a:gd name="T20" fmla="*/ 120736 w 207975"/>
              <a:gd name="T21" fmla="*/ 188656 h 496265"/>
              <a:gd name="T22" fmla="*/ 72564 w 207975"/>
              <a:gd name="T23" fmla="*/ 0 h 496265"/>
              <a:gd name="T24" fmla="*/ 202034 w 207975"/>
              <a:gd name="T25" fmla="*/ 94775 h 496265"/>
              <a:gd name="T26" fmla="*/ 120736 w 207975"/>
              <a:gd name="T27" fmla="*/ 188656 h 496265"/>
              <a:gd name="T28" fmla="*/ 203425 w 207975"/>
              <a:gd name="T29" fmla="*/ 188656 h 496265"/>
              <a:gd name="T30" fmla="*/ 202034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5" name="object 41">
            <a:extLst>
              <a:ext uri="{FF2B5EF4-FFF2-40B4-BE49-F238E27FC236}">
                <a16:creationId xmlns:a16="http://schemas.microsoft.com/office/drawing/2014/main" id="{6442BFC8-DC55-4897-9B8D-590C21156F5F}"/>
              </a:ext>
            </a:extLst>
          </p:cNvPr>
          <p:cNvSpPr>
            <a:spLocks/>
          </p:cNvSpPr>
          <p:nvPr/>
        </p:nvSpPr>
        <p:spPr bwMode="auto">
          <a:xfrm>
            <a:off x="3935710" y="4673159"/>
            <a:ext cx="272303" cy="434584"/>
          </a:xfrm>
          <a:custGeom>
            <a:avLst/>
            <a:gdLst>
              <a:gd name="T0" fmla="*/ 260520 w 471106"/>
              <a:gd name="T1" fmla="*/ 0 h 752436"/>
              <a:gd name="T2" fmla="*/ 0 w 471106"/>
              <a:gd name="T3" fmla="*/ 420064 h 752436"/>
              <a:gd name="T4" fmla="*/ 200088 w 471106"/>
              <a:gd name="T5" fmla="*/ 429970 h 752436"/>
              <a:gd name="T6" fmla="*/ 469 w 471106"/>
              <a:gd name="T7" fmla="*/ 752592 h 752436"/>
              <a:gd name="T8" fmla="*/ 472636 w 471106"/>
              <a:gd name="T9" fmla="*/ 298713 h 752436"/>
              <a:gd name="T10" fmla="*/ 268942 w 471106"/>
              <a:gd name="T11" fmla="*/ 288629 h 752436"/>
              <a:gd name="T12" fmla="*/ 442350 w 471106"/>
              <a:gd name="T13" fmla="*/ 8966 h 752436"/>
              <a:gd name="T14" fmla="*/ 260520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6" name="object 42">
            <a:extLst>
              <a:ext uri="{FF2B5EF4-FFF2-40B4-BE49-F238E27FC236}">
                <a16:creationId xmlns:a16="http://schemas.microsoft.com/office/drawing/2014/main" id="{E28461D8-B590-4B69-BDF4-DFEEC54C926A}"/>
              </a:ext>
            </a:extLst>
          </p:cNvPr>
          <p:cNvSpPr>
            <a:spLocks/>
          </p:cNvSpPr>
          <p:nvPr/>
        </p:nvSpPr>
        <p:spPr bwMode="auto">
          <a:xfrm>
            <a:off x="3712000" y="4777679"/>
            <a:ext cx="120107" cy="286056"/>
          </a:xfrm>
          <a:custGeom>
            <a:avLst/>
            <a:gdLst>
              <a:gd name="T0" fmla="*/ 204705 w 207975"/>
              <a:gd name="T1" fmla="*/ 274989 h 496265"/>
              <a:gd name="T2" fmla="*/ 152198 w 207975"/>
              <a:gd name="T3" fmla="*/ 274989 h 496265"/>
              <a:gd name="T4" fmla="*/ 207927 w 207975"/>
              <a:gd name="T5" fmla="*/ 492417 h 496265"/>
              <a:gd name="T6" fmla="*/ 204705 w 207975"/>
              <a:gd name="T7" fmla="*/ 274989 h 496265"/>
              <a:gd name="T8" fmla="*/ 72564 w 207975"/>
              <a:gd name="T9" fmla="*/ 0 h 496265"/>
              <a:gd name="T10" fmla="*/ 0 w 207975"/>
              <a:gd name="T11" fmla="*/ 83812 h 496265"/>
              <a:gd name="T12" fmla="*/ 72348 w 207975"/>
              <a:gd name="T13" fmla="*/ 367195 h 496265"/>
              <a:gd name="T14" fmla="*/ 152198 w 207975"/>
              <a:gd name="T15" fmla="*/ 274989 h 496265"/>
              <a:gd name="T16" fmla="*/ 204705 w 207975"/>
              <a:gd name="T17" fmla="*/ 274989 h 496265"/>
              <a:gd name="T18" fmla="*/ 203425 w 207975"/>
              <a:gd name="T19" fmla="*/ 188656 h 496265"/>
              <a:gd name="T20" fmla="*/ 120736 w 207975"/>
              <a:gd name="T21" fmla="*/ 188656 h 496265"/>
              <a:gd name="T22" fmla="*/ 72564 w 207975"/>
              <a:gd name="T23" fmla="*/ 0 h 496265"/>
              <a:gd name="T24" fmla="*/ 202034 w 207975"/>
              <a:gd name="T25" fmla="*/ 94775 h 496265"/>
              <a:gd name="T26" fmla="*/ 120736 w 207975"/>
              <a:gd name="T27" fmla="*/ 188656 h 496265"/>
              <a:gd name="T28" fmla="*/ 203425 w 207975"/>
              <a:gd name="T29" fmla="*/ 188656 h 496265"/>
              <a:gd name="T30" fmla="*/ 202034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1307" name="object 43">
            <a:extLst>
              <a:ext uri="{FF2B5EF4-FFF2-40B4-BE49-F238E27FC236}">
                <a16:creationId xmlns:a16="http://schemas.microsoft.com/office/drawing/2014/main" id="{EE164D4E-5421-438B-B8EE-7D4E2CB87512}"/>
              </a:ext>
            </a:extLst>
          </p:cNvPr>
          <p:cNvSpPr>
            <a:spLocks/>
          </p:cNvSpPr>
          <p:nvPr/>
        </p:nvSpPr>
        <p:spPr bwMode="auto">
          <a:xfrm>
            <a:off x="591059" y="2688189"/>
            <a:ext cx="1990471" cy="2735865"/>
          </a:xfrm>
          <a:custGeom>
            <a:avLst/>
            <a:gdLst>
              <a:gd name="T0" fmla="*/ 2145912 w 3446153"/>
              <a:gd name="T1" fmla="*/ 4711700 h 4737100"/>
              <a:gd name="T2" fmla="*/ 2088134 w 3446153"/>
              <a:gd name="T3" fmla="*/ 4584700 h 4737100"/>
              <a:gd name="T4" fmla="*/ 2499781 w 3446153"/>
              <a:gd name="T5" fmla="*/ 4699000 h 4737100"/>
              <a:gd name="T6" fmla="*/ 3215584 w 3446153"/>
              <a:gd name="T7" fmla="*/ 4610100 h 4737100"/>
              <a:gd name="T8" fmla="*/ 3368959 w 3446153"/>
              <a:gd name="T9" fmla="*/ 508000 h 4737100"/>
              <a:gd name="T10" fmla="*/ 952654 w 3446153"/>
              <a:gd name="T11" fmla="*/ 863600 h 4737100"/>
              <a:gd name="T12" fmla="*/ 592478 w 3446153"/>
              <a:gd name="T13" fmla="*/ 1295400 h 4737100"/>
              <a:gd name="T14" fmla="*/ 346718 w 3446153"/>
              <a:gd name="T15" fmla="*/ 1651000 h 4737100"/>
              <a:gd name="T16" fmla="*/ 201827 w 3446153"/>
              <a:gd name="T17" fmla="*/ 1917700 h 4737100"/>
              <a:gd name="T18" fmla="*/ 88829 w 3446153"/>
              <a:gd name="T19" fmla="*/ 2235200 h 4737100"/>
              <a:gd name="T20" fmla="*/ 87285 w 3446153"/>
              <a:gd name="T21" fmla="*/ 2705100 h 4737100"/>
              <a:gd name="T22" fmla="*/ 7035 w 3446153"/>
              <a:gd name="T23" fmla="*/ 2844800 h 4737100"/>
              <a:gd name="T24" fmla="*/ 1709176 w 3446153"/>
              <a:gd name="T25" fmla="*/ 3898900 h 4737100"/>
              <a:gd name="T26" fmla="*/ 2793974 w 3446153"/>
              <a:gd name="T27" fmla="*/ 3136900 h 4737100"/>
              <a:gd name="T28" fmla="*/ 2784943 w 3446153"/>
              <a:gd name="T29" fmla="*/ 2730500 h 4737100"/>
              <a:gd name="T30" fmla="*/ 2721234 w 3446153"/>
              <a:gd name="T31" fmla="*/ 2387600 h 4737100"/>
              <a:gd name="T32" fmla="*/ 2605549 w 3446153"/>
              <a:gd name="T33" fmla="*/ 2286000 h 4737100"/>
              <a:gd name="T34" fmla="*/ 2409323 w 3446153"/>
              <a:gd name="T35" fmla="*/ 2209800 h 4737100"/>
              <a:gd name="T36" fmla="*/ 1596171 w 3446153"/>
              <a:gd name="T37" fmla="*/ 2120900 h 4737100"/>
              <a:gd name="T38" fmla="*/ 1840701 w 3446153"/>
              <a:gd name="T39" fmla="*/ 1955800 h 4737100"/>
              <a:gd name="T40" fmla="*/ 2573334 w 3446153"/>
              <a:gd name="T41" fmla="*/ 1790700 h 4737100"/>
              <a:gd name="T42" fmla="*/ 2297019 w 3446153"/>
              <a:gd name="T43" fmla="*/ 1485900 h 4737100"/>
              <a:gd name="T44" fmla="*/ 2248280 w 3446153"/>
              <a:gd name="T45" fmla="*/ 1028700 h 4737100"/>
              <a:gd name="T46" fmla="*/ 3390328 w 3446153"/>
              <a:gd name="T47" fmla="*/ 876300 h 4737100"/>
              <a:gd name="T48" fmla="*/ 3411257 w 3446153"/>
              <a:gd name="T49" fmla="*/ 749300 h 4737100"/>
              <a:gd name="T50" fmla="*/ 3372335 w 3446153"/>
              <a:gd name="T51" fmla="*/ 546100 h 4737100"/>
              <a:gd name="T52" fmla="*/ 2108250 w 3446153"/>
              <a:gd name="T53" fmla="*/ 4508500 h 4737100"/>
              <a:gd name="T54" fmla="*/ 1959359 w 3446153"/>
              <a:gd name="T55" fmla="*/ 4495800 h 4737100"/>
              <a:gd name="T56" fmla="*/ 1897699 w 3446153"/>
              <a:gd name="T57" fmla="*/ 4483100 h 4737100"/>
              <a:gd name="T58" fmla="*/ 2793706 w 3446153"/>
              <a:gd name="T59" fmla="*/ 4432300 h 4737100"/>
              <a:gd name="T60" fmla="*/ 2736464 w 3446153"/>
              <a:gd name="T61" fmla="*/ 4330700 h 4737100"/>
              <a:gd name="T62" fmla="*/ 1957961 w 3446153"/>
              <a:gd name="T63" fmla="*/ 3238500 h 4737100"/>
              <a:gd name="T64" fmla="*/ 1909228 w 3446153"/>
              <a:gd name="T65" fmla="*/ 3594100 h 4737100"/>
              <a:gd name="T66" fmla="*/ 1912201 w 3446153"/>
              <a:gd name="T67" fmla="*/ 4013200 h 4737100"/>
              <a:gd name="T68" fmla="*/ 2760848 w 3446153"/>
              <a:gd name="T69" fmla="*/ 4318000 h 4737100"/>
              <a:gd name="T70" fmla="*/ 2837873 w 3446153"/>
              <a:gd name="T71" fmla="*/ 4203700 h 4737100"/>
              <a:gd name="T72" fmla="*/ 2793900 w 3446153"/>
              <a:gd name="T73" fmla="*/ 3860800 h 4737100"/>
              <a:gd name="T74" fmla="*/ 2796567 w 3446153"/>
              <a:gd name="T75" fmla="*/ 3289300 h 4737100"/>
              <a:gd name="T76" fmla="*/ 1727058 w 3446153"/>
              <a:gd name="T77" fmla="*/ 3162300 h 4737100"/>
              <a:gd name="T78" fmla="*/ 1937818 w 3446153"/>
              <a:gd name="T79" fmla="*/ 2095500 h 4737100"/>
              <a:gd name="T80" fmla="*/ 2523802 w 3446153"/>
              <a:gd name="T81" fmla="*/ 1981200 h 4737100"/>
              <a:gd name="T82" fmla="*/ 2430714 w 3446153"/>
              <a:gd name="T83" fmla="*/ 1117600 h 4737100"/>
              <a:gd name="T84" fmla="*/ 2322655 w 3446153"/>
              <a:gd name="T85" fmla="*/ 1460500 h 4737100"/>
              <a:gd name="T86" fmla="*/ 2716971 w 3446153"/>
              <a:gd name="T87" fmla="*/ 1270000 h 4737100"/>
              <a:gd name="T88" fmla="*/ 2843815 w 3446153"/>
              <a:gd name="T89" fmla="*/ 1168400 h 4737100"/>
              <a:gd name="T90" fmla="*/ 3044528 w 3446153"/>
              <a:gd name="T91" fmla="*/ 1054100 h 4737100"/>
              <a:gd name="T92" fmla="*/ 3238613 w 3446153"/>
              <a:gd name="T93" fmla="*/ 1003300 h 4737100"/>
              <a:gd name="T94" fmla="*/ 3392959 w 3446153"/>
              <a:gd name="T95" fmla="*/ 990600 h 4737100"/>
              <a:gd name="T96" fmla="*/ 3306078 w 3446153"/>
              <a:gd name="T97" fmla="*/ 965200 h 4737100"/>
              <a:gd name="T98" fmla="*/ 3420609 w 3446153"/>
              <a:gd name="T99" fmla="*/ 495300 h 4737100"/>
              <a:gd name="T100" fmla="*/ 2428909 w 3446153"/>
              <a:gd name="T101" fmla="*/ 203200 h 4737100"/>
              <a:gd name="T102" fmla="*/ 2252021 w 3446153"/>
              <a:gd name="T103" fmla="*/ 304800 h 4737100"/>
              <a:gd name="T104" fmla="*/ 2210866 w 3446153"/>
              <a:gd name="T105" fmla="*/ 406400 h 4737100"/>
              <a:gd name="T106" fmla="*/ 3368945 w 3446153"/>
              <a:gd name="T107" fmla="*/ 444500 h 4737100"/>
              <a:gd name="T108" fmla="*/ 2074790 w 3446153"/>
              <a:gd name="T109" fmla="*/ 381000 h 4737100"/>
              <a:gd name="T110" fmla="*/ 2150446 w 3446153"/>
              <a:gd name="T111" fmla="*/ 393700 h 4737100"/>
              <a:gd name="T112" fmla="*/ 3257930 w 3446153"/>
              <a:gd name="T113" fmla="*/ 165100 h 4737100"/>
              <a:gd name="T114" fmla="*/ 2503456 w 3446153"/>
              <a:gd name="T115" fmla="*/ 76200 h 4737100"/>
              <a:gd name="T116" fmla="*/ 3166041 w 3446153"/>
              <a:gd name="T117" fmla="*/ 88900 h 4737100"/>
              <a:gd name="T118" fmla="*/ 3105535 w 3446153"/>
              <a:gd name="T119" fmla="*/ 38100 h 47371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46153" h="4737100">
                <a:moveTo>
                  <a:pt x="3132313" y="4724400"/>
                </a:moveTo>
                <a:lnTo>
                  <a:pt x="2799062" y="4724400"/>
                </a:lnTo>
                <a:lnTo>
                  <a:pt x="2811095" y="4737100"/>
                </a:lnTo>
                <a:lnTo>
                  <a:pt x="3120386" y="4737100"/>
                </a:lnTo>
                <a:lnTo>
                  <a:pt x="3132313" y="4724400"/>
                </a:lnTo>
                <a:close/>
              </a:path>
              <a:path w="3446153" h="4737100">
                <a:moveTo>
                  <a:pt x="3321646" y="4724400"/>
                </a:moveTo>
                <a:lnTo>
                  <a:pt x="3182381" y="4724400"/>
                </a:lnTo>
                <a:lnTo>
                  <a:pt x="3205278" y="4737100"/>
                </a:lnTo>
                <a:lnTo>
                  <a:pt x="3309116" y="4737100"/>
                </a:lnTo>
                <a:lnTo>
                  <a:pt x="3321646" y="4724400"/>
                </a:lnTo>
                <a:close/>
              </a:path>
              <a:path w="3446153" h="4737100">
                <a:moveTo>
                  <a:pt x="2423885" y="4711700"/>
                </a:moveTo>
                <a:lnTo>
                  <a:pt x="2145140" y="4711700"/>
                </a:lnTo>
                <a:lnTo>
                  <a:pt x="2159138" y="4724400"/>
                </a:lnTo>
                <a:lnTo>
                  <a:pt x="2411379" y="4724400"/>
                </a:lnTo>
                <a:lnTo>
                  <a:pt x="2423885" y="4711700"/>
                </a:lnTo>
                <a:close/>
              </a:path>
              <a:path w="3446153" h="4737100">
                <a:moveTo>
                  <a:pt x="3345548" y="4711700"/>
                </a:moveTo>
                <a:lnTo>
                  <a:pt x="2724658" y="4711700"/>
                </a:lnTo>
                <a:lnTo>
                  <a:pt x="2737806" y="4724400"/>
                </a:lnTo>
                <a:lnTo>
                  <a:pt x="3333836" y="4724400"/>
                </a:lnTo>
                <a:lnTo>
                  <a:pt x="3345548" y="4711700"/>
                </a:lnTo>
                <a:close/>
              </a:path>
              <a:path w="3446153" h="4737100">
                <a:moveTo>
                  <a:pt x="3121899" y="4559300"/>
                </a:moveTo>
                <a:lnTo>
                  <a:pt x="2093562" y="4559300"/>
                </a:lnTo>
                <a:lnTo>
                  <a:pt x="2090015" y="4572000"/>
                </a:lnTo>
                <a:lnTo>
                  <a:pt x="2087382" y="4584700"/>
                </a:lnTo>
                <a:lnTo>
                  <a:pt x="2085782" y="4597400"/>
                </a:lnTo>
                <a:lnTo>
                  <a:pt x="2085335" y="4610100"/>
                </a:lnTo>
                <a:lnTo>
                  <a:pt x="2086698" y="4635500"/>
                </a:lnTo>
                <a:lnTo>
                  <a:pt x="2089264" y="4648200"/>
                </a:lnTo>
                <a:lnTo>
                  <a:pt x="2093085" y="4660900"/>
                </a:lnTo>
                <a:lnTo>
                  <a:pt x="2098209" y="4673600"/>
                </a:lnTo>
                <a:lnTo>
                  <a:pt x="2104687" y="4686300"/>
                </a:lnTo>
                <a:lnTo>
                  <a:pt x="2112570" y="4686300"/>
                </a:lnTo>
                <a:lnTo>
                  <a:pt x="2121906" y="4699000"/>
                </a:lnTo>
                <a:lnTo>
                  <a:pt x="2132746" y="4711700"/>
                </a:lnTo>
                <a:lnTo>
                  <a:pt x="2486333" y="4711700"/>
                </a:lnTo>
                <a:lnTo>
                  <a:pt x="2498881" y="4699000"/>
                </a:lnTo>
                <a:lnTo>
                  <a:pt x="3361137" y="4699000"/>
                </a:lnTo>
                <a:lnTo>
                  <a:pt x="3366047" y="4686300"/>
                </a:lnTo>
                <a:lnTo>
                  <a:pt x="3368526" y="4673600"/>
                </a:lnTo>
                <a:lnTo>
                  <a:pt x="3368193" y="4673600"/>
                </a:lnTo>
                <a:lnTo>
                  <a:pt x="3364666" y="4660900"/>
                </a:lnTo>
                <a:lnTo>
                  <a:pt x="3357565" y="4648200"/>
                </a:lnTo>
                <a:lnTo>
                  <a:pt x="3349253" y="4635500"/>
                </a:lnTo>
                <a:lnTo>
                  <a:pt x="3281174" y="4635500"/>
                </a:lnTo>
                <a:lnTo>
                  <a:pt x="3268855" y="4622800"/>
                </a:lnTo>
                <a:lnTo>
                  <a:pt x="3234648" y="4622800"/>
                </a:lnTo>
                <a:lnTo>
                  <a:pt x="3224388" y="4610100"/>
                </a:lnTo>
                <a:lnTo>
                  <a:pt x="3214428" y="4610100"/>
                </a:lnTo>
                <a:lnTo>
                  <a:pt x="3204205" y="4597400"/>
                </a:lnTo>
                <a:lnTo>
                  <a:pt x="3193155" y="4584700"/>
                </a:lnTo>
                <a:lnTo>
                  <a:pt x="3169473" y="4584700"/>
                </a:lnTo>
                <a:lnTo>
                  <a:pt x="3158025" y="4572000"/>
                </a:lnTo>
                <a:lnTo>
                  <a:pt x="3134291" y="4572000"/>
                </a:lnTo>
                <a:lnTo>
                  <a:pt x="3121899" y="4559300"/>
                </a:lnTo>
                <a:close/>
              </a:path>
              <a:path w="3446153" h="4737100">
                <a:moveTo>
                  <a:pt x="3361137" y="4699000"/>
                </a:moveTo>
                <a:lnTo>
                  <a:pt x="2635159" y="4699000"/>
                </a:lnTo>
                <a:lnTo>
                  <a:pt x="2647721" y="4711700"/>
                </a:lnTo>
                <a:lnTo>
                  <a:pt x="3354177" y="4711700"/>
                </a:lnTo>
                <a:lnTo>
                  <a:pt x="3361137" y="4699000"/>
                </a:lnTo>
                <a:close/>
              </a:path>
              <a:path w="3446153" h="4737100">
                <a:moveTo>
                  <a:pt x="3367747" y="508000"/>
                </a:moveTo>
                <a:lnTo>
                  <a:pt x="1458139" y="508000"/>
                </a:lnTo>
                <a:lnTo>
                  <a:pt x="1426567" y="520700"/>
                </a:lnTo>
                <a:lnTo>
                  <a:pt x="1360341" y="546100"/>
                </a:lnTo>
                <a:lnTo>
                  <a:pt x="1326202" y="571500"/>
                </a:lnTo>
                <a:lnTo>
                  <a:pt x="1257157" y="596900"/>
                </a:lnTo>
                <a:lnTo>
                  <a:pt x="1188804" y="647700"/>
                </a:lnTo>
                <a:lnTo>
                  <a:pt x="1123200" y="685800"/>
                </a:lnTo>
                <a:lnTo>
                  <a:pt x="1092073" y="711200"/>
                </a:lnTo>
                <a:lnTo>
                  <a:pt x="1062404" y="736600"/>
                </a:lnTo>
                <a:lnTo>
                  <a:pt x="1034451" y="774700"/>
                </a:lnTo>
                <a:lnTo>
                  <a:pt x="979506" y="825500"/>
                </a:lnTo>
                <a:lnTo>
                  <a:pt x="952310" y="863600"/>
                </a:lnTo>
                <a:lnTo>
                  <a:pt x="898483" y="914400"/>
                </a:lnTo>
                <a:lnTo>
                  <a:pt x="871856" y="952500"/>
                </a:lnTo>
                <a:lnTo>
                  <a:pt x="845423" y="977900"/>
                </a:lnTo>
                <a:lnTo>
                  <a:pt x="819187" y="1016000"/>
                </a:lnTo>
                <a:lnTo>
                  <a:pt x="767313" y="1066800"/>
                </a:lnTo>
                <a:lnTo>
                  <a:pt x="741679" y="1104900"/>
                </a:lnTo>
                <a:lnTo>
                  <a:pt x="716251" y="1130300"/>
                </a:lnTo>
                <a:lnTo>
                  <a:pt x="691030" y="1168400"/>
                </a:lnTo>
                <a:lnTo>
                  <a:pt x="666019" y="1193800"/>
                </a:lnTo>
                <a:lnTo>
                  <a:pt x="641220" y="1231900"/>
                </a:lnTo>
                <a:lnTo>
                  <a:pt x="616635" y="1257300"/>
                </a:lnTo>
                <a:lnTo>
                  <a:pt x="592266" y="1295400"/>
                </a:lnTo>
                <a:lnTo>
                  <a:pt x="568116" y="1333500"/>
                </a:lnTo>
                <a:lnTo>
                  <a:pt x="544188" y="1358900"/>
                </a:lnTo>
                <a:lnTo>
                  <a:pt x="520482" y="1397000"/>
                </a:lnTo>
                <a:lnTo>
                  <a:pt x="486926" y="1435100"/>
                </a:lnTo>
                <a:lnTo>
                  <a:pt x="475839" y="1460500"/>
                </a:lnTo>
                <a:lnTo>
                  <a:pt x="442870" y="1498600"/>
                </a:lnTo>
                <a:lnTo>
                  <a:pt x="431978" y="1524000"/>
                </a:lnTo>
                <a:lnTo>
                  <a:pt x="410340" y="1549400"/>
                </a:lnTo>
                <a:lnTo>
                  <a:pt x="399594" y="1574800"/>
                </a:lnTo>
                <a:lnTo>
                  <a:pt x="378248" y="1600200"/>
                </a:lnTo>
                <a:lnTo>
                  <a:pt x="367648" y="1625600"/>
                </a:lnTo>
                <a:lnTo>
                  <a:pt x="346594" y="1651000"/>
                </a:lnTo>
                <a:lnTo>
                  <a:pt x="336139" y="1676400"/>
                </a:lnTo>
                <a:lnTo>
                  <a:pt x="315376" y="1701800"/>
                </a:lnTo>
                <a:lnTo>
                  <a:pt x="305067" y="1727200"/>
                </a:lnTo>
                <a:lnTo>
                  <a:pt x="298888" y="1727200"/>
                </a:lnTo>
                <a:lnTo>
                  <a:pt x="292789" y="1739900"/>
                </a:lnTo>
                <a:lnTo>
                  <a:pt x="286752" y="1752600"/>
                </a:lnTo>
                <a:lnTo>
                  <a:pt x="274794" y="1778000"/>
                </a:lnTo>
                <a:lnTo>
                  <a:pt x="250844" y="1816100"/>
                </a:lnTo>
                <a:lnTo>
                  <a:pt x="232288" y="1854200"/>
                </a:lnTo>
                <a:lnTo>
                  <a:pt x="212689" y="1892300"/>
                </a:lnTo>
                <a:lnTo>
                  <a:pt x="206867" y="1905000"/>
                </a:lnTo>
                <a:lnTo>
                  <a:pt x="201755" y="1917700"/>
                </a:lnTo>
                <a:lnTo>
                  <a:pt x="197267" y="1930400"/>
                </a:lnTo>
                <a:lnTo>
                  <a:pt x="193317" y="1930400"/>
                </a:lnTo>
                <a:lnTo>
                  <a:pt x="183828" y="1968500"/>
                </a:lnTo>
                <a:lnTo>
                  <a:pt x="176074" y="2006600"/>
                </a:lnTo>
                <a:lnTo>
                  <a:pt x="173471" y="2019300"/>
                </a:lnTo>
                <a:lnTo>
                  <a:pt x="164405" y="2057400"/>
                </a:lnTo>
                <a:lnTo>
                  <a:pt x="151553" y="2095500"/>
                </a:lnTo>
                <a:lnTo>
                  <a:pt x="135994" y="2133600"/>
                </a:lnTo>
                <a:lnTo>
                  <a:pt x="114384" y="2184400"/>
                </a:lnTo>
                <a:lnTo>
                  <a:pt x="109035" y="2184400"/>
                </a:lnTo>
                <a:lnTo>
                  <a:pt x="103771" y="2197100"/>
                </a:lnTo>
                <a:lnTo>
                  <a:pt x="88797" y="2235200"/>
                </a:lnTo>
                <a:lnTo>
                  <a:pt x="75708" y="2273300"/>
                </a:lnTo>
                <a:lnTo>
                  <a:pt x="65348" y="2311400"/>
                </a:lnTo>
                <a:lnTo>
                  <a:pt x="58251" y="2349500"/>
                </a:lnTo>
                <a:lnTo>
                  <a:pt x="51398" y="2400300"/>
                </a:lnTo>
                <a:lnTo>
                  <a:pt x="47351" y="2451100"/>
                </a:lnTo>
                <a:lnTo>
                  <a:pt x="46379" y="2501900"/>
                </a:lnTo>
                <a:lnTo>
                  <a:pt x="47130" y="2527300"/>
                </a:lnTo>
                <a:lnTo>
                  <a:pt x="48750" y="2540000"/>
                </a:lnTo>
                <a:lnTo>
                  <a:pt x="51273" y="2565400"/>
                </a:lnTo>
                <a:lnTo>
                  <a:pt x="59163" y="2616200"/>
                </a:lnTo>
                <a:lnTo>
                  <a:pt x="71067" y="2667000"/>
                </a:lnTo>
                <a:lnTo>
                  <a:pt x="87253" y="2705100"/>
                </a:lnTo>
                <a:lnTo>
                  <a:pt x="97036" y="2730500"/>
                </a:lnTo>
                <a:lnTo>
                  <a:pt x="107990" y="2755900"/>
                </a:lnTo>
                <a:lnTo>
                  <a:pt x="120150" y="2781300"/>
                </a:lnTo>
                <a:lnTo>
                  <a:pt x="133547" y="2794000"/>
                </a:lnTo>
                <a:lnTo>
                  <a:pt x="110759" y="2794000"/>
                </a:lnTo>
                <a:lnTo>
                  <a:pt x="97888" y="2806700"/>
                </a:lnTo>
                <a:lnTo>
                  <a:pt x="45323" y="2806700"/>
                </a:lnTo>
                <a:lnTo>
                  <a:pt x="33791" y="2819400"/>
                </a:lnTo>
                <a:lnTo>
                  <a:pt x="23654" y="2819400"/>
                </a:lnTo>
                <a:lnTo>
                  <a:pt x="15289" y="2832100"/>
                </a:lnTo>
                <a:lnTo>
                  <a:pt x="10865" y="2844800"/>
                </a:lnTo>
                <a:lnTo>
                  <a:pt x="7031" y="2844800"/>
                </a:lnTo>
                <a:lnTo>
                  <a:pt x="839" y="2882900"/>
                </a:lnTo>
                <a:lnTo>
                  <a:pt x="0" y="2908300"/>
                </a:lnTo>
                <a:lnTo>
                  <a:pt x="226" y="2921000"/>
                </a:lnTo>
                <a:lnTo>
                  <a:pt x="732" y="2946400"/>
                </a:lnTo>
                <a:lnTo>
                  <a:pt x="1404" y="2959100"/>
                </a:lnTo>
                <a:lnTo>
                  <a:pt x="2792" y="2984500"/>
                </a:lnTo>
                <a:lnTo>
                  <a:pt x="74674" y="2984500"/>
                </a:lnTo>
                <a:lnTo>
                  <a:pt x="70356" y="4686300"/>
                </a:lnTo>
                <a:lnTo>
                  <a:pt x="264755" y="4686300"/>
                </a:lnTo>
                <a:lnTo>
                  <a:pt x="275143" y="4089400"/>
                </a:lnTo>
                <a:lnTo>
                  <a:pt x="1708405" y="4089400"/>
                </a:lnTo>
                <a:lnTo>
                  <a:pt x="1708560" y="3898900"/>
                </a:lnTo>
                <a:lnTo>
                  <a:pt x="275143" y="3898900"/>
                </a:lnTo>
                <a:lnTo>
                  <a:pt x="275730" y="3746500"/>
                </a:lnTo>
                <a:lnTo>
                  <a:pt x="275851" y="3619500"/>
                </a:lnTo>
                <a:lnTo>
                  <a:pt x="275750" y="3429000"/>
                </a:lnTo>
                <a:lnTo>
                  <a:pt x="275143" y="3187700"/>
                </a:lnTo>
                <a:lnTo>
                  <a:pt x="1709139" y="3187700"/>
                </a:lnTo>
                <a:lnTo>
                  <a:pt x="1709160" y="3162300"/>
                </a:lnTo>
                <a:lnTo>
                  <a:pt x="1841686" y="3162300"/>
                </a:lnTo>
                <a:lnTo>
                  <a:pt x="1867698" y="3149600"/>
                </a:lnTo>
                <a:lnTo>
                  <a:pt x="1895318" y="3149600"/>
                </a:lnTo>
                <a:lnTo>
                  <a:pt x="1909018" y="3136900"/>
                </a:lnTo>
                <a:lnTo>
                  <a:pt x="2792970" y="3136900"/>
                </a:lnTo>
                <a:lnTo>
                  <a:pt x="2792370" y="3124200"/>
                </a:lnTo>
                <a:lnTo>
                  <a:pt x="2790846" y="3098800"/>
                </a:lnTo>
                <a:lnTo>
                  <a:pt x="2788969" y="3073400"/>
                </a:lnTo>
                <a:lnTo>
                  <a:pt x="2786250" y="3035300"/>
                </a:lnTo>
                <a:lnTo>
                  <a:pt x="2784262" y="3009900"/>
                </a:lnTo>
                <a:lnTo>
                  <a:pt x="2782912" y="2971800"/>
                </a:lnTo>
                <a:lnTo>
                  <a:pt x="2782107" y="2933700"/>
                </a:lnTo>
                <a:lnTo>
                  <a:pt x="2781755" y="2908300"/>
                </a:lnTo>
                <a:lnTo>
                  <a:pt x="2781761" y="2870200"/>
                </a:lnTo>
                <a:lnTo>
                  <a:pt x="2782035" y="2844800"/>
                </a:lnTo>
                <a:lnTo>
                  <a:pt x="2782483" y="2819400"/>
                </a:lnTo>
                <a:lnTo>
                  <a:pt x="2783943" y="2730500"/>
                </a:lnTo>
                <a:lnTo>
                  <a:pt x="2784159" y="2705100"/>
                </a:lnTo>
                <a:lnTo>
                  <a:pt x="2784086" y="2679700"/>
                </a:lnTo>
                <a:lnTo>
                  <a:pt x="2783630" y="2654300"/>
                </a:lnTo>
                <a:lnTo>
                  <a:pt x="2781200" y="2603500"/>
                </a:lnTo>
                <a:lnTo>
                  <a:pt x="2776127" y="2552700"/>
                </a:lnTo>
                <a:lnTo>
                  <a:pt x="2767669" y="2501900"/>
                </a:lnTo>
                <a:lnTo>
                  <a:pt x="2757559" y="2463800"/>
                </a:lnTo>
                <a:lnTo>
                  <a:pt x="2744091" y="2425700"/>
                </a:lnTo>
                <a:lnTo>
                  <a:pt x="2738790" y="2425700"/>
                </a:lnTo>
                <a:lnTo>
                  <a:pt x="2733060" y="2413000"/>
                </a:lnTo>
                <a:lnTo>
                  <a:pt x="2726886" y="2400300"/>
                </a:lnTo>
                <a:lnTo>
                  <a:pt x="2720254" y="2387600"/>
                </a:lnTo>
                <a:lnTo>
                  <a:pt x="2713151" y="2374900"/>
                </a:lnTo>
                <a:lnTo>
                  <a:pt x="2705562" y="2362200"/>
                </a:lnTo>
                <a:lnTo>
                  <a:pt x="2697473" y="2362200"/>
                </a:lnTo>
                <a:lnTo>
                  <a:pt x="2688870" y="2349500"/>
                </a:lnTo>
                <a:lnTo>
                  <a:pt x="2679738" y="2336800"/>
                </a:lnTo>
                <a:lnTo>
                  <a:pt x="2670065" y="2324100"/>
                </a:lnTo>
                <a:lnTo>
                  <a:pt x="2659835" y="2324100"/>
                </a:lnTo>
                <a:lnTo>
                  <a:pt x="2649439" y="2311400"/>
                </a:lnTo>
                <a:lnTo>
                  <a:pt x="2638709" y="2298700"/>
                </a:lnTo>
                <a:lnTo>
                  <a:pt x="2627654" y="2298700"/>
                </a:lnTo>
                <a:lnTo>
                  <a:pt x="2616286" y="2286000"/>
                </a:lnTo>
                <a:lnTo>
                  <a:pt x="2604613" y="2286000"/>
                </a:lnTo>
                <a:lnTo>
                  <a:pt x="2592646" y="2273300"/>
                </a:lnTo>
                <a:lnTo>
                  <a:pt x="2580394" y="2273300"/>
                </a:lnTo>
                <a:lnTo>
                  <a:pt x="2567867" y="2260600"/>
                </a:lnTo>
                <a:lnTo>
                  <a:pt x="2555074" y="2260600"/>
                </a:lnTo>
                <a:lnTo>
                  <a:pt x="2542027" y="2247900"/>
                </a:lnTo>
                <a:lnTo>
                  <a:pt x="2515204" y="2247900"/>
                </a:lnTo>
                <a:lnTo>
                  <a:pt x="2501449" y="2235200"/>
                </a:lnTo>
                <a:lnTo>
                  <a:pt x="2473301" y="2235200"/>
                </a:lnTo>
                <a:lnTo>
                  <a:pt x="2458927" y="2222500"/>
                </a:lnTo>
                <a:lnTo>
                  <a:pt x="2414725" y="2222500"/>
                </a:lnTo>
                <a:lnTo>
                  <a:pt x="2399663" y="2209800"/>
                </a:lnTo>
                <a:lnTo>
                  <a:pt x="2408455" y="2209800"/>
                </a:lnTo>
                <a:lnTo>
                  <a:pt x="2413099" y="2197100"/>
                </a:lnTo>
                <a:lnTo>
                  <a:pt x="2418576" y="2197100"/>
                </a:lnTo>
                <a:lnTo>
                  <a:pt x="2424814" y="2184400"/>
                </a:lnTo>
                <a:lnTo>
                  <a:pt x="2431739" y="2171700"/>
                </a:lnTo>
                <a:lnTo>
                  <a:pt x="2439281" y="2159000"/>
                </a:lnTo>
                <a:lnTo>
                  <a:pt x="1877806" y="2159000"/>
                </a:lnTo>
                <a:lnTo>
                  <a:pt x="1851998" y="2146300"/>
                </a:lnTo>
                <a:lnTo>
                  <a:pt x="1768714" y="2146300"/>
                </a:lnTo>
                <a:lnTo>
                  <a:pt x="1739732" y="2133600"/>
                </a:lnTo>
                <a:lnTo>
                  <a:pt x="1681262" y="2133600"/>
                </a:lnTo>
                <a:lnTo>
                  <a:pt x="1652214" y="2120900"/>
                </a:lnTo>
                <a:lnTo>
                  <a:pt x="1595595" y="2120900"/>
                </a:lnTo>
                <a:lnTo>
                  <a:pt x="1568463" y="2108200"/>
                </a:lnTo>
                <a:lnTo>
                  <a:pt x="1517661" y="2108200"/>
                </a:lnTo>
                <a:lnTo>
                  <a:pt x="1494430" y="2095500"/>
                </a:lnTo>
                <a:lnTo>
                  <a:pt x="1453411" y="2095500"/>
                </a:lnTo>
                <a:lnTo>
                  <a:pt x="1512773" y="2070100"/>
                </a:lnTo>
                <a:lnTo>
                  <a:pt x="1543221" y="2070100"/>
                </a:lnTo>
                <a:lnTo>
                  <a:pt x="1664678" y="2019300"/>
                </a:lnTo>
                <a:lnTo>
                  <a:pt x="1693793" y="2019300"/>
                </a:lnTo>
                <a:lnTo>
                  <a:pt x="1721942" y="2006600"/>
                </a:lnTo>
                <a:lnTo>
                  <a:pt x="1798262" y="1981200"/>
                </a:lnTo>
                <a:lnTo>
                  <a:pt x="1820216" y="1968500"/>
                </a:lnTo>
                <a:lnTo>
                  <a:pt x="1840037" y="1955800"/>
                </a:lnTo>
                <a:lnTo>
                  <a:pt x="1872352" y="1955800"/>
                </a:lnTo>
                <a:lnTo>
                  <a:pt x="1884378" y="1943100"/>
                </a:lnTo>
                <a:lnTo>
                  <a:pt x="2535779" y="1943100"/>
                </a:lnTo>
                <a:lnTo>
                  <a:pt x="2542131" y="1917700"/>
                </a:lnTo>
                <a:lnTo>
                  <a:pt x="2547673" y="1905000"/>
                </a:lnTo>
                <a:lnTo>
                  <a:pt x="2552494" y="1879600"/>
                </a:lnTo>
                <a:lnTo>
                  <a:pt x="2556702" y="1866900"/>
                </a:lnTo>
                <a:lnTo>
                  <a:pt x="2560408" y="1854200"/>
                </a:lnTo>
                <a:lnTo>
                  <a:pt x="2563722" y="1828800"/>
                </a:lnTo>
                <a:lnTo>
                  <a:pt x="2566753" y="1816100"/>
                </a:lnTo>
                <a:lnTo>
                  <a:pt x="2569613" y="1803400"/>
                </a:lnTo>
                <a:lnTo>
                  <a:pt x="2572410" y="1790700"/>
                </a:lnTo>
                <a:lnTo>
                  <a:pt x="2575255" y="1765300"/>
                </a:lnTo>
                <a:lnTo>
                  <a:pt x="2581527" y="1727200"/>
                </a:lnTo>
                <a:lnTo>
                  <a:pt x="2585174" y="1701800"/>
                </a:lnTo>
                <a:lnTo>
                  <a:pt x="2589308" y="1689100"/>
                </a:lnTo>
                <a:lnTo>
                  <a:pt x="2594040" y="1651000"/>
                </a:lnTo>
                <a:lnTo>
                  <a:pt x="2599479" y="1625600"/>
                </a:lnTo>
                <a:lnTo>
                  <a:pt x="2605735" y="1600200"/>
                </a:lnTo>
                <a:lnTo>
                  <a:pt x="2612918" y="1562100"/>
                </a:lnTo>
                <a:lnTo>
                  <a:pt x="2621139" y="1524000"/>
                </a:lnTo>
                <a:lnTo>
                  <a:pt x="2625823" y="1498600"/>
                </a:lnTo>
                <a:lnTo>
                  <a:pt x="2303727" y="1498600"/>
                </a:lnTo>
                <a:lnTo>
                  <a:pt x="2296191" y="1485900"/>
                </a:lnTo>
                <a:lnTo>
                  <a:pt x="2282495" y="1435100"/>
                </a:lnTo>
                <a:lnTo>
                  <a:pt x="2270733" y="1384300"/>
                </a:lnTo>
                <a:lnTo>
                  <a:pt x="2261023" y="1333500"/>
                </a:lnTo>
                <a:lnTo>
                  <a:pt x="2253487" y="1270000"/>
                </a:lnTo>
                <a:lnTo>
                  <a:pt x="2250571" y="1244600"/>
                </a:lnTo>
                <a:lnTo>
                  <a:pt x="2248244" y="1206500"/>
                </a:lnTo>
                <a:lnTo>
                  <a:pt x="2246519" y="1181100"/>
                </a:lnTo>
                <a:lnTo>
                  <a:pt x="2245413" y="1143000"/>
                </a:lnTo>
                <a:lnTo>
                  <a:pt x="2244941" y="1117600"/>
                </a:lnTo>
                <a:lnTo>
                  <a:pt x="2245116" y="1092200"/>
                </a:lnTo>
                <a:lnTo>
                  <a:pt x="2245955" y="1054100"/>
                </a:lnTo>
                <a:lnTo>
                  <a:pt x="2247472" y="1028700"/>
                </a:lnTo>
                <a:lnTo>
                  <a:pt x="2249682" y="1003300"/>
                </a:lnTo>
                <a:lnTo>
                  <a:pt x="2252600" y="977900"/>
                </a:lnTo>
                <a:lnTo>
                  <a:pt x="2256242" y="952500"/>
                </a:lnTo>
                <a:lnTo>
                  <a:pt x="3312945" y="952500"/>
                </a:lnTo>
                <a:lnTo>
                  <a:pt x="3319318" y="939800"/>
                </a:lnTo>
                <a:lnTo>
                  <a:pt x="3323720" y="927100"/>
                </a:lnTo>
                <a:lnTo>
                  <a:pt x="3413009" y="927100"/>
                </a:lnTo>
                <a:lnTo>
                  <a:pt x="3408874" y="914400"/>
                </a:lnTo>
                <a:lnTo>
                  <a:pt x="3403941" y="914400"/>
                </a:lnTo>
                <a:lnTo>
                  <a:pt x="3398474" y="901700"/>
                </a:lnTo>
                <a:lnTo>
                  <a:pt x="3392694" y="889000"/>
                </a:lnTo>
                <a:lnTo>
                  <a:pt x="3389108" y="876300"/>
                </a:lnTo>
                <a:lnTo>
                  <a:pt x="3387463" y="876300"/>
                </a:lnTo>
                <a:lnTo>
                  <a:pt x="3387505" y="863600"/>
                </a:lnTo>
                <a:lnTo>
                  <a:pt x="3388977" y="850900"/>
                </a:lnTo>
                <a:lnTo>
                  <a:pt x="3391627" y="838200"/>
                </a:lnTo>
                <a:lnTo>
                  <a:pt x="3395199" y="838200"/>
                </a:lnTo>
                <a:lnTo>
                  <a:pt x="3399438" y="825500"/>
                </a:lnTo>
                <a:lnTo>
                  <a:pt x="3404091" y="812800"/>
                </a:lnTo>
                <a:lnTo>
                  <a:pt x="3408902" y="800100"/>
                </a:lnTo>
                <a:lnTo>
                  <a:pt x="3413617" y="774700"/>
                </a:lnTo>
                <a:lnTo>
                  <a:pt x="3414117" y="774700"/>
                </a:lnTo>
                <a:lnTo>
                  <a:pt x="3412720" y="762000"/>
                </a:lnTo>
                <a:lnTo>
                  <a:pt x="3410029" y="749300"/>
                </a:lnTo>
                <a:lnTo>
                  <a:pt x="3406643" y="736600"/>
                </a:lnTo>
                <a:lnTo>
                  <a:pt x="3403163" y="723900"/>
                </a:lnTo>
                <a:lnTo>
                  <a:pt x="3400191" y="711200"/>
                </a:lnTo>
                <a:lnTo>
                  <a:pt x="3398328" y="698500"/>
                </a:lnTo>
                <a:lnTo>
                  <a:pt x="3398174" y="685800"/>
                </a:lnTo>
                <a:lnTo>
                  <a:pt x="3400330" y="673100"/>
                </a:lnTo>
                <a:lnTo>
                  <a:pt x="3404039" y="660400"/>
                </a:lnTo>
                <a:lnTo>
                  <a:pt x="3405522" y="647700"/>
                </a:lnTo>
                <a:lnTo>
                  <a:pt x="3402943" y="609600"/>
                </a:lnTo>
                <a:lnTo>
                  <a:pt x="3389435" y="571500"/>
                </a:lnTo>
                <a:lnTo>
                  <a:pt x="3383489" y="571500"/>
                </a:lnTo>
                <a:lnTo>
                  <a:pt x="3371123" y="546100"/>
                </a:lnTo>
                <a:lnTo>
                  <a:pt x="3365267" y="546100"/>
                </a:lnTo>
                <a:lnTo>
                  <a:pt x="3360003" y="533400"/>
                </a:lnTo>
                <a:lnTo>
                  <a:pt x="3352385" y="533400"/>
                </a:lnTo>
                <a:lnTo>
                  <a:pt x="3360673" y="520700"/>
                </a:lnTo>
                <a:lnTo>
                  <a:pt x="3367747" y="508000"/>
                </a:lnTo>
                <a:close/>
              </a:path>
              <a:path w="3446153" h="4737100">
                <a:moveTo>
                  <a:pt x="1708405" y="4089400"/>
                </a:moveTo>
                <a:lnTo>
                  <a:pt x="1486545" y="4089400"/>
                </a:lnTo>
                <a:lnTo>
                  <a:pt x="1492705" y="4686300"/>
                </a:lnTo>
                <a:lnTo>
                  <a:pt x="1707919" y="4686300"/>
                </a:lnTo>
                <a:lnTo>
                  <a:pt x="1708405" y="4089400"/>
                </a:lnTo>
                <a:close/>
              </a:path>
              <a:path w="3446153" h="4737100">
                <a:moveTo>
                  <a:pt x="2963699" y="4508500"/>
                </a:moveTo>
                <a:lnTo>
                  <a:pt x="2107490" y="4508500"/>
                </a:lnTo>
                <a:lnTo>
                  <a:pt x="2106797" y="4521200"/>
                </a:lnTo>
                <a:lnTo>
                  <a:pt x="2103671" y="4533900"/>
                </a:lnTo>
                <a:lnTo>
                  <a:pt x="2097901" y="4559300"/>
                </a:lnTo>
                <a:lnTo>
                  <a:pt x="3083563" y="4559300"/>
                </a:lnTo>
                <a:lnTo>
                  <a:pt x="3071416" y="4546600"/>
                </a:lnTo>
                <a:lnTo>
                  <a:pt x="3047330" y="4546600"/>
                </a:lnTo>
                <a:lnTo>
                  <a:pt x="3035362" y="4533900"/>
                </a:lnTo>
                <a:lnTo>
                  <a:pt x="3011503" y="4533900"/>
                </a:lnTo>
                <a:lnTo>
                  <a:pt x="2999585" y="4521200"/>
                </a:lnTo>
                <a:lnTo>
                  <a:pt x="2975697" y="4521200"/>
                </a:lnTo>
                <a:lnTo>
                  <a:pt x="2963699" y="4508500"/>
                </a:lnTo>
                <a:close/>
              </a:path>
              <a:path w="3446153" h="4737100">
                <a:moveTo>
                  <a:pt x="1958655" y="4495800"/>
                </a:moveTo>
                <a:lnTo>
                  <a:pt x="1900191" y="4495800"/>
                </a:lnTo>
                <a:lnTo>
                  <a:pt x="1912345" y="4508500"/>
                </a:lnTo>
                <a:lnTo>
                  <a:pt x="1950045" y="4508500"/>
                </a:lnTo>
                <a:lnTo>
                  <a:pt x="1958655" y="4495800"/>
                </a:lnTo>
                <a:close/>
              </a:path>
              <a:path w="3446153" h="4737100">
                <a:moveTo>
                  <a:pt x="2929749" y="4495800"/>
                </a:moveTo>
                <a:lnTo>
                  <a:pt x="2102415" y="4495800"/>
                </a:lnTo>
                <a:lnTo>
                  <a:pt x="2105960" y="4508500"/>
                </a:lnTo>
                <a:lnTo>
                  <a:pt x="2941043" y="4508500"/>
                </a:lnTo>
                <a:lnTo>
                  <a:pt x="2929749" y="4495800"/>
                </a:lnTo>
                <a:close/>
              </a:path>
              <a:path w="3446153" h="4737100">
                <a:moveTo>
                  <a:pt x="2735480" y="4330700"/>
                </a:moveTo>
                <a:lnTo>
                  <a:pt x="1897124" y="4330700"/>
                </a:lnTo>
                <a:lnTo>
                  <a:pt x="1897015" y="4483100"/>
                </a:lnTo>
                <a:lnTo>
                  <a:pt x="1896702" y="4495800"/>
                </a:lnTo>
                <a:lnTo>
                  <a:pt x="2002293" y="4495800"/>
                </a:lnTo>
                <a:lnTo>
                  <a:pt x="2014454" y="4483100"/>
                </a:lnTo>
                <a:lnTo>
                  <a:pt x="2895434" y="4483100"/>
                </a:lnTo>
                <a:lnTo>
                  <a:pt x="2883695" y="4470400"/>
                </a:lnTo>
                <a:lnTo>
                  <a:pt x="2871729" y="4470400"/>
                </a:lnTo>
                <a:lnTo>
                  <a:pt x="2862236" y="4457700"/>
                </a:lnTo>
                <a:lnTo>
                  <a:pt x="2842095" y="4457700"/>
                </a:lnTo>
                <a:lnTo>
                  <a:pt x="2830761" y="4445000"/>
                </a:lnTo>
                <a:lnTo>
                  <a:pt x="2818129" y="4445000"/>
                </a:lnTo>
                <a:lnTo>
                  <a:pt x="2803854" y="4432300"/>
                </a:lnTo>
                <a:lnTo>
                  <a:pt x="2792702" y="4432300"/>
                </a:lnTo>
                <a:lnTo>
                  <a:pt x="2781464" y="4419600"/>
                </a:lnTo>
                <a:lnTo>
                  <a:pt x="2770288" y="4419600"/>
                </a:lnTo>
                <a:lnTo>
                  <a:pt x="2759320" y="4406900"/>
                </a:lnTo>
                <a:lnTo>
                  <a:pt x="2748709" y="4406900"/>
                </a:lnTo>
                <a:lnTo>
                  <a:pt x="2738601" y="4394200"/>
                </a:lnTo>
                <a:lnTo>
                  <a:pt x="2729145" y="4381500"/>
                </a:lnTo>
                <a:lnTo>
                  <a:pt x="2720486" y="4368800"/>
                </a:lnTo>
                <a:lnTo>
                  <a:pt x="2712774" y="4356100"/>
                </a:lnTo>
                <a:lnTo>
                  <a:pt x="2713586" y="4356100"/>
                </a:lnTo>
                <a:lnTo>
                  <a:pt x="2718070" y="4343400"/>
                </a:lnTo>
                <a:lnTo>
                  <a:pt x="2725583" y="4343400"/>
                </a:lnTo>
                <a:lnTo>
                  <a:pt x="2735480" y="4330700"/>
                </a:lnTo>
                <a:close/>
              </a:path>
              <a:path w="3446153" h="4737100">
                <a:moveTo>
                  <a:pt x="2906991" y="4483100"/>
                </a:moveTo>
                <a:lnTo>
                  <a:pt x="2090122" y="4483100"/>
                </a:lnTo>
                <a:lnTo>
                  <a:pt x="2097066" y="4495800"/>
                </a:lnTo>
                <a:lnTo>
                  <a:pt x="2918413" y="4495800"/>
                </a:lnTo>
                <a:lnTo>
                  <a:pt x="2906991" y="4483100"/>
                </a:lnTo>
                <a:close/>
              </a:path>
              <a:path w="3446153" h="4737100">
                <a:moveTo>
                  <a:pt x="2792970" y="3136900"/>
                </a:moveTo>
                <a:lnTo>
                  <a:pt x="1971742" y="3136900"/>
                </a:lnTo>
                <a:lnTo>
                  <a:pt x="1976291" y="3149600"/>
                </a:lnTo>
                <a:lnTo>
                  <a:pt x="1976849" y="3162300"/>
                </a:lnTo>
                <a:lnTo>
                  <a:pt x="1969628" y="3200400"/>
                </a:lnTo>
                <a:lnTo>
                  <a:pt x="1961302" y="3225800"/>
                </a:lnTo>
                <a:lnTo>
                  <a:pt x="1957257" y="3238500"/>
                </a:lnTo>
                <a:lnTo>
                  <a:pt x="1953810" y="3251200"/>
                </a:lnTo>
                <a:lnTo>
                  <a:pt x="1951353" y="3263900"/>
                </a:lnTo>
                <a:lnTo>
                  <a:pt x="1948151" y="3276600"/>
                </a:lnTo>
                <a:lnTo>
                  <a:pt x="1939292" y="3314700"/>
                </a:lnTo>
                <a:lnTo>
                  <a:pt x="1931557" y="3352800"/>
                </a:lnTo>
                <a:lnTo>
                  <a:pt x="1924954" y="3390900"/>
                </a:lnTo>
                <a:lnTo>
                  <a:pt x="1921186" y="3429000"/>
                </a:lnTo>
                <a:lnTo>
                  <a:pt x="1919493" y="3441700"/>
                </a:lnTo>
                <a:lnTo>
                  <a:pt x="1915181" y="3479800"/>
                </a:lnTo>
                <a:lnTo>
                  <a:pt x="1912027" y="3530600"/>
                </a:lnTo>
                <a:lnTo>
                  <a:pt x="1910586" y="3556000"/>
                </a:lnTo>
                <a:lnTo>
                  <a:pt x="1908540" y="3594100"/>
                </a:lnTo>
                <a:lnTo>
                  <a:pt x="1906609" y="3632200"/>
                </a:lnTo>
                <a:lnTo>
                  <a:pt x="1905134" y="3670300"/>
                </a:lnTo>
                <a:lnTo>
                  <a:pt x="1904467" y="3721100"/>
                </a:lnTo>
                <a:lnTo>
                  <a:pt x="1904617" y="3733800"/>
                </a:lnTo>
                <a:lnTo>
                  <a:pt x="1904918" y="3746500"/>
                </a:lnTo>
                <a:lnTo>
                  <a:pt x="1905384" y="3759200"/>
                </a:lnTo>
                <a:lnTo>
                  <a:pt x="1908236" y="3810000"/>
                </a:lnTo>
                <a:lnTo>
                  <a:pt x="1909860" y="3860800"/>
                </a:lnTo>
                <a:lnTo>
                  <a:pt x="1910948" y="3898900"/>
                </a:lnTo>
                <a:lnTo>
                  <a:pt x="1911553" y="3937000"/>
                </a:lnTo>
                <a:lnTo>
                  <a:pt x="1911724" y="3975100"/>
                </a:lnTo>
                <a:lnTo>
                  <a:pt x="1911513" y="4013200"/>
                </a:lnTo>
                <a:lnTo>
                  <a:pt x="1910972" y="4051300"/>
                </a:lnTo>
                <a:lnTo>
                  <a:pt x="1910151" y="4089400"/>
                </a:lnTo>
                <a:lnTo>
                  <a:pt x="1909102" y="4114800"/>
                </a:lnTo>
                <a:lnTo>
                  <a:pt x="1907876" y="4152900"/>
                </a:lnTo>
                <a:lnTo>
                  <a:pt x="1906524" y="4178300"/>
                </a:lnTo>
                <a:lnTo>
                  <a:pt x="1902222" y="4254500"/>
                </a:lnTo>
                <a:lnTo>
                  <a:pt x="1900878" y="4267200"/>
                </a:lnTo>
                <a:lnTo>
                  <a:pt x="1898629" y="4305300"/>
                </a:lnTo>
                <a:lnTo>
                  <a:pt x="1897827" y="4318000"/>
                </a:lnTo>
                <a:lnTo>
                  <a:pt x="1897308" y="4330700"/>
                </a:lnTo>
                <a:lnTo>
                  <a:pt x="2747119" y="4330700"/>
                </a:lnTo>
                <a:lnTo>
                  <a:pt x="2759856" y="4318000"/>
                </a:lnTo>
                <a:lnTo>
                  <a:pt x="2786047" y="4318000"/>
                </a:lnTo>
                <a:lnTo>
                  <a:pt x="2798214" y="4305300"/>
                </a:lnTo>
                <a:lnTo>
                  <a:pt x="2817473" y="4305300"/>
                </a:lnTo>
                <a:lnTo>
                  <a:pt x="2823278" y="4292600"/>
                </a:lnTo>
                <a:lnTo>
                  <a:pt x="2845374" y="4292600"/>
                </a:lnTo>
                <a:lnTo>
                  <a:pt x="2855391" y="4279900"/>
                </a:lnTo>
                <a:lnTo>
                  <a:pt x="2862302" y="4267200"/>
                </a:lnTo>
                <a:lnTo>
                  <a:pt x="2864297" y="4254500"/>
                </a:lnTo>
                <a:lnTo>
                  <a:pt x="2858719" y="4241800"/>
                </a:lnTo>
                <a:lnTo>
                  <a:pt x="2851077" y="4229100"/>
                </a:lnTo>
                <a:lnTo>
                  <a:pt x="2843183" y="4216400"/>
                </a:lnTo>
                <a:lnTo>
                  <a:pt x="2836853" y="4203700"/>
                </a:lnTo>
                <a:lnTo>
                  <a:pt x="2826972" y="4165600"/>
                </a:lnTo>
                <a:lnTo>
                  <a:pt x="2822077" y="4140200"/>
                </a:lnTo>
                <a:lnTo>
                  <a:pt x="2816977" y="4114800"/>
                </a:lnTo>
                <a:lnTo>
                  <a:pt x="2812452" y="4089400"/>
                </a:lnTo>
                <a:lnTo>
                  <a:pt x="2808467" y="4064000"/>
                </a:lnTo>
                <a:lnTo>
                  <a:pt x="2804990" y="4038600"/>
                </a:lnTo>
                <a:lnTo>
                  <a:pt x="2801986" y="4000500"/>
                </a:lnTo>
                <a:lnTo>
                  <a:pt x="2799422" y="3975100"/>
                </a:lnTo>
                <a:lnTo>
                  <a:pt x="2797265" y="3949700"/>
                </a:lnTo>
                <a:lnTo>
                  <a:pt x="2795481" y="3911600"/>
                </a:lnTo>
                <a:lnTo>
                  <a:pt x="2794036" y="3886200"/>
                </a:lnTo>
                <a:lnTo>
                  <a:pt x="2792896" y="3860800"/>
                </a:lnTo>
                <a:lnTo>
                  <a:pt x="2792028" y="3835400"/>
                </a:lnTo>
                <a:lnTo>
                  <a:pt x="2790973" y="3771900"/>
                </a:lnTo>
                <a:lnTo>
                  <a:pt x="2790719" y="3746500"/>
                </a:lnTo>
                <a:lnTo>
                  <a:pt x="2790767" y="3619500"/>
                </a:lnTo>
                <a:lnTo>
                  <a:pt x="2791010" y="3543300"/>
                </a:lnTo>
                <a:lnTo>
                  <a:pt x="2791637" y="3492500"/>
                </a:lnTo>
                <a:lnTo>
                  <a:pt x="2792617" y="3441700"/>
                </a:lnTo>
                <a:lnTo>
                  <a:pt x="2794268" y="3378200"/>
                </a:lnTo>
                <a:lnTo>
                  <a:pt x="2794757" y="3352800"/>
                </a:lnTo>
                <a:lnTo>
                  <a:pt x="2795168" y="3327400"/>
                </a:lnTo>
                <a:lnTo>
                  <a:pt x="2795474" y="3302000"/>
                </a:lnTo>
                <a:lnTo>
                  <a:pt x="2795561" y="3289300"/>
                </a:lnTo>
                <a:lnTo>
                  <a:pt x="2795489" y="3225800"/>
                </a:lnTo>
                <a:lnTo>
                  <a:pt x="2795101" y="3200400"/>
                </a:lnTo>
                <a:lnTo>
                  <a:pt x="2794470" y="3175000"/>
                </a:lnTo>
                <a:lnTo>
                  <a:pt x="2793569" y="3149600"/>
                </a:lnTo>
                <a:lnTo>
                  <a:pt x="2792970" y="3136900"/>
                </a:lnTo>
                <a:close/>
              </a:path>
              <a:path w="3446153" h="4737100">
                <a:moveTo>
                  <a:pt x="1709139" y="3187700"/>
                </a:moveTo>
                <a:lnTo>
                  <a:pt x="1492464" y="3187700"/>
                </a:lnTo>
                <a:lnTo>
                  <a:pt x="1492464" y="3898900"/>
                </a:lnTo>
                <a:lnTo>
                  <a:pt x="1708560" y="3898900"/>
                </a:lnTo>
                <a:lnTo>
                  <a:pt x="1709139" y="3187700"/>
                </a:lnTo>
                <a:close/>
              </a:path>
              <a:path w="3446153" h="4737100">
                <a:moveTo>
                  <a:pt x="1829995" y="3162300"/>
                </a:moveTo>
                <a:lnTo>
                  <a:pt x="1726438" y="3162300"/>
                </a:lnTo>
                <a:lnTo>
                  <a:pt x="1740698" y="3175000"/>
                </a:lnTo>
                <a:lnTo>
                  <a:pt x="1819560" y="3175000"/>
                </a:lnTo>
                <a:lnTo>
                  <a:pt x="1829995" y="3162300"/>
                </a:lnTo>
                <a:close/>
              </a:path>
              <a:path w="3446153" h="4737100">
                <a:moveTo>
                  <a:pt x="2535779" y="1943100"/>
                </a:moveTo>
                <a:lnTo>
                  <a:pt x="1901137" y="1943100"/>
                </a:lnTo>
                <a:lnTo>
                  <a:pt x="1903294" y="1955800"/>
                </a:lnTo>
                <a:lnTo>
                  <a:pt x="1905583" y="1981200"/>
                </a:lnTo>
                <a:lnTo>
                  <a:pt x="1913300" y="2019300"/>
                </a:lnTo>
                <a:lnTo>
                  <a:pt x="1919221" y="2044700"/>
                </a:lnTo>
                <a:lnTo>
                  <a:pt x="1922434" y="2044700"/>
                </a:lnTo>
                <a:lnTo>
                  <a:pt x="1925824" y="2057400"/>
                </a:lnTo>
                <a:lnTo>
                  <a:pt x="1937122" y="2095500"/>
                </a:lnTo>
                <a:lnTo>
                  <a:pt x="1950250" y="2133600"/>
                </a:lnTo>
                <a:lnTo>
                  <a:pt x="1955064" y="2133600"/>
                </a:lnTo>
                <a:lnTo>
                  <a:pt x="1960107" y="2146300"/>
                </a:lnTo>
                <a:lnTo>
                  <a:pt x="1965386" y="2159000"/>
                </a:lnTo>
                <a:lnTo>
                  <a:pt x="2439281" y="2159000"/>
                </a:lnTo>
                <a:lnTo>
                  <a:pt x="2447366" y="2146300"/>
                </a:lnTo>
                <a:lnTo>
                  <a:pt x="2455921" y="2133600"/>
                </a:lnTo>
                <a:lnTo>
                  <a:pt x="2464874" y="2120900"/>
                </a:lnTo>
                <a:lnTo>
                  <a:pt x="2474153" y="2095500"/>
                </a:lnTo>
                <a:lnTo>
                  <a:pt x="2483685" y="2082800"/>
                </a:lnTo>
                <a:lnTo>
                  <a:pt x="2493398" y="2057400"/>
                </a:lnTo>
                <a:lnTo>
                  <a:pt x="2522894" y="1981200"/>
                </a:lnTo>
                <a:lnTo>
                  <a:pt x="2532604" y="1955800"/>
                </a:lnTo>
                <a:lnTo>
                  <a:pt x="2535779" y="1943100"/>
                </a:lnTo>
                <a:close/>
              </a:path>
              <a:path w="3446153" h="4737100">
                <a:moveTo>
                  <a:pt x="3295443" y="965200"/>
                </a:moveTo>
                <a:lnTo>
                  <a:pt x="2338025" y="965200"/>
                </a:lnTo>
                <a:lnTo>
                  <a:pt x="2342878" y="977900"/>
                </a:lnTo>
                <a:lnTo>
                  <a:pt x="2348118" y="977900"/>
                </a:lnTo>
                <a:lnTo>
                  <a:pt x="2353783" y="990600"/>
                </a:lnTo>
                <a:lnTo>
                  <a:pt x="2373687" y="1028700"/>
                </a:lnTo>
                <a:lnTo>
                  <a:pt x="2398713" y="1066800"/>
                </a:lnTo>
                <a:lnTo>
                  <a:pt x="2408362" y="1092200"/>
                </a:lnTo>
                <a:lnTo>
                  <a:pt x="2418725" y="1104900"/>
                </a:lnTo>
                <a:lnTo>
                  <a:pt x="2429838" y="1117600"/>
                </a:lnTo>
                <a:lnTo>
                  <a:pt x="2441738" y="1130300"/>
                </a:lnTo>
                <a:lnTo>
                  <a:pt x="2430251" y="1168400"/>
                </a:lnTo>
                <a:lnTo>
                  <a:pt x="2409986" y="1219200"/>
                </a:lnTo>
                <a:lnTo>
                  <a:pt x="2393025" y="1270000"/>
                </a:lnTo>
                <a:lnTo>
                  <a:pt x="2383929" y="1295400"/>
                </a:lnTo>
                <a:lnTo>
                  <a:pt x="2374609" y="1320800"/>
                </a:lnTo>
                <a:lnTo>
                  <a:pt x="2365205" y="1346200"/>
                </a:lnTo>
                <a:lnTo>
                  <a:pt x="2355857" y="1371600"/>
                </a:lnTo>
                <a:lnTo>
                  <a:pt x="2346705" y="1397000"/>
                </a:lnTo>
                <a:lnTo>
                  <a:pt x="2337887" y="1422400"/>
                </a:lnTo>
                <a:lnTo>
                  <a:pt x="2329545" y="1435100"/>
                </a:lnTo>
                <a:lnTo>
                  <a:pt x="2321819" y="1460500"/>
                </a:lnTo>
                <a:lnTo>
                  <a:pt x="2314847" y="1473200"/>
                </a:lnTo>
                <a:lnTo>
                  <a:pt x="2308769" y="1498600"/>
                </a:lnTo>
                <a:lnTo>
                  <a:pt x="2625823" y="1498600"/>
                </a:lnTo>
                <a:lnTo>
                  <a:pt x="2630506" y="1473200"/>
                </a:lnTo>
                <a:lnTo>
                  <a:pt x="2641131" y="1422400"/>
                </a:lnTo>
                <a:lnTo>
                  <a:pt x="2650749" y="1384300"/>
                </a:lnTo>
                <a:lnTo>
                  <a:pt x="2663120" y="1346200"/>
                </a:lnTo>
                <a:lnTo>
                  <a:pt x="2668057" y="1346200"/>
                </a:lnTo>
                <a:lnTo>
                  <a:pt x="2673472" y="1333500"/>
                </a:lnTo>
                <a:lnTo>
                  <a:pt x="2693018" y="1295400"/>
                </a:lnTo>
                <a:lnTo>
                  <a:pt x="2708121" y="1270000"/>
                </a:lnTo>
                <a:lnTo>
                  <a:pt x="2715995" y="1270000"/>
                </a:lnTo>
                <a:lnTo>
                  <a:pt x="2724139" y="1257300"/>
                </a:lnTo>
                <a:lnTo>
                  <a:pt x="2732594" y="1244600"/>
                </a:lnTo>
                <a:lnTo>
                  <a:pt x="2741399" y="1244600"/>
                </a:lnTo>
                <a:lnTo>
                  <a:pt x="2750596" y="1231900"/>
                </a:lnTo>
                <a:lnTo>
                  <a:pt x="2760226" y="1231900"/>
                </a:lnTo>
                <a:lnTo>
                  <a:pt x="2770328" y="1219200"/>
                </a:lnTo>
                <a:lnTo>
                  <a:pt x="2780945" y="1206500"/>
                </a:lnTo>
                <a:lnTo>
                  <a:pt x="2792115" y="1206500"/>
                </a:lnTo>
                <a:lnTo>
                  <a:pt x="2803881" y="1193800"/>
                </a:lnTo>
                <a:lnTo>
                  <a:pt x="2816283" y="1193800"/>
                </a:lnTo>
                <a:lnTo>
                  <a:pt x="2829362" y="1181100"/>
                </a:lnTo>
                <a:lnTo>
                  <a:pt x="2842791" y="1168400"/>
                </a:lnTo>
                <a:lnTo>
                  <a:pt x="2870032" y="1155700"/>
                </a:lnTo>
                <a:lnTo>
                  <a:pt x="2935531" y="1130300"/>
                </a:lnTo>
                <a:lnTo>
                  <a:pt x="2958519" y="1117600"/>
                </a:lnTo>
                <a:lnTo>
                  <a:pt x="2968912" y="1104900"/>
                </a:lnTo>
                <a:lnTo>
                  <a:pt x="2978432" y="1104900"/>
                </a:lnTo>
                <a:lnTo>
                  <a:pt x="2986976" y="1092200"/>
                </a:lnTo>
                <a:lnTo>
                  <a:pt x="3000724" y="1092200"/>
                </a:lnTo>
                <a:lnTo>
                  <a:pt x="3005720" y="1079500"/>
                </a:lnTo>
                <a:lnTo>
                  <a:pt x="3014652" y="1079500"/>
                </a:lnTo>
                <a:lnTo>
                  <a:pt x="3023726" y="1066800"/>
                </a:lnTo>
                <a:lnTo>
                  <a:pt x="3033225" y="1066800"/>
                </a:lnTo>
                <a:lnTo>
                  <a:pt x="3043432" y="1054100"/>
                </a:lnTo>
                <a:lnTo>
                  <a:pt x="3054631" y="1041400"/>
                </a:lnTo>
                <a:lnTo>
                  <a:pt x="3064865" y="1028700"/>
                </a:lnTo>
                <a:lnTo>
                  <a:pt x="3075568" y="1028700"/>
                </a:lnTo>
                <a:lnTo>
                  <a:pt x="3086783" y="1016000"/>
                </a:lnTo>
                <a:lnTo>
                  <a:pt x="3123927" y="1016000"/>
                </a:lnTo>
                <a:lnTo>
                  <a:pt x="3137617" y="1003300"/>
                </a:lnTo>
                <a:lnTo>
                  <a:pt x="3249517" y="1003300"/>
                </a:lnTo>
                <a:lnTo>
                  <a:pt x="3261640" y="990600"/>
                </a:lnTo>
                <a:lnTo>
                  <a:pt x="3273528" y="990600"/>
                </a:lnTo>
                <a:lnTo>
                  <a:pt x="3284892" y="977900"/>
                </a:lnTo>
                <a:lnTo>
                  <a:pt x="3295443" y="965200"/>
                </a:lnTo>
                <a:close/>
              </a:path>
              <a:path w="3446153" h="4737100">
                <a:moveTo>
                  <a:pt x="3237449" y="1003300"/>
                </a:moveTo>
                <a:lnTo>
                  <a:pt x="3148779" y="1003300"/>
                </a:lnTo>
                <a:lnTo>
                  <a:pt x="3160024" y="1016000"/>
                </a:lnTo>
                <a:lnTo>
                  <a:pt x="3225726" y="1016000"/>
                </a:lnTo>
                <a:lnTo>
                  <a:pt x="3237449" y="1003300"/>
                </a:lnTo>
                <a:close/>
              </a:path>
              <a:path w="3446153" h="4737100">
                <a:moveTo>
                  <a:pt x="3413009" y="927100"/>
                </a:moveTo>
                <a:lnTo>
                  <a:pt x="3330793" y="927100"/>
                </a:lnTo>
                <a:lnTo>
                  <a:pt x="3340106" y="939800"/>
                </a:lnTo>
                <a:lnTo>
                  <a:pt x="3350844" y="939800"/>
                </a:lnTo>
                <a:lnTo>
                  <a:pt x="3362192" y="952500"/>
                </a:lnTo>
                <a:lnTo>
                  <a:pt x="3373334" y="965200"/>
                </a:lnTo>
                <a:lnTo>
                  <a:pt x="3383455" y="977900"/>
                </a:lnTo>
                <a:lnTo>
                  <a:pt x="3391739" y="990600"/>
                </a:lnTo>
                <a:lnTo>
                  <a:pt x="3397372" y="1003300"/>
                </a:lnTo>
                <a:lnTo>
                  <a:pt x="3406234" y="990600"/>
                </a:lnTo>
                <a:lnTo>
                  <a:pt x="3412445" y="977900"/>
                </a:lnTo>
                <a:lnTo>
                  <a:pt x="3416271" y="965200"/>
                </a:lnTo>
                <a:lnTo>
                  <a:pt x="3417976" y="952500"/>
                </a:lnTo>
                <a:lnTo>
                  <a:pt x="3417824" y="952500"/>
                </a:lnTo>
                <a:lnTo>
                  <a:pt x="3416080" y="939800"/>
                </a:lnTo>
                <a:lnTo>
                  <a:pt x="3413009" y="927100"/>
                </a:lnTo>
                <a:close/>
              </a:path>
              <a:path w="3446153" h="4737100">
                <a:moveTo>
                  <a:pt x="3312945" y="952500"/>
                </a:moveTo>
                <a:lnTo>
                  <a:pt x="2329340" y="952500"/>
                </a:lnTo>
                <a:lnTo>
                  <a:pt x="2333525" y="965200"/>
                </a:lnTo>
                <a:lnTo>
                  <a:pt x="3304890" y="965200"/>
                </a:lnTo>
                <a:lnTo>
                  <a:pt x="3312945" y="952500"/>
                </a:lnTo>
                <a:close/>
              </a:path>
              <a:path w="3446153" h="4737100">
                <a:moveTo>
                  <a:pt x="3419377" y="495300"/>
                </a:moveTo>
                <a:lnTo>
                  <a:pt x="3385890" y="495300"/>
                </a:lnTo>
                <a:lnTo>
                  <a:pt x="3392313" y="508000"/>
                </a:lnTo>
                <a:lnTo>
                  <a:pt x="3408242" y="508000"/>
                </a:lnTo>
                <a:lnTo>
                  <a:pt x="3418590" y="520700"/>
                </a:lnTo>
                <a:lnTo>
                  <a:pt x="3431087" y="533400"/>
                </a:lnTo>
                <a:lnTo>
                  <a:pt x="3446153" y="546100"/>
                </a:lnTo>
                <a:lnTo>
                  <a:pt x="3441615" y="533400"/>
                </a:lnTo>
                <a:lnTo>
                  <a:pt x="3435381" y="520700"/>
                </a:lnTo>
                <a:lnTo>
                  <a:pt x="3427839" y="508000"/>
                </a:lnTo>
                <a:lnTo>
                  <a:pt x="3419377" y="495300"/>
                </a:lnTo>
                <a:close/>
              </a:path>
              <a:path w="3446153" h="4737100">
                <a:moveTo>
                  <a:pt x="3410382" y="482600"/>
                </a:moveTo>
                <a:lnTo>
                  <a:pt x="1543607" y="482600"/>
                </a:lnTo>
                <a:lnTo>
                  <a:pt x="1516916" y="495300"/>
                </a:lnTo>
                <a:lnTo>
                  <a:pt x="1488341" y="508000"/>
                </a:lnTo>
                <a:lnTo>
                  <a:pt x="3379935" y="508000"/>
                </a:lnTo>
                <a:lnTo>
                  <a:pt x="3385890" y="495300"/>
                </a:lnTo>
                <a:lnTo>
                  <a:pt x="3419377" y="495300"/>
                </a:lnTo>
                <a:lnTo>
                  <a:pt x="3410382" y="482600"/>
                </a:lnTo>
                <a:close/>
              </a:path>
              <a:path w="3446153" h="4737100">
                <a:moveTo>
                  <a:pt x="3278245" y="177800"/>
                </a:moveTo>
                <a:lnTo>
                  <a:pt x="2447272" y="177800"/>
                </a:lnTo>
                <a:lnTo>
                  <a:pt x="2437512" y="190500"/>
                </a:lnTo>
                <a:lnTo>
                  <a:pt x="2428037" y="203200"/>
                </a:lnTo>
                <a:lnTo>
                  <a:pt x="2418834" y="203200"/>
                </a:lnTo>
                <a:lnTo>
                  <a:pt x="2409888" y="215900"/>
                </a:lnTo>
                <a:lnTo>
                  <a:pt x="2401185" y="228600"/>
                </a:lnTo>
                <a:lnTo>
                  <a:pt x="2392711" y="241300"/>
                </a:lnTo>
                <a:lnTo>
                  <a:pt x="2384262" y="241300"/>
                </a:lnTo>
                <a:lnTo>
                  <a:pt x="2375819" y="254000"/>
                </a:lnTo>
                <a:lnTo>
                  <a:pt x="2367384" y="254000"/>
                </a:lnTo>
                <a:lnTo>
                  <a:pt x="2358959" y="266700"/>
                </a:lnTo>
                <a:lnTo>
                  <a:pt x="2292147" y="266700"/>
                </a:lnTo>
                <a:lnTo>
                  <a:pt x="2283898" y="279400"/>
                </a:lnTo>
                <a:lnTo>
                  <a:pt x="2267488" y="279400"/>
                </a:lnTo>
                <a:lnTo>
                  <a:pt x="2251209" y="304800"/>
                </a:lnTo>
                <a:lnTo>
                  <a:pt x="2303537" y="304800"/>
                </a:lnTo>
                <a:lnTo>
                  <a:pt x="2312001" y="317500"/>
                </a:lnTo>
                <a:lnTo>
                  <a:pt x="2318075" y="330200"/>
                </a:lnTo>
                <a:lnTo>
                  <a:pt x="2293794" y="330200"/>
                </a:lnTo>
                <a:lnTo>
                  <a:pt x="2281385" y="342900"/>
                </a:lnTo>
                <a:lnTo>
                  <a:pt x="2269091" y="342900"/>
                </a:lnTo>
                <a:lnTo>
                  <a:pt x="2257132" y="355600"/>
                </a:lnTo>
                <a:lnTo>
                  <a:pt x="2245729" y="368300"/>
                </a:lnTo>
                <a:lnTo>
                  <a:pt x="2235100" y="368300"/>
                </a:lnTo>
                <a:lnTo>
                  <a:pt x="2225468" y="381000"/>
                </a:lnTo>
                <a:lnTo>
                  <a:pt x="2217051" y="393700"/>
                </a:lnTo>
                <a:lnTo>
                  <a:pt x="2210070" y="406400"/>
                </a:lnTo>
                <a:lnTo>
                  <a:pt x="2204746" y="406400"/>
                </a:lnTo>
                <a:lnTo>
                  <a:pt x="2218000" y="419100"/>
                </a:lnTo>
                <a:lnTo>
                  <a:pt x="2235788" y="419100"/>
                </a:lnTo>
                <a:lnTo>
                  <a:pt x="2227125" y="431800"/>
                </a:lnTo>
                <a:lnTo>
                  <a:pt x="2210299" y="469900"/>
                </a:lnTo>
                <a:lnTo>
                  <a:pt x="1609803" y="469900"/>
                </a:lnTo>
                <a:lnTo>
                  <a:pt x="1590308" y="482600"/>
                </a:lnTo>
                <a:lnTo>
                  <a:pt x="3401244" y="482600"/>
                </a:lnTo>
                <a:lnTo>
                  <a:pt x="3392351" y="469900"/>
                </a:lnTo>
                <a:lnTo>
                  <a:pt x="3384091" y="457200"/>
                </a:lnTo>
                <a:lnTo>
                  <a:pt x="3376852" y="457200"/>
                </a:lnTo>
                <a:lnTo>
                  <a:pt x="3367733" y="444500"/>
                </a:lnTo>
                <a:lnTo>
                  <a:pt x="3359012" y="444500"/>
                </a:lnTo>
                <a:lnTo>
                  <a:pt x="3336711" y="406400"/>
                </a:lnTo>
                <a:lnTo>
                  <a:pt x="3323307" y="368300"/>
                </a:lnTo>
                <a:lnTo>
                  <a:pt x="3317251" y="330200"/>
                </a:lnTo>
                <a:lnTo>
                  <a:pt x="3314034" y="292100"/>
                </a:lnTo>
                <a:lnTo>
                  <a:pt x="3312847" y="279400"/>
                </a:lnTo>
                <a:lnTo>
                  <a:pt x="3306700" y="241300"/>
                </a:lnTo>
                <a:lnTo>
                  <a:pt x="3293318" y="203200"/>
                </a:lnTo>
                <a:lnTo>
                  <a:pt x="3286504" y="190500"/>
                </a:lnTo>
                <a:lnTo>
                  <a:pt x="3278245" y="177800"/>
                </a:lnTo>
                <a:close/>
              </a:path>
              <a:path w="3446153" h="4737100">
                <a:moveTo>
                  <a:pt x="2129533" y="381000"/>
                </a:moveTo>
                <a:lnTo>
                  <a:pt x="2074042" y="381000"/>
                </a:lnTo>
                <a:lnTo>
                  <a:pt x="2067939" y="393700"/>
                </a:lnTo>
                <a:lnTo>
                  <a:pt x="2063298" y="406400"/>
                </a:lnTo>
                <a:lnTo>
                  <a:pt x="2059607" y="419100"/>
                </a:lnTo>
                <a:lnTo>
                  <a:pt x="2056357" y="431800"/>
                </a:lnTo>
                <a:lnTo>
                  <a:pt x="2053038" y="444500"/>
                </a:lnTo>
                <a:lnTo>
                  <a:pt x="2049141" y="444500"/>
                </a:lnTo>
                <a:lnTo>
                  <a:pt x="2044156" y="457200"/>
                </a:lnTo>
                <a:lnTo>
                  <a:pt x="1997632" y="457200"/>
                </a:lnTo>
                <a:lnTo>
                  <a:pt x="1979704" y="469900"/>
                </a:lnTo>
                <a:lnTo>
                  <a:pt x="2198055" y="469900"/>
                </a:lnTo>
                <a:lnTo>
                  <a:pt x="2175461" y="431800"/>
                </a:lnTo>
                <a:lnTo>
                  <a:pt x="2149674" y="393700"/>
                </a:lnTo>
                <a:lnTo>
                  <a:pt x="2139957" y="393700"/>
                </a:lnTo>
                <a:lnTo>
                  <a:pt x="2129533" y="381000"/>
                </a:lnTo>
                <a:close/>
              </a:path>
              <a:path w="3446153" h="4737100">
                <a:moveTo>
                  <a:pt x="2106207" y="368300"/>
                </a:moveTo>
                <a:lnTo>
                  <a:pt x="2092666" y="381000"/>
                </a:lnTo>
                <a:lnTo>
                  <a:pt x="2118312" y="381000"/>
                </a:lnTo>
                <a:lnTo>
                  <a:pt x="2106207" y="368300"/>
                </a:lnTo>
                <a:close/>
              </a:path>
              <a:path w="3446153" h="4737100">
                <a:moveTo>
                  <a:pt x="3239260" y="152400"/>
                </a:moveTo>
                <a:lnTo>
                  <a:pt x="2478412" y="152400"/>
                </a:lnTo>
                <a:lnTo>
                  <a:pt x="2467708" y="165100"/>
                </a:lnTo>
                <a:lnTo>
                  <a:pt x="2457333" y="177800"/>
                </a:lnTo>
                <a:lnTo>
                  <a:pt x="3268383" y="177800"/>
                </a:lnTo>
                <a:lnTo>
                  <a:pt x="3256758" y="165100"/>
                </a:lnTo>
                <a:lnTo>
                  <a:pt x="3243209" y="165100"/>
                </a:lnTo>
                <a:lnTo>
                  <a:pt x="3239260" y="152400"/>
                </a:lnTo>
                <a:close/>
              </a:path>
              <a:path w="3446153" h="4737100">
                <a:moveTo>
                  <a:pt x="3210250" y="139700"/>
                </a:moveTo>
                <a:lnTo>
                  <a:pt x="2500863" y="139700"/>
                </a:lnTo>
                <a:lnTo>
                  <a:pt x="2489459" y="152400"/>
                </a:lnTo>
                <a:lnTo>
                  <a:pt x="3220987" y="152400"/>
                </a:lnTo>
                <a:lnTo>
                  <a:pt x="3210250" y="139700"/>
                </a:lnTo>
                <a:close/>
              </a:path>
              <a:path w="3446153" h="4737100">
                <a:moveTo>
                  <a:pt x="3136511" y="50800"/>
                </a:moveTo>
                <a:lnTo>
                  <a:pt x="2605943" y="50800"/>
                </a:lnTo>
                <a:lnTo>
                  <a:pt x="2592760" y="63500"/>
                </a:lnTo>
                <a:lnTo>
                  <a:pt x="2493573" y="63500"/>
                </a:lnTo>
                <a:lnTo>
                  <a:pt x="2502556" y="76200"/>
                </a:lnTo>
                <a:lnTo>
                  <a:pt x="2512388" y="88900"/>
                </a:lnTo>
                <a:lnTo>
                  <a:pt x="2522375" y="101600"/>
                </a:lnTo>
                <a:lnTo>
                  <a:pt x="2531823" y="114300"/>
                </a:lnTo>
                <a:lnTo>
                  <a:pt x="2546323" y="114300"/>
                </a:lnTo>
                <a:lnTo>
                  <a:pt x="2549988" y="127000"/>
                </a:lnTo>
                <a:lnTo>
                  <a:pt x="2550335" y="139700"/>
                </a:lnTo>
                <a:lnTo>
                  <a:pt x="3201682" y="139700"/>
                </a:lnTo>
                <a:lnTo>
                  <a:pt x="3194472" y="127000"/>
                </a:lnTo>
                <a:lnTo>
                  <a:pt x="3187809" y="114300"/>
                </a:lnTo>
                <a:lnTo>
                  <a:pt x="3180883" y="101600"/>
                </a:lnTo>
                <a:lnTo>
                  <a:pt x="3172882" y="88900"/>
                </a:lnTo>
                <a:lnTo>
                  <a:pt x="3164901" y="88900"/>
                </a:lnTo>
                <a:lnTo>
                  <a:pt x="3156085" y="76200"/>
                </a:lnTo>
                <a:lnTo>
                  <a:pt x="3146574" y="63500"/>
                </a:lnTo>
                <a:lnTo>
                  <a:pt x="3136511" y="50800"/>
                </a:lnTo>
                <a:close/>
              </a:path>
              <a:path w="3446153" h="4737100">
                <a:moveTo>
                  <a:pt x="3115291" y="38100"/>
                </a:moveTo>
                <a:lnTo>
                  <a:pt x="2670866" y="38100"/>
                </a:lnTo>
                <a:lnTo>
                  <a:pt x="2658186" y="50800"/>
                </a:lnTo>
                <a:lnTo>
                  <a:pt x="3126036" y="50800"/>
                </a:lnTo>
                <a:lnTo>
                  <a:pt x="3115291" y="38100"/>
                </a:lnTo>
                <a:close/>
              </a:path>
              <a:path w="3446153" h="4737100">
                <a:moveTo>
                  <a:pt x="3093641" y="25400"/>
                </a:moveTo>
                <a:lnTo>
                  <a:pt x="2707167" y="25400"/>
                </a:lnTo>
                <a:lnTo>
                  <a:pt x="2695408" y="38100"/>
                </a:lnTo>
                <a:lnTo>
                  <a:pt x="3104419" y="38100"/>
                </a:lnTo>
                <a:lnTo>
                  <a:pt x="3093641" y="25400"/>
                </a:lnTo>
                <a:close/>
              </a:path>
              <a:path w="3446153" h="4737100">
                <a:moveTo>
                  <a:pt x="3058143" y="12700"/>
                </a:moveTo>
                <a:lnTo>
                  <a:pt x="2751170" y="12700"/>
                </a:lnTo>
                <a:lnTo>
                  <a:pt x="2736794" y="25400"/>
                </a:lnTo>
                <a:lnTo>
                  <a:pt x="3070393" y="25400"/>
                </a:lnTo>
                <a:lnTo>
                  <a:pt x="3058143" y="12700"/>
                </a:lnTo>
                <a:close/>
              </a:path>
              <a:path w="3446153" h="4737100">
                <a:moveTo>
                  <a:pt x="3020211" y="0"/>
                </a:moveTo>
                <a:lnTo>
                  <a:pt x="2806481" y="0"/>
                </a:lnTo>
                <a:lnTo>
                  <a:pt x="2792919" y="12700"/>
                </a:lnTo>
                <a:lnTo>
                  <a:pt x="3032942" y="12700"/>
                </a:lnTo>
                <a:lnTo>
                  <a:pt x="302021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44" name="object 44">
            <a:extLst>
              <a:ext uri="{FF2B5EF4-FFF2-40B4-BE49-F238E27FC236}">
                <a16:creationId xmlns:a16="http://schemas.microsoft.com/office/drawing/2014/main" id="{A44D62DC-B7AC-47A3-AEA1-2F0AACD3AA1D}"/>
              </a:ext>
            </a:extLst>
          </p:cNvPr>
          <p:cNvSpPr>
            <a:spLocks noGrp="1"/>
          </p:cNvSpPr>
          <p:nvPr>
            <p:ph type="ftr" sz="quarter" idx="10"/>
          </p:nvPr>
        </p:nvSpPr>
        <p:spPr/>
        <p:txBody>
          <a:bodyPr vert="horz" rtlCol="0"/>
          <a:lstStyle/>
          <a:p>
            <a:pPr>
              <a:defRPr/>
            </a:pPr>
            <a:r>
              <a:t>Se</a:t>
            </a:r>
            <a:r>
              <a:rPr spc="9"/>
              <a:t>c</a:t>
            </a:r>
            <a:r>
              <a:rPr spc="12"/>
              <a:t>t</a:t>
            </a:r>
            <a:r>
              <a:rPr spc="-6"/>
              <a:t>i</a:t>
            </a:r>
            <a:r>
              <a:t>on</a:t>
            </a:r>
            <a:r>
              <a:rPr spc="3"/>
              <a:t> </a:t>
            </a:r>
            <a:r>
              <a:rPr spc="17"/>
              <a:t>C</a:t>
            </a:r>
            <a:r>
              <a:t>:</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57250"/>
            <a:ext cx="9153710" cy="5138050"/>
          </a:xfrm>
          <a:prstGeom prst="rect">
            <a:avLst/>
          </a:prstGeom>
        </p:spPr>
      </p:pic>
      <p:sp>
        <p:nvSpPr>
          <p:cNvPr id="7" name="Title 6">
            <a:extLst>
              <a:ext uri="{FF2B5EF4-FFF2-40B4-BE49-F238E27FC236}">
                <a16:creationId xmlns:a16="http://schemas.microsoft.com/office/drawing/2014/main" id="{49F1AD2D-DC98-47E1-90DC-505A79F7EB0A}"/>
              </a:ext>
            </a:extLst>
          </p:cNvPr>
          <p:cNvSpPr>
            <a:spLocks noGrp="1"/>
          </p:cNvSpPr>
          <p:nvPr>
            <p:ph type="title"/>
          </p:nvPr>
        </p:nvSpPr>
        <p:spPr>
          <a:xfrm>
            <a:off x="1398560" y="989597"/>
            <a:ext cx="6683765" cy="960668"/>
          </a:xfrm>
        </p:spPr>
        <p:txBody>
          <a:bodyPr>
            <a:normAutofit/>
          </a:bodyPr>
          <a:lstStyle/>
          <a:p>
            <a:pPr algn="ctr"/>
            <a:r>
              <a:rPr lang="en-US" sz="3000" b="1" dirty="0" err="1">
                <a:solidFill>
                  <a:schemeClr val="tx1"/>
                </a:solidFill>
                <a:latin typeface="Zawgyi-One" panose="020B0604030504040204" pitchFamily="34" charset="0"/>
                <a:cs typeface="Zawgyi-One" panose="020B0604030504040204" pitchFamily="34" charset="0"/>
              </a:rPr>
              <a:t>အေရးေပၚအေျခအေနဆိုတာ</a:t>
            </a:r>
            <a:r>
              <a:rPr lang="en-US" sz="3000" b="1" dirty="0">
                <a:solidFill>
                  <a:schemeClr val="tx1"/>
                </a:solidFill>
                <a:latin typeface="Zawgyi-One" panose="020B0604030504040204" pitchFamily="34" charset="0"/>
                <a:cs typeface="Zawgyi-One" panose="020B0604030504040204" pitchFamily="34" charset="0"/>
              </a:rPr>
              <a:t> </a:t>
            </a:r>
            <a:r>
              <a:rPr lang="en-US" sz="3000" b="1" dirty="0" err="1">
                <a:solidFill>
                  <a:schemeClr val="tx1"/>
                </a:solidFill>
                <a:latin typeface="Zawgyi-One" panose="020B0604030504040204" pitchFamily="34" charset="0"/>
                <a:cs typeface="Zawgyi-One" panose="020B0604030504040204" pitchFamily="34" charset="0"/>
              </a:rPr>
              <a:t>ဘာလဲ</a:t>
            </a:r>
            <a:r>
              <a:rPr lang="en-US" sz="3000" b="1" dirty="0">
                <a:solidFill>
                  <a:schemeClr val="tx1"/>
                </a:solidFill>
                <a:latin typeface="Zawgyi-One" panose="020B0604030504040204" pitchFamily="34" charset="0"/>
                <a:cs typeface="Zawgyi-One" panose="020B0604030504040204" pitchFamily="34" charset="0"/>
              </a:rPr>
              <a:t>???</a:t>
            </a:r>
          </a:p>
        </p:txBody>
      </p:sp>
      <p:sp>
        <p:nvSpPr>
          <p:cNvPr id="4" name="object 6">
            <a:extLst>
              <a:ext uri="{FF2B5EF4-FFF2-40B4-BE49-F238E27FC236}">
                <a16:creationId xmlns:a16="http://schemas.microsoft.com/office/drawing/2014/main" id="{7AABD677-5367-4B3E-B63F-95B06F0B7B8C}"/>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 name="object 7">
            <a:extLst>
              <a:ext uri="{FF2B5EF4-FFF2-40B4-BE49-F238E27FC236}">
                <a16:creationId xmlns:a16="http://schemas.microsoft.com/office/drawing/2014/main" id="{83044C7F-5B7D-4678-8880-D5B09EA8D745}"/>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5</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31735262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object 2">
            <a:extLst>
              <a:ext uri="{FF2B5EF4-FFF2-40B4-BE49-F238E27FC236}">
                <a16:creationId xmlns:a16="http://schemas.microsoft.com/office/drawing/2014/main" id="{5C59E947-7D9E-4683-A00D-B23E922BBD3A}"/>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14</a:t>
            </a:r>
            <a:endParaRPr lang="en-US" altLang="en-US" sz="2021" dirty="0">
              <a:latin typeface="Gill Sans" pitchFamily="34" charset="0"/>
              <a:cs typeface="Gill Sans" pitchFamily="34" charset="0"/>
            </a:endParaRPr>
          </a:p>
        </p:txBody>
      </p:sp>
      <p:sp>
        <p:nvSpPr>
          <p:cNvPr id="12291" name="object 3">
            <a:extLst>
              <a:ext uri="{FF2B5EF4-FFF2-40B4-BE49-F238E27FC236}">
                <a16:creationId xmlns:a16="http://schemas.microsoft.com/office/drawing/2014/main" id="{61C2A395-0999-4D00-8F39-B5E50612B53B}"/>
              </a:ext>
            </a:extLst>
          </p:cNvPr>
          <p:cNvSpPr>
            <a:spLocks/>
          </p:cNvSpPr>
          <p:nvPr/>
        </p:nvSpPr>
        <p:spPr bwMode="auto">
          <a:xfrm>
            <a:off x="7137332" y="6343651"/>
            <a:ext cx="116440" cy="163198"/>
          </a:xfrm>
          <a:custGeom>
            <a:avLst/>
            <a:gdLst>
              <a:gd name="T0" fmla="*/ 5648 w 201527"/>
              <a:gd name="T1" fmla="*/ 197396 h 282176"/>
              <a:gd name="T2" fmla="*/ 8693 w 201527"/>
              <a:gd name="T3" fmla="*/ 258588 h 282176"/>
              <a:gd name="T4" fmla="*/ 49795 w 201527"/>
              <a:gd name="T5" fmla="*/ 276284 h 282176"/>
              <a:gd name="T6" fmla="*/ 90641 w 201527"/>
              <a:gd name="T7" fmla="*/ 283254 h 282176"/>
              <a:gd name="T8" fmla="*/ 107915 w 201527"/>
              <a:gd name="T9" fmla="*/ 283776 h 282176"/>
              <a:gd name="T10" fmla="*/ 123819 w 201527"/>
              <a:gd name="T11" fmla="*/ 282773 h 282176"/>
              <a:gd name="T12" fmla="*/ 165303 w 201527"/>
              <a:gd name="T13" fmla="*/ 270779 h 282176"/>
              <a:gd name="T14" fmla="*/ 194918 w 201527"/>
              <a:gd name="T15" fmla="*/ 245114 h 282176"/>
              <a:gd name="T16" fmla="*/ 201871 w 201527"/>
              <a:gd name="T17" fmla="*/ 232711 h 282176"/>
              <a:gd name="T18" fmla="*/ 89537 w 201527"/>
              <a:gd name="T19" fmla="*/ 232711 h 282176"/>
              <a:gd name="T20" fmla="*/ 78595 w 201527"/>
              <a:gd name="T21" fmla="*/ 231352 h 282176"/>
              <a:gd name="T22" fmla="*/ 33082 w 201527"/>
              <a:gd name="T23" fmla="*/ 214251 h 282176"/>
              <a:gd name="T24" fmla="*/ 19974 w 201527"/>
              <a:gd name="T25" fmla="*/ 206592 h 282176"/>
              <a:gd name="T26" fmla="*/ 5648 w 201527"/>
              <a:gd name="T27" fmla="*/ 197396 h 282176"/>
              <a:gd name="T28" fmla="*/ 97562 w 201527"/>
              <a:gd name="T29" fmla="*/ 0 h 282176"/>
              <a:gd name="T30" fmla="*/ 50219 w 201527"/>
              <a:gd name="T31" fmla="*/ 9555 h 282176"/>
              <a:gd name="T32" fmla="*/ 17183 w 201527"/>
              <a:gd name="T33" fmla="*/ 32599 h 282176"/>
              <a:gd name="T34" fmla="*/ 0 w 201527"/>
              <a:gd name="T35" fmla="*/ 80848 h 282176"/>
              <a:gd name="T36" fmla="*/ 1617 w 201527"/>
              <a:gd name="T37" fmla="*/ 96947 h 282176"/>
              <a:gd name="T38" fmla="*/ 20203 w 201527"/>
              <a:gd name="T39" fmla="*/ 133251 h 282176"/>
              <a:gd name="T40" fmla="*/ 52296 w 201527"/>
              <a:gd name="T41" fmla="*/ 156189 h 282176"/>
              <a:gd name="T42" fmla="*/ 100339 w 201527"/>
              <a:gd name="T43" fmla="*/ 176253 h 282176"/>
              <a:gd name="T44" fmla="*/ 111031 w 201527"/>
              <a:gd name="T45" fmla="*/ 180857 h 282176"/>
              <a:gd name="T46" fmla="*/ 139718 w 201527"/>
              <a:gd name="T47" fmla="*/ 212422 h 282176"/>
              <a:gd name="T48" fmla="*/ 135314 w 201527"/>
              <a:gd name="T49" fmla="*/ 221204 h 282176"/>
              <a:gd name="T50" fmla="*/ 125851 w 201527"/>
              <a:gd name="T51" fmla="*/ 227641 h 282176"/>
              <a:gd name="T52" fmla="*/ 110775 w 201527"/>
              <a:gd name="T53" fmla="*/ 231540 h 282176"/>
              <a:gd name="T54" fmla="*/ 89537 w 201527"/>
              <a:gd name="T55" fmla="*/ 232711 h 282176"/>
              <a:gd name="T56" fmla="*/ 201871 w 201527"/>
              <a:gd name="T57" fmla="*/ 232711 h 282176"/>
              <a:gd name="T58" fmla="*/ 206455 w 201527"/>
              <a:gd name="T59" fmla="*/ 220289 h 282176"/>
              <a:gd name="T60" fmla="*/ 209399 w 201527"/>
              <a:gd name="T61" fmla="*/ 205534 h 282176"/>
              <a:gd name="T62" fmla="*/ 210302 w 201527"/>
              <a:gd name="T63" fmla="*/ 189207 h 282176"/>
              <a:gd name="T64" fmla="*/ 207096 w 201527"/>
              <a:gd name="T65" fmla="*/ 174315 h 282176"/>
              <a:gd name="T66" fmla="*/ 184337 w 201527"/>
              <a:gd name="T67" fmla="*/ 140678 h 282176"/>
              <a:gd name="T68" fmla="*/ 149564 w 201527"/>
              <a:gd name="T69" fmla="*/ 118964 h 282176"/>
              <a:gd name="T70" fmla="*/ 112708 w 201527"/>
              <a:gd name="T71" fmla="*/ 103216 h 282176"/>
              <a:gd name="T72" fmla="*/ 101675 w 201527"/>
              <a:gd name="T73" fmla="*/ 98262 h 282176"/>
              <a:gd name="T74" fmla="*/ 72455 w 201527"/>
              <a:gd name="T75" fmla="*/ 65783 h 282176"/>
              <a:gd name="T76" fmla="*/ 80290 w 201527"/>
              <a:gd name="T77" fmla="*/ 57638 h 282176"/>
              <a:gd name="T78" fmla="*/ 93812 w 201527"/>
              <a:gd name="T79" fmla="*/ 52409 h 282176"/>
              <a:gd name="T80" fmla="*/ 112366 w 201527"/>
              <a:gd name="T81" fmla="*/ 50562 h 282176"/>
              <a:gd name="T82" fmla="*/ 197768 w 201527"/>
              <a:gd name="T83" fmla="*/ 50562 h 282176"/>
              <a:gd name="T84" fmla="*/ 197043 w 201527"/>
              <a:gd name="T85" fmla="*/ 20775 h 282176"/>
              <a:gd name="T86" fmla="*/ 160505 w 201527"/>
              <a:gd name="T87" fmla="*/ 7747 h 282176"/>
              <a:gd name="T88" fmla="*/ 111256 w 201527"/>
              <a:gd name="T89" fmla="*/ 250 h 282176"/>
              <a:gd name="T90" fmla="*/ 97562 w 201527"/>
              <a:gd name="T91" fmla="*/ 0 h 282176"/>
              <a:gd name="T92" fmla="*/ 197768 w 201527"/>
              <a:gd name="T93" fmla="*/ 50562 h 282176"/>
              <a:gd name="T94" fmla="*/ 112366 w 201527"/>
              <a:gd name="T95" fmla="*/ 50562 h 282176"/>
              <a:gd name="T96" fmla="*/ 122319 w 201527"/>
              <a:gd name="T97" fmla="*/ 51090 h 282176"/>
              <a:gd name="T98" fmla="*/ 132618 w 201527"/>
              <a:gd name="T99" fmla="*/ 52508 h 282176"/>
              <a:gd name="T100" fmla="*/ 182449 w 201527"/>
              <a:gd name="T101" fmla="*/ 68421 h 282176"/>
              <a:gd name="T102" fmla="*/ 198373 w 201527"/>
              <a:gd name="T103" fmla="*/ 75295 h 282176"/>
              <a:gd name="T104" fmla="*/ 197768 w 201527"/>
              <a:gd name="T105" fmla="*/ 50562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2" name="object 4">
            <a:extLst>
              <a:ext uri="{FF2B5EF4-FFF2-40B4-BE49-F238E27FC236}">
                <a16:creationId xmlns:a16="http://schemas.microsoft.com/office/drawing/2014/main" id="{53898D8A-B5AC-400F-823E-100C9E6FFBD1}"/>
              </a:ext>
            </a:extLst>
          </p:cNvPr>
          <p:cNvSpPr>
            <a:spLocks/>
          </p:cNvSpPr>
          <p:nvPr/>
        </p:nvSpPr>
        <p:spPr bwMode="auto">
          <a:xfrm>
            <a:off x="7271192" y="6394994"/>
            <a:ext cx="115522" cy="111855"/>
          </a:xfrm>
          <a:custGeom>
            <a:avLst/>
            <a:gdLst>
              <a:gd name="T0" fmla="*/ 66160 w 200263"/>
              <a:gd name="T1" fmla="*/ 40331 h 192883"/>
              <a:gd name="T2" fmla="*/ 100019 w 200263"/>
              <a:gd name="T3" fmla="*/ 47269 h 192883"/>
              <a:gd name="T4" fmla="*/ 109478 w 200263"/>
              <a:gd name="T5" fmla="*/ 66314 h 192883"/>
              <a:gd name="T6" fmla="*/ 55182 w 200263"/>
              <a:gd name="T7" fmla="*/ 87170 h 192883"/>
              <a:gd name="T8" fmla="*/ 0 w 200263"/>
              <a:gd name="T9" fmla="*/ 139831 h 192883"/>
              <a:gd name="T10" fmla="*/ 24481 w 200263"/>
              <a:gd name="T11" fmla="*/ 188918 h 192883"/>
              <a:gd name="T12" fmla="*/ 62717 w 200263"/>
              <a:gd name="T13" fmla="*/ 195382 h 192883"/>
              <a:gd name="T14" fmla="*/ 85960 w 200263"/>
              <a:gd name="T15" fmla="*/ 189320 h 192883"/>
              <a:gd name="T16" fmla="*/ 110677 w 200263"/>
              <a:gd name="T17" fmla="*/ 175788 h 192883"/>
              <a:gd name="T18" fmla="*/ 196534 w 200263"/>
              <a:gd name="T19" fmla="*/ 159594 h 192883"/>
              <a:gd name="T20" fmla="*/ 69436 w 200263"/>
              <a:gd name="T21" fmla="*/ 157282 h 192883"/>
              <a:gd name="T22" fmla="*/ 61088 w 200263"/>
              <a:gd name="T23" fmla="*/ 136326 h 192883"/>
              <a:gd name="T24" fmla="*/ 72924 w 200263"/>
              <a:gd name="T25" fmla="*/ 118182 h 192883"/>
              <a:gd name="T26" fmla="*/ 98623 w 200263"/>
              <a:gd name="T27" fmla="*/ 105016 h 192883"/>
              <a:gd name="T28" fmla="*/ 167599 w 200263"/>
              <a:gd name="T29" fmla="*/ 57070 h 192883"/>
              <a:gd name="T30" fmla="*/ 165355 w 200263"/>
              <a:gd name="T31" fmla="*/ 40331 h 192883"/>
              <a:gd name="T32" fmla="*/ 110677 w 200263"/>
              <a:gd name="T33" fmla="*/ 175788 h 192883"/>
              <a:gd name="T34" fmla="*/ 127568 w 200263"/>
              <a:gd name="T35" fmla="*/ 193613 h 192883"/>
              <a:gd name="T36" fmla="*/ 154552 w 200263"/>
              <a:gd name="T37" fmla="*/ 195097 h 192883"/>
              <a:gd name="T38" fmla="*/ 179900 w 200263"/>
              <a:gd name="T39" fmla="*/ 188278 h 192883"/>
              <a:gd name="T40" fmla="*/ 193312 w 200263"/>
              <a:gd name="T41" fmla="*/ 175788 h 192883"/>
              <a:gd name="T42" fmla="*/ 98623 w 200263"/>
              <a:gd name="T43" fmla="*/ 105016 h 192883"/>
              <a:gd name="T44" fmla="*/ 98317 w 200263"/>
              <a:gd name="T45" fmla="*/ 154694 h 192883"/>
              <a:gd name="T46" fmla="*/ 196534 w 200263"/>
              <a:gd name="T47" fmla="*/ 159594 h 192883"/>
              <a:gd name="T48" fmla="*/ 171215 w 200263"/>
              <a:gd name="T49" fmla="*/ 156296 h 192883"/>
              <a:gd name="T50" fmla="*/ 167599 w 200263"/>
              <a:gd name="T51" fmla="*/ 105016 h 192883"/>
              <a:gd name="T52" fmla="*/ 185662 w 200263"/>
              <a:gd name="T53" fmla="*/ 155470 h 192883"/>
              <a:gd name="T54" fmla="*/ 197191 w 200263"/>
              <a:gd name="T55" fmla="*/ 156296 h 192883"/>
              <a:gd name="T56" fmla="*/ 100441 w 200263"/>
              <a:gd name="T57" fmla="*/ 0 h 192883"/>
              <a:gd name="T58" fmla="*/ 13463 w 200263"/>
              <a:gd name="T59" fmla="*/ 19943 h 192883"/>
              <a:gd name="T60" fmla="*/ 19011 w 200263"/>
              <a:gd name="T61" fmla="*/ 61883 h 192883"/>
              <a:gd name="T62" fmla="*/ 41787 w 200263"/>
              <a:gd name="T63" fmla="*/ 47806 h 192883"/>
              <a:gd name="T64" fmla="*/ 66160 w 200263"/>
              <a:gd name="T65" fmla="*/ 40331 h 192883"/>
              <a:gd name="T66" fmla="*/ 161356 w 200263"/>
              <a:gd name="T67" fmla="*/ 29561 h 192883"/>
              <a:gd name="T68" fmla="*/ 143844 w 200263"/>
              <a:gd name="T69" fmla="*/ 11526 h 192883"/>
              <a:gd name="T70" fmla="*/ 116889 w 200263"/>
              <a:gd name="T71" fmla="*/ 1941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3" name="object 5">
            <a:extLst>
              <a:ext uri="{FF2B5EF4-FFF2-40B4-BE49-F238E27FC236}">
                <a16:creationId xmlns:a16="http://schemas.microsoft.com/office/drawing/2014/main" id="{D5B61315-3CAD-493E-85BB-F6ED886F75FA}"/>
              </a:ext>
            </a:extLst>
          </p:cNvPr>
          <p:cNvSpPr>
            <a:spLocks/>
          </p:cNvSpPr>
          <p:nvPr/>
        </p:nvSpPr>
        <p:spPr bwMode="auto">
          <a:xfrm>
            <a:off x="7382130" y="6396827"/>
            <a:ext cx="118273" cy="110021"/>
          </a:xfrm>
          <a:custGeom>
            <a:avLst/>
            <a:gdLst>
              <a:gd name="T0" fmla="*/ 63382 w 204089"/>
              <a:gd name="T1" fmla="*/ 0 h 189572"/>
              <a:gd name="T2" fmla="*/ 0 w 204089"/>
              <a:gd name="T3" fmla="*/ 0 h 189572"/>
              <a:gd name="T4" fmla="*/ 87097 w 204089"/>
              <a:gd name="T5" fmla="*/ 193312 h 189572"/>
              <a:gd name="T6" fmla="*/ 120210 w 204089"/>
              <a:gd name="T7" fmla="*/ 193312 h 189572"/>
              <a:gd name="T8" fmla="*/ 160049 w 204089"/>
              <a:gd name="T9" fmla="*/ 104471 h 189572"/>
              <a:gd name="T10" fmla="*/ 103447 w 204089"/>
              <a:gd name="T11" fmla="*/ 104471 h 189572"/>
              <a:gd name="T12" fmla="*/ 63382 w 204089"/>
              <a:gd name="T13" fmla="*/ 0 h 189572"/>
              <a:gd name="T14" fmla="*/ 206895 w 204089"/>
              <a:gd name="T15" fmla="*/ 0 h 189572"/>
              <a:gd name="T16" fmla="*/ 143939 w 204089"/>
              <a:gd name="T17" fmla="*/ 0 h 189572"/>
              <a:gd name="T18" fmla="*/ 103447 w 204089"/>
              <a:gd name="T19" fmla="*/ 104471 h 189572"/>
              <a:gd name="T20" fmla="*/ 160049 w 204089"/>
              <a:gd name="T21" fmla="*/ 104471 h 189572"/>
              <a:gd name="T22" fmla="*/ 206895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4" name="object 6">
            <a:extLst>
              <a:ext uri="{FF2B5EF4-FFF2-40B4-BE49-F238E27FC236}">
                <a16:creationId xmlns:a16="http://schemas.microsoft.com/office/drawing/2014/main" id="{E10D2EEC-85FF-44E3-BC63-9F41DCF0E73E}"/>
              </a:ext>
            </a:extLst>
          </p:cNvPr>
          <p:cNvSpPr>
            <a:spLocks/>
          </p:cNvSpPr>
          <p:nvPr/>
        </p:nvSpPr>
        <p:spPr bwMode="auto">
          <a:xfrm>
            <a:off x="7504988" y="6394994"/>
            <a:ext cx="111855" cy="111855"/>
          </a:xfrm>
          <a:custGeom>
            <a:avLst/>
            <a:gdLst>
              <a:gd name="T0" fmla="*/ 105323 w 193899"/>
              <a:gd name="T1" fmla="*/ 0 h 192654"/>
              <a:gd name="T2" fmla="*/ 59216 w 193899"/>
              <a:gd name="T3" fmla="*/ 8036 h 192654"/>
              <a:gd name="T4" fmla="*/ 25147 w 193899"/>
              <a:gd name="T5" fmla="*/ 30773 h 192654"/>
              <a:gd name="T6" fmla="*/ 4911 w 193899"/>
              <a:gd name="T7" fmla="*/ 65473 h 192654"/>
              <a:gd name="T8" fmla="*/ 0 w 193899"/>
              <a:gd name="T9" fmla="*/ 93900 h 192654"/>
              <a:gd name="T10" fmla="*/ 897 w 193899"/>
              <a:gd name="T11" fmla="*/ 109938 h 192654"/>
              <a:gd name="T12" fmla="*/ 14099 w 193899"/>
              <a:gd name="T13" fmla="*/ 150716 h 192654"/>
              <a:gd name="T14" fmla="*/ 41508 w 193899"/>
              <a:gd name="T15" fmla="*/ 179451 h 192654"/>
              <a:gd name="T16" fmla="*/ 81131 w 193899"/>
              <a:gd name="T17" fmla="*/ 194801 h 192654"/>
              <a:gd name="T18" fmla="*/ 106981 w 193899"/>
              <a:gd name="T19" fmla="*/ 196770 h 192654"/>
              <a:gd name="T20" fmla="*/ 118137 w 193899"/>
              <a:gd name="T21" fmla="*/ 196460 h 192654"/>
              <a:gd name="T22" fmla="*/ 168425 w 193899"/>
              <a:gd name="T23" fmla="*/ 184789 h 192654"/>
              <a:gd name="T24" fmla="*/ 184734 w 193899"/>
              <a:gd name="T25" fmla="*/ 161176 h 192654"/>
              <a:gd name="T26" fmla="*/ 130737 w 193899"/>
              <a:gd name="T27" fmla="*/ 161176 h 192654"/>
              <a:gd name="T28" fmla="*/ 112327 w 193899"/>
              <a:gd name="T29" fmla="*/ 160133 h 192654"/>
              <a:gd name="T30" fmla="*/ 74066 w 193899"/>
              <a:gd name="T31" fmla="*/ 143115 h 192654"/>
              <a:gd name="T32" fmla="*/ 60116 w 193899"/>
              <a:gd name="T33" fmla="*/ 108068 h 192654"/>
              <a:gd name="T34" fmla="*/ 193005 w 193899"/>
              <a:gd name="T35" fmla="*/ 108068 h 192654"/>
              <a:gd name="T36" fmla="*/ 192698 w 193899"/>
              <a:gd name="T37" fmla="*/ 90798 h 192654"/>
              <a:gd name="T38" fmla="*/ 190679 w 193899"/>
              <a:gd name="T39" fmla="*/ 76753 h 192654"/>
              <a:gd name="T40" fmla="*/ 61319 w 193899"/>
              <a:gd name="T41" fmla="*/ 76753 h 192654"/>
              <a:gd name="T42" fmla="*/ 64705 w 193899"/>
              <a:gd name="T43" fmla="*/ 60917 h 192654"/>
              <a:gd name="T44" fmla="*/ 71464 w 193899"/>
              <a:gd name="T45" fmla="*/ 48620 h 192654"/>
              <a:gd name="T46" fmla="*/ 81314 w 193899"/>
              <a:gd name="T47" fmla="*/ 40133 h 192654"/>
              <a:gd name="T48" fmla="*/ 93964 w 193899"/>
              <a:gd name="T49" fmla="*/ 35728 h 192654"/>
              <a:gd name="T50" fmla="*/ 101468 w 193899"/>
              <a:gd name="T51" fmla="*/ 35140 h 192654"/>
              <a:gd name="T52" fmla="*/ 172513 w 193899"/>
              <a:gd name="T53" fmla="*/ 35140 h 192654"/>
              <a:gd name="T54" fmla="*/ 164473 w 193899"/>
              <a:gd name="T55" fmla="*/ 25911 h 192654"/>
              <a:gd name="T56" fmla="*/ 154525 w 193899"/>
              <a:gd name="T57" fmla="*/ 17470 h 192654"/>
              <a:gd name="T58" fmla="*/ 143488 w 193899"/>
              <a:gd name="T59" fmla="*/ 10623 h 192654"/>
              <a:gd name="T60" fmla="*/ 131511 w 193899"/>
              <a:gd name="T61" fmla="*/ 5405 h 192654"/>
              <a:gd name="T62" fmla="*/ 118739 w 193899"/>
              <a:gd name="T63" fmla="*/ 1854 h 192654"/>
              <a:gd name="T64" fmla="*/ 105323 w 193899"/>
              <a:gd name="T65" fmla="*/ 0 h 192654"/>
              <a:gd name="T66" fmla="*/ 189806 w 193899"/>
              <a:gd name="T67" fmla="*/ 134424 h 192654"/>
              <a:gd name="T68" fmla="*/ 152978 w 193899"/>
              <a:gd name="T69" fmla="*/ 155971 h 192654"/>
              <a:gd name="T70" fmla="*/ 130737 w 193899"/>
              <a:gd name="T71" fmla="*/ 161176 h 192654"/>
              <a:gd name="T72" fmla="*/ 184734 w 193899"/>
              <a:gd name="T73" fmla="*/ 161176 h 192654"/>
              <a:gd name="T74" fmla="*/ 189806 w 193899"/>
              <a:gd name="T75" fmla="*/ 134424 h 192654"/>
              <a:gd name="T76" fmla="*/ 172513 w 193899"/>
              <a:gd name="T77" fmla="*/ 35140 h 192654"/>
              <a:gd name="T78" fmla="*/ 101468 w 193899"/>
              <a:gd name="T79" fmla="*/ 35140 h 192654"/>
              <a:gd name="T80" fmla="*/ 115288 w 193899"/>
              <a:gd name="T81" fmla="*/ 37388 h 192654"/>
              <a:gd name="T82" fmla="*/ 126611 w 193899"/>
              <a:gd name="T83" fmla="*/ 43895 h 192654"/>
              <a:gd name="T84" fmla="*/ 135073 w 193899"/>
              <a:gd name="T85" fmla="*/ 54313 h 192654"/>
              <a:gd name="T86" fmla="*/ 140304 w 193899"/>
              <a:gd name="T87" fmla="*/ 68292 h 192654"/>
              <a:gd name="T88" fmla="*/ 61319 w 193899"/>
              <a:gd name="T89" fmla="*/ 76753 h 192654"/>
              <a:gd name="T90" fmla="*/ 190679 w 193899"/>
              <a:gd name="T91" fmla="*/ 76753 h 192654"/>
              <a:gd name="T92" fmla="*/ 190415 w 193899"/>
              <a:gd name="T93" fmla="*/ 74914 h 192654"/>
              <a:gd name="T94" fmla="*/ 186302 w 193899"/>
              <a:gd name="T95" fmla="*/ 60447 h 192654"/>
              <a:gd name="T96" fmla="*/ 180510 w 193899"/>
              <a:gd name="T97" fmla="*/ 47434 h 192654"/>
              <a:gd name="T98" fmla="*/ 173183 w 193899"/>
              <a:gd name="T99" fmla="*/ 35909 h 192654"/>
              <a:gd name="T100" fmla="*/ 172513 w 193899"/>
              <a:gd name="T101" fmla="*/ 35140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5" name="object 7">
            <a:extLst>
              <a:ext uri="{FF2B5EF4-FFF2-40B4-BE49-F238E27FC236}">
                <a16:creationId xmlns:a16="http://schemas.microsoft.com/office/drawing/2014/main" id="{51ACCB28-5936-4B22-B6C5-F7B9F11008AB}"/>
              </a:ext>
            </a:extLst>
          </p:cNvPr>
          <p:cNvSpPr>
            <a:spLocks/>
          </p:cNvSpPr>
          <p:nvPr/>
        </p:nvSpPr>
        <p:spPr bwMode="auto">
          <a:xfrm>
            <a:off x="7682855" y="6362904"/>
            <a:ext cx="88017" cy="143945"/>
          </a:xfrm>
          <a:custGeom>
            <a:avLst/>
            <a:gdLst>
              <a:gd name="T0" fmla="*/ 84075 w 152869"/>
              <a:gd name="T1" fmla="*/ 100399 h 248003"/>
              <a:gd name="T2" fmla="*/ 26294 w 152869"/>
              <a:gd name="T3" fmla="*/ 100399 h 248003"/>
              <a:gd name="T4" fmla="*/ 26332 w 152869"/>
              <a:gd name="T5" fmla="*/ 184975 h 248003"/>
              <a:gd name="T6" fmla="*/ 39811 w 152869"/>
              <a:gd name="T7" fmla="*/ 228777 h 248003"/>
              <a:gd name="T8" fmla="*/ 72699 w 152869"/>
              <a:gd name="T9" fmla="*/ 249507 h 248003"/>
              <a:gd name="T10" fmla="*/ 101939 w 152869"/>
              <a:gd name="T11" fmla="*/ 252980 h 248003"/>
              <a:gd name="T12" fmla="*/ 113774 w 152869"/>
              <a:gd name="T13" fmla="*/ 252026 h 248003"/>
              <a:gd name="T14" fmla="*/ 125508 w 152869"/>
              <a:gd name="T15" fmla="*/ 249829 h 248003"/>
              <a:gd name="T16" fmla="*/ 137725 w 152869"/>
              <a:gd name="T17" fmla="*/ 246235 h 248003"/>
              <a:gd name="T18" fmla="*/ 151001 w 152869"/>
              <a:gd name="T19" fmla="*/ 241103 h 248003"/>
              <a:gd name="T20" fmla="*/ 145656 w 152869"/>
              <a:gd name="T21" fmla="*/ 208794 h 248003"/>
              <a:gd name="T22" fmla="*/ 108262 w 152869"/>
              <a:gd name="T23" fmla="*/ 208794 h 248003"/>
              <a:gd name="T24" fmla="*/ 95145 w 152869"/>
              <a:gd name="T25" fmla="*/ 203994 h 248003"/>
              <a:gd name="T26" fmla="*/ 86923 w 152869"/>
              <a:gd name="T27" fmla="*/ 193608 h 248003"/>
              <a:gd name="T28" fmla="*/ 84075 w 152869"/>
              <a:gd name="T29" fmla="*/ 178569 h 248003"/>
              <a:gd name="T30" fmla="*/ 84075 w 152869"/>
              <a:gd name="T31" fmla="*/ 100399 h 248003"/>
              <a:gd name="T32" fmla="*/ 144399 w 152869"/>
              <a:gd name="T33" fmla="*/ 201200 h 248003"/>
              <a:gd name="T34" fmla="*/ 132589 w 152869"/>
              <a:gd name="T35" fmla="*/ 205750 h 248003"/>
              <a:gd name="T36" fmla="*/ 120968 w 152869"/>
              <a:gd name="T37" fmla="*/ 208178 h 248003"/>
              <a:gd name="T38" fmla="*/ 108262 w 152869"/>
              <a:gd name="T39" fmla="*/ 208794 h 248003"/>
              <a:gd name="T40" fmla="*/ 145656 w 152869"/>
              <a:gd name="T41" fmla="*/ 208794 h 248003"/>
              <a:gd name="T42" fmla="*/ 144399 w 152869"/>
              <a:gd name="T43" fmla="*/ 201200 h 248003"/>
              <a:gd name="T44" fmla="*/ 84075 w 152869"/>
              <a:gd name="T45" fmla="*/ 0 h 248003"/>
              <a:gd name="T46" fmla="*/ 76887 w 152869"/>
              <a:gd name="T47" fmla="*/ 0 h 248003"/>
              <a:gd name="T48" fmla="*/ 0 w 152869"/>
              <a:gd name="T49" fmla="*/ 88882 h 248003"/>
              <a:gd name="T50" fmla="*/ 0 w 152869"/>
              <a:gd name="T51" fmla="*/ 100399 h 248003"/>
              <a:gd name="T52" fmla="*/ 151001 w 152869"/>
              <a:gd name="T53" fmla="*/ 100399 h 248003"/>
              <a:gd name="T54" fmla="*/ 151001 w 152869"/>
              <a:gd name="T55" fmla="*/ 59670 h 248003"/>
              <a:gd name="T56" fmla="*/ 84075 w 152869"/>
              <a:gd name="T57" fmla="*/ 59670 h 248003"/>
              <a:gd name="T58" fmla="*/ 84075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6" name="object 8">
            <a:extLst>
              <a:ext uri="{FF2B5EF4-FFF2-40B4-BE49-F238E27FC236}">
                <a16:creationId xmlns:a16="http://schemas.microsoft.com/office/drawing/2014/main" id="{78C92C20-CB27-4343-BC35-FED28C8E86A2}"/>
              </a:ext>
            </a:extLst>
          </p:cNvPr>
          <p:cNvSpPr>
            <a:spLocks/>
          </p:cNvSpPr>
          <p:nvPr/>
        </p:nvSpPr>
        <p:spPr bwMode="auto">
          <a:xfrm>
            <a:off x="7784625"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3 w 186347"/>
              <a:gd name="T19" fmla="*/ 124103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41 h 275069"/>
              <a:gd name="T44" fmla="*/ 179969 w 186347"/>
              <a:gd name="T45" fmla="*/ 129799 h 275069"/>
              <a:gd name="T46" fmla="*/ 113530 w 186347"/>
              <a:gd name="T47" fmla="*/ 85035 h 275069"/>
              <a:gd name="T48" fmla="*/ 68326 w 186347"/>
              <a:gd name="T49" fmla="*/ 104929 h 275069"/>
              <a:gd name="T50" fmla="*/ 58524 w 186347"/>
              <a:gd name="T51" fmla="*/ 115830 h 275069"/>
              <a:gd name="T52" fmla="*/ 173896 w 186347"/>
              <a:gd name="T53" fmla="*/ 115830 h 275069"/>
              <a:gd name="T54" fmla="*/ 140184 w 186347"/>
              <a:gd name="T55" fmla="*/ 89049 h 275069"/>
              <a:gd name="T56" fmla="*/ 113530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7" name="object 9">
            <a:extLst>
              <a:ext uri="{FF2B5EF4-FFF2-40B4-BE49-F238E27FC236}">
                <a16:creationId xmlns:a16="http://schemas.microsoft.com/office/drawing/2014/main" id="{25890160-C870-48BD-9882-550EEB1B1717}"/>
              </a:ext>
            </a:extLst>
          </p:cNvPr>
          <p:cNvSpPr>
            <a:spLocks/>
          </p:cNvSpPr>
          <p:nvPr/>
        </p:nvSpPr>
        <p:spPr bwMode="auto">
          <a:xfrm>
            <a:off x="7909316" y="6394994"/>
            <a:ext cx="111855" cy="111855"/>
          </a:xfrm>
          <a:custGeom>
            <a:avLst/>
            <a:gdLst>
              <a:gd name="T0" fmla="*/ 105302 w 193899"/>
              <a:gd name="T1" fmla="*/ 0 h 192656"/>
              <a:gd name="T2" fmla="*/ 59204 w 193899"/>
              <a:gd name="T3" fmla="*/ 8039 h 192656"/>
              <a:gd name="T4" fmla="*/ 25139 w 193899"/>
              <a:gd name="T5" fmla="*/ 30778 h 192656"/>
              <a:gd name="T6" fmla="*/ 4907 w 193899"/>
              <a:gd name="T7" fmla="*/ 65485 h 192656"/>
              <a:gd name="T8" fmla="*/ 0 w 193899"/>
              <a:gd name="T9" fmla="*/ 93916 h 192656"/>
              <a:gd name="T10" fmla="*/ 898 w 193899"/>
              <a:gd name="T11" fmla="*/ 109949 h 192656"/>
              <a:gd name="T12" fmla="*/ 14100 w 193899"/>
              <a:gd name="T13" fmla="*/ 150724 h 192656"/>
              <a:gd name="T14" fmla="*/ 41512 w 193899"/>
              <a:gd name="T15" fmla="*/ 179453 h 192656"/>
              <a:gd name="T16" fmla="*/ 81142 w 193899"/>
              <a:gd name="T17" fmla="*/ 194798 h 192656"/>
              <a:gd name="T18" fmla="*/ 106991 w 193899"/>
              <a:gd name="T19" fmla="*/ 196764 h 192656"/>
              <a:gd name="T20" fmla="*/ 118144 w 193899"/>
              <a:gd name="T21" fmla="*/ 196453 h 192656"/>
              <a:gd name="T22" fmla="*/ 168440 w 193899"/>
              <a:gd name="T23" fmla="*/ 184772 h 192656"/>
              <a:gd name="T24" fmla="*/ 184738 w 193899"/>
              <a:gd name="T25" fmla="*/ 161171 h 192656"/>
              <a:gd name="T26" fmla="*/ 130724 w 193899"/>
              <a:gd name="T27" fmla="*/ 161171 h 192656"/>
              <a:gd name="T28" fmla="*/ 112313 w 193899"/>
              <a:gd name="T29" fmla="*/ 160127 h 192656"/>
              <a:gd name="T30" fmla="*/ 74058 w 193899"/>
              <a:gd name="T31" fmla="*/ 143105 h 192656"/>
              <a:gd name="T32" fmla="*/ 60117 w 193899"/>
              <a:gd name="T33" fmla="*/ 108064 h 192656"/>
              <a:gd name="T34" fmla="*/ 193005 w 193899"/>
              <a:gd name="T35" fmla="*/ 108064 h 192656"/>
              <a:gd name="T36" fmla="*/ 192695 w 193899"/>
              <a:gd name="T37" fmla="*/ 90794 h 192656"/>
              <a:gd name="T38" fmla="*/ 190674 w 193899"/>
              <a:gd name="T39" fmla="*/ 76752 h 192656"/>
              <a:gd name="T40" fmla="*/ 61320 w 193899"/>
              <a:gd name="T41" fmla="*/ 76752 h 192656"/>
              <a:gd name="T42" fmla="*/ 64703 w 193899"/>
              <a:gd name="T43" fmla="*/ 60912 h 192656"/>
              <a:gd name="T44" fmla="*/ 71465 w 193899"/>
              <a:gd name="T45" fmla="*/ 48615 h 192656"/>
              <a:gd name="T46" fmla="*/ 81319 w 193899"/>
              <a:gd name="T47" fmla="*/ 40130 h 192656"/>
              <a:gd name="T48" fmla="*/ 93967 w 193899"/>
              <a:gd name="T49" fmla="*/ 35727 h 192656"/>
              <a:gd name="T50" fmla="*/ 101456 w 193899"/>
              <a:gd name="T51" fmla="*/ 35141 h 192656"/>
              <a:gd name="T52" fmla="*/ 172504 w 193899"/>
              <a:gd name="T53" fmla="*/ 35141 h 192656"/>
              <a:gd name="T54" fmla="*/ 164459 w 193899"/>
              <a:gd name="T55" fmla="*/ 25907 h 192656"/>
              <a:gd name="T56" fmla="*/ 154509 w 193899"/>
              <a:gd name="T57" fmla="*/ 17466 h 192656"/>
              <a:gd name="T58" fmla="*/ 143471 w 193899"/>
              <a:gd name="T59" fmla="*/ 10621 h 192656"/>
              <a:gd name="T60" fmla="*/ 131492 w 193899"/>
              <a:gd name="T61" fmla="*/ 5403 h 192656"/>
              <a:gd name="T62" fmla="*/ 118720 w 193899"/>
              <a:gd name="T63" fmla="*/ 1853 h 192656"/>
              <a:gd name="T64" fmla="*/ 105302 w 193899"/>
              <a:gd name="T65" fmla="*/ 0 h 192656"/>
              <a:gd name="T66" fmla="*/ 189794 w 193899"/>
              <a:gd name="T67" fmla="*/ 134420 h 192656"/>
              <a:gd name="T68" fmla="*/ 152963 w 193899"/>
              <a:gd name="T69" fmla="*/ 155968 h 192656"/>
              <a:gd name="T70" fmla="*/ 130724 w 193899"/>
              <a:gd name="T71" fmla="*/ 161171 h 192656"/>
              <a:gd name="T72" fmla="*/ 184738 w 193899"/>
              <a:gd name="T73" fmla="*/ 161171 h 192656"/>
              <a:gd name="T74" fmla="*/ 189794 w 193899"/>
              <a:gd name="T75" fmla="*/ 134420 h 192656"/>
              <a:gd name="T76" fmla="*/ 172504 w 193899"/>
              <a:gd name="T77" fmla="*/ 35141 h 192656"/>
              <a:gd name="T78" fmla="*/ 101456 w 193899"/>
              <a:gd name="T79" fmla="*/ 35141 h 192656"/>
              <a:gd name="T80" fmla="*/ 115276 w 193899"/>
              <a:gd name="T81" fmla="*/ 37389 h 192656"/>
              <a:gd name="T82" fmla="*/ 126599 w 193899"/>
              <a:gd name="T83" fmla="*/ 43895 h 192656"/>
              <a:gd name="T84" fmla="*/ 135061 w 193899"/>
              <a:gd name="T85" fmla="*/ 54311 h 192656"/>
              <a:gd name="T86" fmla="*/ 140292 w 193899"/>
              <a:gd name="T87" fmla="*/ 68290 h 192656"/>
              <a:gd name="T88" fmla="*/ 61320 w 193899"/>
              <a:gd name="T89" fmla="*/ 76752 h 192656"/>
              <a:gd name="T90" fmla="*/ 190674 w 193899"/>
              <a:gd name="T91" fmla="*/ 76752 h 192656"/>
              <a:gd name="T92" fmla="*/ 190410 w 193899"/>
              <a:gd name="T93" fmla="*/ 74909 h 192656"/>
              <a:gd name="T94" fmla="*/ 186295 w 193899"/>
              <a:gd name="T95" fmla="*/ 60442 h 192656"/>
              <a:gd name="T96" fmla="*/ 180500 w 193899"/>
              <a:gd name="T97" fmla="*/ 47430 h 192656"/>
              <a:gd name="T98" fmla="*/ 173171 w 193899"/>
              <a:gd name="T99" fmla="*/ 35907 h 192656"/>
              <a:gd name="T100" fmla="*/ 172504 w 193899"/>
              <a:gd name="T101" fmla="*/ 35141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8" name="object 10">
            <a:extLst>
              <a:ext uri="{FF2B5EF4-FFF2-40B4-BE49-F238E27FC236}">
                <a16:creationId xmlns:a16="http://schemas.microsoft.com/office/drawing/2014/main" id="{457F534B-E0D7-43B8-9F28-3B0BDB8DBDD9}"/>
              </a:ext>
            </a:extLst>
          </p:cNvPr>
          <p:cNvSpPr>
            <a:spLocks/>
          </p:cNvSpPr>
          <p:nvPr/>
        </p:nvSpPr>
        <p:spPr bwMode="auto">
          <a:xfrm>
            <a:off x="8095435" y="6343651"/>
            <a:ext cx="154947" cy="163198"/>
          </a:xfrm>
          <a:custGeom>
            <a:avLst/>
            <a:gdLst>
              <a:gd name="T0" fmla="*/ 157946 w 268134"/>
              <a:gd name="T1" fmla="*/ 0 h 282037"/>
              <a:gd name="T2" fmla="*/ 108748 w 268134"/>
              <a:gd name="T3" fmla="*/ 7448 h 282037"/>
              <a:gd name="T4" fmla="*/ 68128 w 268134"/>
              <a:gd name="T5" fmla="*/ 25114 h 282037"/>
              <a:gd name="T6" fmla="*/ 36545 w 268134"/>
              <a:gd name="T7" fmla="*/ 51183 h 282037"/>
              <a:gd name="T8" fmla="*/ 14457 w 268134"/>
              <a:gd name="T9" fmla="*/ 83850 h 282037"/>
              <a:gd name="T10" fmla="*/ 2327 w 268134"/>
              <a:gd name="T11" fmla="*/ 121301 h 282037"/>
              <a:gd name="T12" fmla="*/ 0 w 268134"/>
              <a:gd name="T13" fmla="*/ 148032 h 282037"/>
              <a:gd name="T14" fmla="*/ 971 w 268134"/>
              <a:gd name="T15" fmla="*/ 160290 h 282037"/>
              <a:gd name="T16" fmla="*/ 15708 w 268134"/>
              <a:gd name="T17" fmla="*/ 207124 h 282037"/>
              <a:gd name="T18" fmla="*/ 48430 w 268134"/>
              <a:gd name="T19" fmla="*/ 246707 h 282037"/>
              <a:gd name="T20" fmla="*/ 85255 w 268134"/>
              <a:gd name="T21" fmla="*/ 268638 h 282037"/>
              <a:gd name="T22" fmla="*/ 132989 w 268134"/>
              <a:gd name="T23" fmla="*/ 281589 h 282037"/>
              <a:gd name="T24" fmla="*/ 171038 w 268134"/>
              <a:gd name="T25" fmla="*/ 284195 h 282037"/>
              <a:gd name="T26" fmla="*/ 183981 w 268134"/>
              <a:gd name="T27" fmla="*/ 283392 h 282037"/>
              <a:gd name="T28" fmla="*/ 231803 w 268134"/>
              <a:gd name="T29" fmla="*/ 273065 h 282037"/>
              <a:gd name="T30" fmla="*/ 268746 w 268134"/>
              <a:gd name="T31" fmla="*/ 256740 h 282037"/>
              <a:gd name="T32" fmla="*/ 267463 w 268134"/>
              <a:gd name="T33" fmla="*/ 226038 h 282037"/>
              <a:gd name="T34" fmla="*/ 155891 w 268134"/>
              <a:gd name="T35" fmla="*/ 226038 h 282037"/>
              <a:gd name="T36" fmla="*/ 141242 w 268134"/>
              <a:gd name="T37" fmla="*/ 223664 h 282037"/>
              <a:gd name="T38" fmla="*/ 104152 w 268134"/>
              <a:gd name="T39" fmla="*/ 206379 h 282037"/>
              <a:gd name="T40" fmla="*/ 79829 w 268134"/>
              <a:gd name="T41" fmla="*/ 174793 h 282037"/>
              <a:gd name="T42" fmla="*/ 71457 w 268134"/>
              <a:gd name="T43" fmla="*/ 130115 h 282037"/>
              <a:gd name="T44" fmla="*/ 74271 w 268134"/>
              <a:gd name="T45" fmla="*/ 117644 h 282037"/>
              <a:gd name="T46" fmla="*/ 104622 w 268134"/>
              <a:gd name="T47" fmla="*/ 77798 h 282037"/>
              <a:gd name="T48" fmla="*/ 145633 w 268134"/>
              <a:gd name="T49" fmla="*/ 61205 h 282037"/>
              <a:gd name="T50" fmla="*/ 180713 w 268134"/>
              <a:gd name="T51" fmla="*/ 57946 h 282037"/>
              <a:gd name="T52" fmla="*/ 262776 w 268134"/>
              <a:gd name="T53" fmla="*/ 57946 h 282037"/>
              <a:gd name="T54" fmla="*/ 259145 w 268134"/>
              <a:gd name="T55" fmla="*/ 20665 h 282037"/>
              <a:gd name="T56" fmla="*/ 214731 w 268134"/>
              <a:gd name="T57" fmla="*/ 5092 h 282037"/>
              <a:gd name="T58" fmla="*/ 173449 w 268134"/>
              <a:gd name="T59" fmla="*/ 288 h 282037"/>
              <a:gd name="T60" fmla="*/ 157946 w 268134"/>
              <a:gd name="T61" fmla="*/ 0 h 282037"/>
              <a:gd name="T62" fmla="*/ 266267 w 268134"/>
              <a:gd name="T63" fmla="*/ 197379 h 282037"/>
              <a:gd name="T64" fmla="*/ 231339 w 268134"/>
              <a:gd name="T65" fmla="*/ 213116 h 282037"/>
              <a:gd name="T66" fmla="*/ 184758 w 268134"/>
              <a:gd name="T67" fmla="*/ 224788 h 282037"/>
              <a:gd name="T68" fmla="*/ 155891 w 268134"/>
              <a:gd name="T69" fmla="*/ 226038 h 282037"/>
              <a:gd name="T70" fmla="*/ 267463 w 268134"/>
              <a:gd name="T71" fmla="*/ 226038 h 282037"/>
              <a:gd name="T72" fmla="*/ 266267 w 268134"/>
              <a:gd name="T73" fmla="*/ 197379 h 282037"/>
              <a:gd name="T74" fmla="*/ 262776 w 268134"/>
              <a:gd name="T75" fmla="*/ 57946 h 282037"/>
              <a:gd name="T76" fmla="*/ 180713 w 268134"/>
              <a:gd name="T77" fmla="*/ 57946 h 282037"/>
              <a:gd name="T78" fmla="*/ 193411 w 268134"/>
              <a:gd name="T79" fmla="*/ 59334 h 282037"/>
              <a:gd name="T80" fmla="*/ 205856 w 268134"/>
              <a:gd name="T81" fmla="*/ 61717 h 282037"/>
              <a:gd name="T82" fmla="*/ 242024 w 268134"/>
              <a:gd name="T83" fmla="*/ 74122 h 282037"/>
              <a:gd name="T84" fmla="*/ 265512 w 268134"/>
              <a:gd name="T85" fmla="*/ 86052 h 282037"/>
              <a:gd name="T86" fmla="*/ 262776 w 268134"/>
              <a:gd name="T87" fmla="*/ 5794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299" name="object 11">
            <a:extLst>
              <a:ext uri="{FF2B5EF4-FFF2-40B4-BE49-F238E27FC236}">
                <a16:creationId xmlns:a16="http://schemas.microsoft.com/office/drawing/2014/main" id="{8B812AEC-800D-4BE2-BBAA-D68D0A6D7683}"/>
              </a:ext>
            </a:extLst>
          </p:cNvPr>
          <p:cNvSpPr>
            <a:spLocks/>
          </p:cNvSpPr>
          <p:nvPr/>
        </p:nvSpPr>
        <p:spPr bwMode="auto">
          <a:xfrm>
            <a:off x="8274220"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2 w 186347"/>
              <a:gd name="T19" fmla="*/ 124102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39 h 275069"/>
              <a:gd name="T44" fmla="*/ 179969 w 186347"/>
              <a:gd name="T45" fmla="*/ 129799 h 275069"/>
              <a:gd name="T46" fmla="*/ 113529 w 186347"/>
              <a:gd name="T47" fmla="*/ 85035 h 275069"/>
              <a:gd name="T48" fmla="*/ 68325 w 186347"/>
              <a:gd name="T49" fmla="*/ 104929 h 275069"/>
              <a:gd name="T50" fmla="*/ 58524 w 186347"/>
              <a:gd name="T51" fmla="*/ 115830 h 275069"/>
              <a:gd name="T52" fmla="*/ 173896 w 186347"/>
              <a:gd name="T53" fmla="*/ 115830 h 275069"/>
              <a:gd name="T54" fmla="*/ 140183 w 186347"/>
              <a:gd name="T55" fmla="*/ 89049 h 275069"/>
              <a:gd name="T56" fmla="*/ 113529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0" name="object 12">
            <a:extLst>
              <a:ext uri="{FF2B5EF4-FFF2-40B4-BE49-F238E27FC236}">
                <a16:creationId xmlns:a16="http://schemas.microsoft.com/office/drawing/2014/main" id="{EE251FD9-C631-412B-B048-E918F53FAF9E}"/>
              </a:ext>
            </a:extLst>
          </p:cNvPr>
          <p:cNvSpPr>
            <a:spLocks/>
          </p:cNvSpPr>
          <p:nvPr/>
        </p:nvSpPr>
        <p:spPr bwMode="auto">
          <a:xfrm>
            <a:off x="8405329" y="6396827"/>
            <a:ext cx="33923" cy="107271"/>
          </a:xfrm>
          <a:custGeom>
            <a:avLst/>
            <a:gdLst>
              <a:gd name="T0" fmla="*/ 59505 w 58483"/>
              <a:gd name="T1" fmla="*/ 185129 h 185940"/>
              <a:gd name="T2" fmla="*/ 0 w 58483"/>
              <a:gd name="T3" fmla="*/ 185129 h 185940"/>
              <a:gd name="T4" fmla="*/ 0 w 58483"/>
              <a:gd name="T5" fmla="*/ 0 h 185940"/>
              <a:gd name="T6" fmla="*/ 59505 w 58483"/>
              <a:gd name="T7" fmla="*/ 0 h 185940"/>
              <a:gd name="T8" fmla="*/ 59505 w 58483"/>
              <a:gd name="T9" fmla="*/ 185129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1" name="object 13">
            <a:extLst>
              <a:ext uri="{FF2B5EF4-FFF2-40B4-BE49-F238E27FC236}">
                <a16:creationId xmlns:a16="http://schemas.microsoft.com/office/drawing/2014/main" id="{478D84DD-9207-48D7-A1C7-8C7242DB8655}"/>
              </a:ext>
            </a:extLst>
          </p:cNvPr>
          <p:cNvSpPr>
            <a:spLocks/>
          </p:cNvSpPr>
          <p:nvPr/>
        </p:nvSpPr>
        <p:spPr bwMode="auto">
          <a:xfrm>
            <a:off x="8403496" y="6344567"/>
            <a:ext cx="37590" cy="35757"/>
          </a:xfrm>
          <a:custGeom>
            <a:avLst/>
            <a:gdLst>
              <a:gd name="T0" fmla="*/ 23399 w 64473"/>
              <a:gd name="T1" fmla="*/ 0 h 61899"/>
              <a:gd name="T2" fmla="*/ 11296 w 64473"/>
              <a:gd name="T3" fmla="*/ 6800 h 61899"/>
              <a:gd name="T4" fmla="*/ 3032 w 64473"/>
              <a:gd name="T5" fmla="*/ 18063 h 61899"/>
              <a:gd name="T6" fmla="*/ 0 w 64473"/>
              <a:gd name="T7" fmla="*/ 32683 h 61899"/>
              <a:gd name="T8" fmla="*/ 3347 w 64473"/>
              <a:gd name="T9" fmla="*/ 44535 h 61899"/>
              <a:gd name="T10" fmla="*/ 11667 w 64473"/>
              <a:gd name="T11" fmla="*/ 54062 h 61899"/>
              <a:gd name="T12" fmla="*/ 24719 w 64473"/>
              <a:gd name="T13" fmla="*/ 60220 h 61899"/>
              <a:gd name="T14" fmla="*/ 42255 w 64473"/>
              <a:gd name="T15" fmla="*/ 61955 h 61899"/>
              <a:gd name="T16" fmla="*/ 54972 w 64473"/>
              <a:gd name="T17" fmla="*/ 55506 h 61899"/>
              <a:gd name="T18" fmla="*/ 63712 w 64473"/>
              <a:gd name="T19" fmla="*/ 44628 h 61899"/>
              <a:gd name="T20" fmla="*/ 66965 w 64473"/>
              <a:gd name="T21" fmla="*/ 30792 h 61899"/>
              <a:gd name="T22" fmla="*/ 66819 w 64473"/>
              <a:gd name="T23" fmla="*/ 27801 h 61899"/>
              <a:gd name="T24" fmla="*/ 63135 w 64473"/>
              <a:gd name="T25" fmla="*/ 16350 h 61899"/>
              <a:gd name="T26" fmla="*/ 54582 w 64473"/>
              <a:gd name="T27" fmla="*/ 7227 h 61899"/>
              <a:gd name="T28" fmla="*/ 41294 w 64473"/>
              <a:gd name="T29" fmla="*/ 1439 h 61899"/>
              <a:gd name="T30" fmla="*/ 2339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2" name="object 14">
            <a:extLst>
              <a:ext uri="{FF2B5EF4-FFF2-40B4-BE49-F238E27FC236}">
                <a16:creationId xmlns:a16="http://schemas.microsoft.com/office/drawing/2014/main" id="{094F241E-1932-4DAF-9B16-C21C22AB8067}"/>
              </a:ext>
            </a:extLst>
          </p:cNvPr>
          <p:cNvSpPr>
            <a:spLocks/>
          </p:cNvSpPr>
          <p:nvPr/>
        </p:nvSpPr>
        <p:spPr bwMode="auto">
          <a:xfrm>
            <a:off x="8464007" y="6345484"/>
            <a:ext cx="33923" cy="158614"/>
          </a:xfrm>
          <a:custGeom>
            <a:avLst/>
            <a:gdLst>
              <a:gd name="T0" fmla="*/ 59505 w 58483"/>
              <a:gd name="T1" fmla="*/ 273345 h 275069"/>
              <a:gd name="T2" fmla="*/ 0 w 58483"/>
              <a:gd name="T3" fmla="*/ 273345 h 275069"/>
              <a:gd name="T4" fmla="*/ 0 w 58483"/>
              <a:gd name="T5" fmla="*/ 0 h 275069"/>
              <a:gd name="T6" fmla="*/ 59505 w 58483"/>
              <a:gd name="T7" fmla="*/ 0 h 275069"/>
              <a:gd name="T8" fmla="*/ 59505 w 58483"/>
              <a:gd name="T9" fmla="*/ 273345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3" name="object 15">
            <a:extLst>
              <a:ext uri="{FF2B5EF4-FFF2-40B4-BE49-F238E27FC236}">
                <a16:creationId xmlns:a16="http://schemas.microsoft.com/office/drawing/2014/main" id="{447EA3D4-BF0A-4B17-804F-68BE296CE2BA}"/>
              </a:ext>
            </a:extLst>
          </p:cNvPr>
          <p:cNvSpPr>
            <a:spLocks/>
          </p:cNvSpPr>
          <p:nvPr/>
        </p:nvSpPr>
        <p:spPr bwMode="auto">
          <a:xfrm>
            <a:off x="8516267" y="6345484"/>
            <a:ext cx="113689" cy="161365"/>
          </a:xfrm>
          <a:custGeom>
            <a:avLst/>
            <a:gdLst>
              <a:gd name="T0" fmla="*/ 101290 w 197236"/>
              <a:gd name="T1" fmla="*/ 87186 h 278582"/>
              <a:gd name="T2" fmla="*/ 55223 w 197236"/>
              <a:gd name="T3" fmla="*/ 95109 h 278582"/>
              <a:gd name="T4" fmla="*/ 22383 w 197236"/>
              <a:gd name="T5" fmla="*/ 118136 h 278582"/>
              <a:gd name="T6" fmla="*/ 3857 w 197236"/>
              <a:gd name="T7" fmla="*/ 153521 h 278582"/>
              <a:gd name="T8" fmla="*/ 0 w 197236"/>
              <a:gd name="T9" fmla="*/ 182625 h 278582"/>
              <a:gd name="T10" fmla="*/ 1009 w 197236"/>
              <a:gd name="T11" fmla="*/ 198905 h 278582"/>
              <a:gd name="T12" fmla="*/ 15138 w 197236"/>
              <a:gd name="T13" fmla="*/ 240935 h 278582"/>
              <a:gd name="T14" fmla="*/ 43178 w 197236"/>
              <a:gd name="T15" fmla="*/ 269838 h 278582"/>
              <a:gd name="T16" fmla="*/ 81606 w 197236"/>
              <a:gd name="T17" fmla="*/ 281868 h 278582"/>
              <a:gd name="T18" fmla="*/ 96097 w 197236"/>
              <a:gd name="T19" fmla="*/ 281184 h 278582"/>
              <a:gd name="T20" fmla="*/ 108670 w 197236"/>
              <a:gd name="T21" fmla="*/ 278853 h 278582"/>
              <a:gd name="T22" fmla="*/ 119935 w 197236"/>
              <a:gd name="T23" fmla="*/ 274719 h 278582"/>
              <a:gd name="T24" fmla="*/ 130504 w 197236"/>
              <a:gd name="T25" fmla="*/ 268621 h 278582"/>
              <a:gd name="T26" fmla="*/ 195697 w 197236"/>
              <a:gd name="T27" fmla="*/ 268621 h 278582"/>
              <a:gd name="T28" fmla="*/ 195697 w 197236"/>
              <a:gd name="T29" fmla="*/ 240870 h 278582"/>
              <a:gd name="T30" fmla="*/ 114903 w 197236"/>
              <a:gd name="T31" fmla="*/ 240870 h 278582"/>
              <a:gd name="T32" fmla="*/ 98197 w 197236"/>
              <a:gd name="T33" fmla="*/ 239845 h 278582"/>
              <a:gd name="T34" fmla="*/ 66226 w 197236"/>
              <a:gd name="T35" fmla="*/ 218168 h 278582"/>
              <a:gd name="T36" fmla="*/ 59006 w 197236"/>
              <a:gd name="T37" fmla="*/ 191222 h 278582"/>
              <a:gd name="T38" fmla="*/ 60223 w 197236"/>
              <a:gd name="T39" fmla="*/ 172090 h 278582"/>
              <a:gd name="T40" fmla="*/ 78476 w 197236"/>
              <a:gd name="T41" fmla="*/ 134639 h 278582"/>
              <a:gd name="T42" fmla="*/ 101498 w 197236"/>
              <a:gd name="T43" fmla="*/ 126230 h 278582"/>
              <a:gd name="T44" fmla="*/ 195697 w 197236"/>
              <a:gd name="T45" fmla="*/ 126230 h 278582"/>
              <a:gd name="T46" fmla="*/ 195697 w 197236"/>
              <a:gd name="T47" fmla="*/ 98351 h 278582"/>
              <a:gd name="T48" fmla="*/ 137656 w 197236"/>
              <a:gd name="T49" fmla="*/ 98351 h 278582"/>
              <a:gd name="T50" fmla="*/ 125696 w 197236"/>
              <a:gd name="T51" fmla="*/ 93138 h 278582"/>
              <a:gd name="T52" fmla="*/ 113612 w 197236"/>
              <a:gd name="T53" fmla="*/ 89403 h 278582"/>
              <a:gd name="T54" fmla="*/ 101290 w 197236"/>
              <a:gd name="T55" fmla="*/ 87186 h 278582"/>
              <a:gd name="T56" fmla="*/ 195697 w 197236"/>
              <a:gd name="T57" fmla="*/ 268621 h 278582"/>
              <a:gd name="T58" fmla="*/ 130504 w 197236"/>
              <a:gd name="T59" fmla="*/ 268621 h 278582"/>
              <a:gd name="T60" fmla="*/ 137656 w 197236"/>
              <a:gd name="T61" fmla="*/ 278326 h 278582"/>
              <a:gd name="T62" fmla="*/ 195697 w 197236"/>
              <a:gd name="T63" fmla="*/ 278326 h 278582"/>
              <a:gd name="T64" fmla="*/ 195697 w 197236"/>
              <a:gd name="T65" fmla="*/ 268621 h 278582"/>
              <a:gd name="T66" fmla="*/ 195697 w 197236"/>
              <a:gd name="T67" fmla="*/ 126230 h 278582"/>
              <a:gd name="T68" fmla="*/ 101498 w 197236"/>
              <a:gd name="T69" fmla="*/ 126230 h 278582"/>
              <a:gd name="T70" fmla="*/ 115302 w 197236"/>
              <a:gd name="T71" fmla="*/ 127643 h 278582"/>
              <a:gd name="T72" fmla="*/ 127709 w 197236"/>
              <a:gd name="T73" fmla="*/ 131559 h 278582"/>
              <a:gd name="T74" fmla="*/ 137656 w 197236"/>
              <a:gd name="T75" fmla="*/ 226900 h 278582"/>
              <a:gd name="T76" fmla="*/ 126106 w 197236"/>
              <a:gd name="T77" fmla="*/ 235854 h 278582"/>
              <a:gd name="T78" fmla="*/ 114903 w 197236"/>
              <a:gd name="T79" fmla="*/ 240870 h 278582"/>
              <a:gd name="T80" fmla="*/ 195697 w 197236"/>
              <a:gd name="T81" fmla="*/ 240870 h 278582"/>
              <a:gd name="T82" fmla="*/ 195697 w 197236"/>
              <a:gd name="T83" fmla="*/ 126230 h 278582"/>
              <a:gd name="T84" fmla="*/ 195697 w 197236"/>
              <a:gd name="T85" fmla="*/ 0 h 278582"/>
              <a:gd name="T86" fmla="*/ 137656 w 197236"/>
              <a:gd name="T87" fmla="*/ 0 h 278582"/>
              <a:gd name="T88" fmla="*/ 137656 w 197236"/>
              <a:gd name="T89" fmla="*/ 98351 h 278582"/>
              <a:gd name="T90" fmla="*/ 195697 w 197236"/>
              <a:gd name="T91" fmla="*/ 98351 h 278582"/>
              <a:gd name="T92" fmla="*/ 195697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4" name="object 16">
            <a:extLst>
              <a:ext uri="{FF2B5EF4-FFF2-40B4-BE49-F238E27FC236}">
                <a16:creationId xmlns:a16="http://schemas.microsoft.com/office/drawing/2014/main" id="{3180F118-157C-45B3-93C7-0A0DA039268C}"/>
              </a:ext>
            </a:extLst>
          </p:cNvPr>
          <p:cNvSpPr>
            <a:spLocks/>
          </p:cNvSpPr>
          <p:nvPr/>
        </p:nvSpPr>
        <p:spPr bwMode="auto">
          <a:xfrm>
            <a:off x="8653794" y="6394994"/>
            <a:ext cx="86183" cy="109104"/>
          </a:xfrm>
          <a:custGeom>
            <a:avLst/>
            <a:gdLst>
              <a:gd name="T0" fmla="*/ 59751 w 148435"/>
              <a:gd name="T1" fmla="*/ 3317 h 189286"/>
              <a:gd name="T2" fmla="*/ 0 w 148435"/>
              <a:gd name="T3" fmla="*/ 3317 h 189286"/>
              <a:gd name="T4" fmla="*/ 0 w 148435"/>
              <a:gd name="T5" fmla="*/ 187794 h 189286"/>
              <a:gd name="T6" fmla="*/ 59751 w 148435"/>
              <a:gd name="T7" fmla="*/ 187794 h 189286"/>
              <a:gd name="T8" fmla="*/ 61596 w 148435"/>
              <a:gd name="T9" fmla="*/ 103511 h 189286"/>
              <a:gd name="T10" fmla="*/ 68120 w 148435"/>
              <a:gd name="T11" fmla="*/ 89037 h 189286"/>
              <a:gd name="T12" fmla="*/ 104560 w 148435"/>
              <a:gd name="T13" fmla="*/ 56384 h 189286"/>
              <a:gd name="T14" fmla="*/ 108023 w 148435"/>
              <a:gd name="T15" fmla="*/ 56137 h 189286"/>
              <a:gd name="T16" fmla="*/ 59751 w 148435"/>
              <a:gd name="T17" fmla="*/ 56137 h 189286"/>
              <a:gd name="T18" fmla="*/ 59751 w 148435"/>
              <a:gd name="T19" fmla="*/ 3317 h 189286"/>
              <a:gd name="T20" fmla="*/ 145798 w 148435"/>
              <a:gd name="T21" fmla="*/ 55409 h 189286"/>
              <a:gd name="T22" fmla="*/ 118243 w 148435"/>
              <a:gd name="T23" fmla="*/ 55409 h 189286"/>
              <a:gd name="T24" fmla="*/ 129895 w 148435"/>
              <a:gd name="T25" fmla="*/ 59818 h 189286"/>
              <a:gd name="T26" fmla="*/ 144201 w 148435"/>
              <a:gd name="T27" fmla="*/ 67742 h 189286"/>
              <a:gd name="T28" fmla="*/ 145798 w 148435"/>
              <a:gd name="T29" fmla="*/ 55409 h 189286"/>
              <a:gd name="T30" fmla="*/ 116162 w 148435"/>
              <a:gd name="T31" fmla="*/ 0 h 189286"/>
              <a:gd name="T32" fmla="*/ 77630 w 148435"/>
              <a:gd name="T33" fmla="*/ 26287 h 189286"/>
              <a:gd name="T34" fmla="*/ 60569 w 148435"/>
              <a:gd name="T35" fmla="*/ 56137 h 189286"/>
              <a:gd name="T36" fmla="*/ 108023 w 148435"/>
              <a:gd name="T37" fmla="*/ 56137 h 189286"/>
              <a:gd name="T38" fmla="*/ 118243 w 148435"/>
              <a:gd name="T39" fmla="*/ 55409 h 189286"/>
              <a:gd name="T40" fmla="*/ 145798 w 148435"/>
              <a:gd name="T41" fmla="*/ 55409 h 189286"/>
              <a:gd name="T42" fmla="*/ 151620 w 148435"/>
              <a:gd name="T43" fmla="*/ 10373 h 189286"/>
              <a:gd name="T44" fmla="*/ 140006 w 148435"/>
              <a:gd name="T45" fmla="*/ 4193 h 189286"/>
              <a:gd name="T46" fmla="*/ 128731 w 148435"/>
              <a:gd name="T47" fmla="*/ 865 h 189286"/>
              <a:gd name="T48" fmla="*/ 116162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5" name="object 17">
            <a:extLst>
              <a:ext uri="{FF2B5EF4-FFF2-40B4-BE49-F238E27FC236}">
                <a16:creationId xmlns:a16="http://schemas.microsoft.com/office/drawing/2014/main" id="{B3D38D80-E552-4DC9-BA0E-17AAE70AA537}"/>
              </a:ext>
            </a:extLst>
          </p:cNvPr>
          <p:cNvSpPr>
            <a:spLocks/>
          </p:cNvSpPr>
          <p:nvPr/>
        </p:nvSpPr>
        <p:spPr bwMode="auto">
          <a:xfrm>
            <a:off x="8747312" y="6394994"/>
            <a:ext cx="111855" cy="111855"/>
          </a:xfrm>
          <a:custGeom>
            <a:avLst/>
            <a:gdLst>
              <a:gd name="T0" fmla="*/ 105303 w 193899"/>
              <a:gd name="T1" fmla="*/ 0 h 192655"/>
              <a:gd name="T2" fmla="*/ 59205 w 193899"/>
              <a:gd name="T3" fmla="*/ 8038 h 192655"/>
              <a:gd name="T4" fmla="*/ 25139 w 193899"/>
              <a:gd name="T5" fmla="*/ 30779 h 192655"/>
              <a:gd name="T6" fmla="*/ 4907 w 193899"/>
              <a:gd name="T7" fmla="*/ 65484 h 192655"/>
              <a:gd name="T8" fmla="*/ 0 w 193899"/>
              <a:gd name="T9" fmla="*/ 93917 h 192655"/>
              <a:gd name="T10" fmla="*/ 897 w 193899"/>
              <a:gd name="T11" fmla="*/ 109951 h 192655"/>
              <a:gd name="T12" fmla="*/ 14099 w 193899"/>
              <a:gd name="T13" fmla="*/ 150722 h 192655"/>
              <a:gd name="T14" fmla="*/ 41510 w 193899"/>
              <a:gd name="T15" fmla="*/ 179453 h 192655"/>
              <a:gd name="T16" fmla="*/ 81140 w 193899"/>
              <a:gd name="T17" fmla="*/ 194800 h 192655"/>
              <a:gd name="T18" fmla="*/ 106989 w 193899"/>
              <a:gd name="T19" fmla="*/ 196767 h 192655"/>
              <a:gd name="T20" fmla="*/ 118141 w 193899"/>
              <a:gd name="T21" fmla="*/ 196456 h 192655"/>
              <a:gd name="T22" fmla="*/ 168434 w 193899"/>
              <a:gd name="T23" fmla="*/ 184777 h 192655"/>
              <a:gd name="T24" fmla="*/ 184735 w 193899"/>
              <a:gd name="T25" fmla="*/ 161173 h 192655"/>
              <a:gd name="T26" fmla="*/ 130724 w 193899"/>
              <a:gd name="T27" fmla="*/ 161173 h 192655"/>
              <a:gd name="T28" fmla="*/ 112313 w 193899"/>
              <a:gd name="T29" fmla="*/ 160130 h 192655"/>
              <a:gd name="T30" fmla="*/ 74052 w 193899"/>
              <a:gd name="T31" fmla="*/ 143109 h 192655"/>
              <a:gd name="T32" fmla="*/ 60117 w 193899"/>
              <a:gd name="T33" fmla="*/ 108064 h 192655"/>
              <a:gd name="T34" fmla="*/ 193005 w 193899"/>
              <a:gd name="T35" fmla="*/ 108064 h 192655"/>
              <a:gd name="T36" fmla="*/ 192695 w 193899"/>
              <a:gd name="T37" fmla="*/ 90796 h 192655"/>
              <a:gd name="T38" fmla="*/ 190675 w 193899"/>
              <a:gd name="T39" fmla="*/ 76753 h 192655"/>
              <a:gd name="T40" fmla="*/ 61319 w 193899"/>
              <a:gd name="T41" fmla="*/ 76753 h 192655"/>
              <a:gd name="T42" fmla="*/ 64703 w 193899"/>
              <a:gd name="T43" fmla="*/ 60914 h 192655"/>
              <a:gd name="T44" fmla="*/ 71465 w 193899"/>
              <a:gd name="T45" fmla="*/ 48616 h 192655"/>
              <a:gd name="T46" fmla="*/ 81319 w 193899"/>
              <a:gd name="T47" fmla="*/ 40130 h 192655"/>
              <a:gd name="T48" fmla="*/ 93967 w 193899"/>
              <a:gd name="T49" fmla="*/ 35727 h 192655"/>
              <a:gd name="T50" fmla="*/ 101456 w 193899"/>
              <a:gd name="T51" fmla="*/ 35141 h 192655"/>
              <a:gd name="T52" fmla="*/ 172508 w 193899"/>
              <a:gd name="T53" fmla="*/ 35141 h 192655"/>
              <a:gd name="T54" fmla="*/ 164464 w 193899"/>
              <a:gd name="T55" fmla="*/ 25907 h 192655"/>
              <a:gd name="T56" fmla="*/ 154515 w 193899"/>
              <a:gd name="T57" fmla="*/ 17468 h 192655"/>
              <a:gd name="T58" fmla="*/ 143476 w 193899"/>
              <a:gd name="T59" fmla="*/ 10621 h 192655"/>
              <a:gd name="T60" fmla="*/ 131497 w 193899"/>
              <a:gd name="T61" fmla="*/ 5403 h 192655"/>
              <a:gd name="T62" fmla="*/ 118723 w 193899"/>
              <a:gd name="T63" fmla="*/ 1853 h 192655"/>
              <a:gd name="T64" fmla="*/ 105303 w 193899"/>
              <a:gd name="T65" fmla="*/ 0 h 192655"/>
              <a:gd name="T66" fmla="*/ 189794 w 193899"/>
              <a:gd name="T67" fmla="*/ 134423 h 192655"/>
              <a:gd name="T68" fmla="*/ 152962 w 193899"/>
              <a:gd name="T69" fmla="*/ 155971 h 192655"/>
              <a:gd name="T70" fmla="*/ 130724 w 193899"/>
              <a:gd name="T71" fmla="*/ 161173 h 192655"/>
              <a:gd name="T72" fmla="*/ 184735 w 193899"/>
              <a:gd name="T73" fmla="*/ 161173 h 192655"/>
              <a:gd name="T74" fmla="*/ 189794 w 193899"/>
              <a:gd name="T75" fmla="*/ 134423 h 192655"/>
              <a:gd name="T76" fmla="*/ 172508 w 193899"/>
              <a:gd name="T77" fmla="*/ 35141 h 192655"/>
              <a:gd name="T78" fmla="*/ 101456 w 193899"/>
              <a:gd name="T79" fmla="*/ 35141 h 192655"/>
              <a:gd name="T80" fmla="*/ 115276 w 193899"/>
              <a:gd name="T81" fmla="*/ 37389 h 192655"/>
              <a:gd name="T82" fmla="*/ 126599 w 193899"/>
              <a:gd name="T83" fmla="*/ 43896 h 192655"/>
              <a:gd name="T84" fmla="*/ 135061 w 193899"/>
              <a:gd name="T85" fmla="*/ 54313 h 192655"/>
              <a:gd name="T86" fmla="*/ 140292 w 193899"/>
              <a:gd name="T87" fmla="*/ 68292 h 192655"/>
              <a:gd name="T88" fmla="*/ 61319 w 193899"/>
              <a:gd name="T89" fmla="*/ 76753 h 192655"/>
              <a:gd name="T90" fmla="*/ 190675 w 193899"/>
              <a:gd name="T91" fmla="*/ 76753 h 192655"/>
              <a:gd name="T92" fmla="*/ 190410 w 193899"/>
              <a:gd name="T93" fmla="*/ 74910 h 192655"/>
              <a:gd name="T94" fmla="*/ 186297 w 193899"/>
              <a:gd name="T95" fmla="*/ 60443 h 192655"/>
              <a:gd name="T96" fmla="*/ 180503 w 193899"/>
              <a:gd name="T97" fmla="*/ 47430 h 192655"/>
              <a:gd name="T98" fmla="*/ 173175 w 193899"/>
              <a:gd name="T99" fmla="*/ 35907 h 192655"/>
              <a:gd name="T100" fmla="*/ 172508 w 193899"/>
              <a:gd name="T101" fmla="*/ 35141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6" name="object 18">
            <a:extLst>
              <a:ext uri="{FF2B5EF4-FFF2-40B4-BE49-F238E27FC236}">
                <a16:creationId xmlns:a16="http://schemas.microsoft.com/office/drawing/2014/main" id="{1FF114F1-466B-47FE-B12B-C3E00B2C96A9}"/>
              </a:ext>
            </a:extLst>
          </p:cNvPr>
          <p:cNvSpPr>
            <a:spLocks/>
          </p:cNvSpPr>
          <p:nvPr/>
        </p:nvSpPr>
        <p:spPr bwMode="auto">
          <a:xfrm>
            <a:off x="8876587" y="6394994"/>
            <a:ext cx="108188" cy="109104"/>
          </a:xfrm>
          <a:custGeom>
            <a:avLst/>
            <a:gdLst>
              <a:gd name="T0" fmla="*/ 59216 w 186753"/>
              <a:gd name="T1" fmla="*/ 3491 h 189472"/>
              <a:gd name="T2" fmla="*/ 0 w 186753"/>
              <a:gd name="T3" fmla="*/ 3491 h 189472"/>
              <a:gd name="T4" fmla="*/ 0 w 186753"/>
              <a:gd name="T5" fmla="*/ 187242 h 189472"/>
              <a:gd name="T6" fmla="*/ 59216 w 186753"/>
              <a:gd name="T7" fmla="*/ 187242 h 189472"/>
              <a:gd name="T8" fmla="*/ 65512 w 186753"/>
              <a:gd name="T9" fmla="*/ 60200 h 189472"/>
              <a:gd name="T10" fmla="*/ 74811 w 186753"/>
              <a:gd name="T11" fmla="*/ 50113 h 189472"/>
              <a:gd name="T12" fmla="*/ 84563 w 186753"/>
              <a:gd name="T13" fmla="*/ 43599 h 189472"/>
              <a:gd name="T14" fmla="*/ 95799 w 186753"/>
              <a:gd name="T15" fmla="*/ 40282 h 189472"/>
              <a:gd name="T16" fmla="*/ 109545 w 186753"/>
              <a:gd name="T17" fmla="*/ 39782 h 189472"/>
              <a:gd name="T18" fmla="*/ 183434 w 186753"/>
              <a:gd name="T19" fmla="*/ 39782 h 189472"/>
              <a:gd name="T20" fmla="*/ 182427 w 186753"/>
              <a:gd name="T21" fmla="*/ 36627 h 189472"/>
              <a:gd name="T22" fmla="*/ 178236 w 186753"/>
              <a:gd name="T23" fmla="*/ 29795 h 189472"/>
              <a:gd name="T24" fmla="*/ 59216 w 186753"/>
              <a:gd name="T25" fmla="*/ 29795 h 189472"/>
              <a:gd name="T26" fmla="*/ 59216 w 186753"/>
              <a:gd name="T27" fmla="*/ 3491 h 189472"/>
              <a:gd name="T28" fmla="*/ 183434 w 186753"/>
              <a:gd name="T29" fmla="*/ 39782 h 189472"/>
              <a:gd name="T30" fmla="*/ 109545 w 186753"/>
              <a:gd name="T31" fmla="*/ 39782 h 189472"/>
              <a:gd name="T32" fmla="*/ 120149 w 186753"/>
              <a:gd name="T33" fmla="*/ 45859 h 189472"/>
              <a:gd name="T34" fmla="*/ 127246 w 186753"/>
              <a:gd name="T35" fmla="*/ 57508 h 189472"/>
              <a:gd name="T36" fmla="*/ 129835 w 186753"/>
              <a:gd name="T37" fmla="*/ 75241 h 189472"/>
              <a:gd name="T38" fmla="*/ 129835 w 186753"/>
              <a:gd name="T39" fmla="*/ 187242 h 189472"/>
              <a:gd name="T40" fmla="*/ 189052 w 186753"/>
              <a:gd name="T41" fmla="*/ 187242 h 189472"/>
              <a:gd name="T42" fmla="*/ 187319 w 186753"/>
              <a:gd name="T43" fmla="*/ 51956 h 189472"/>
              <a:gd name="T44" fmla="*/ 183434 w 186753"/>
              <a:gd name="T45" fmla="*/ 39782 h 189472"/>
              <a:gd name="T46" fmla="*/ 116094 w 186753"/>
              <a:gd name="T47" fmla="*/ 0 h 189472"/>
              <a:gd name="T48" fmla="*/ 69786 w 186753"/>
              <a:gd name="T49" fmla="*/ 19181 h 189472"/>
              <a:gd name="T50" fmla="*/ 59216 w 186753"/>
              <a:gd name="T51" fmla="*/ 29795 h 189472"/>
              <a:gd name="T52" fmla="*/ 178236 w 186753"/>
              <a:gd name="T53" fmla="*/ 29795 h 189472"/>
              <a:gd name="T54" fmla="*/ 141752 w 186753"/>
              <a:gd name="T55" fmla="*/ 3348 h 189472"/>
              <a:gd name="T56" fmla="*/ 116094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7" name="object 19">
            <a:extLst>
              <a:ext uri="{FF2B5EF4-FFF2-40B4-BE49-F238E27FC236}">
                <a16:creationId xmlns:a16="http://schemas.microsoft.com/office/drawing/2014/main" id="{D807D5B5-7526-4249-B3AF-76F4747AF5FB}"/>
              </a:ext>
            </a:extLst>
          </p:cNvPr>
          <p:cNvSpPr>
            <a:spLocks/>
          </p:cNvSpPr>
          <p:nvPr/>
        </p:nvSpPr>
        <p:spPr bwMode="auto">
          <a:xfrm>
            <a:off x="6621149" y="6108938"/>
            <a:ext cx="456589" cy="477676"/>
          </a:xfrm>
          <a:custGeom>
            <a:avLst/>
            <a:gdLst>
              <a:gd name="T0" fmla="*/ 66601 w 790525"/>
              <a:gd name="T1" fmla="*/ 162808 h 826770"/>
              <a:gd name="T2" fmla="*/ 78818 w 790525"/>
              <a:gd name="T3" fmla="*/ 207326 h 826770"/>
              <a:gd name="T4" fmla="*/ 31287 w 790525"/>
              <a:gd name="T5" fmla="*/ 292548 h 826770"/>
              <a:gd name="T6" fmla="*/ 426 w 790525"/>
              <a:gd name="T7" fmla="*/ 466806 h 826770"/>
              <a:gd name="T8" fmla="*/ 43649 w 790525"/>
              <a:gd name="T9" fmla="*/ 625800 h 826770"/>
              <a:gd name="T10" fmla="*/ 81030 w 790525"/>
              <a:gd name="T11" fmla="*/ 683037 h 826770"/>
              <a:gd name="T12" fmla="*/ 157264 w 790525"/>
              <a:gd name="T13" fmla="*/ 755537 h 826770"/>
              <a:gd name="T14" fmla="*/ 207251 w 790525"/>
              <a:gd name="T15" fmla="*/ 784793 h 826770"/>
              <a:gd name="T16" fmla="*/ 315829 w 790525"/>
              <a:gd name="T17" fmla="*/ 822950 h 826770"/>
              <a:gd name="T18" fmla="*/ 514399 w 790525"/>
              <a:gd name="T19" fmla="*/ 820406 h 826770"/>
              <a:gd name="T20" fmla="*/ 609484 w 790525"/>
              <a:gd name="T21" fmla="*/ 787337 h 826770"/>
              <a:gd name="T22" fmla="*/ 616428 w 790525"/>
              <a:gd name="T23" fmla="*/ 745362 h 826770"/>
              <a:gd name="T24" fmla="*/ 201678 w 790525"/>
              <a:gd name="T25" fmla="*/ 716106 h 826770"/>
              <a:gd name="T26" fmla="*/ 134187 w 790525"/>
              <a:gd name="T27" fmla="*/ 655054 h 826770"/>
              <a:gd name="T28" fmla="*/ 66507 w 790525"/>
              <a:gd name="T29" fmla="*/ 544394 h 826770"/>
              <a:gd name="T30" fmla="*/ 42329 w 790525"/>
              <a:gd name="T31" fmla="*/ 401936 h 826770"/>
              <a:gd name="T32" fmla="*/ 83765 w 790525"/>
              <a:gd name="T33" fmla="*/ 248030 h 826770"/>
              <a:gd name="T34" fmla="*/ 191944 w 790525"/>
              <a:gd name="T35" fmla="*/ 212414 h 826770"/>
              <a:gd name="T36" fmla="*/ 154523 w 790525"/>
              <a:gd name="T37" fmla="*/ 174258 h 826770"/>
              <a:gd name="T38" fmla="*/ 119452 w 790525"/>
              <a:gd name="T39" fmla="*/ 148818 h 826770"/>
              <a:gd name="T40" fmla="*/ 119288 w 790525"/>
              <a:gd name="T41" fmla="*/ 255662 h 826770"/>
              <a:gd name="T42" fmla="*/ 184014 w 790525"/>
              <a:gd name="T43" fmla="*/ 330708 h 826770"/>
              <a:gd name="T44" fmla="*/ 225246 w 790525"/>
              <a:gd name="T45" fmla="*/ 381584 h 826770"/>
              <a:gd name="T46" fmla="*/ 254375 w 790525"/>
              <a:gd name="T47" fmla="*/ 426102 h 826770"/>
              <a:gd name="T48" fmla="*/ 253878 w 790525"/>
              <a:gd name="T49" fmla="*/ 483340 h 826770"/>
              <a:gd name="T50" fmla="*/ 237200 w 790525"/>
              <a:gd name="T51" fmla="*/ 555842 h 826770"/>
              <a:gd name="T52" fmla="*/ 222850 w 790525"/>
              <a:gd name="T53" fmla="*/ 719924 h 826770"/>
              <a:gd name="T54" fmla="*/ 592803 w 790525"/>
              <a:gd name="T55" fmla="*/ 670318 h 826770"/>
              <a:gd name="T56" fmla="*/ 577688 w 790525"/>
              <a:gd name="T57" fmla="*/ 483340 h 826770"/>
              <a:gd name="T58" fmla="*/ 626540 w 790525"/>
              <a:gd name="T59" fmla="*/ 357418 h 826770"/>
              <a:gd name="T60" fmla="*/ 405916 w 790525"/>
              <a:gd name="T61" fmla="*/ 321802 h 826770"/>
              <a:gd name="T62" fmla="*/ 286633 w 790525"/>
              <a:gd name="T63" fmla="*/ 284916 h 826770"/>
              <a:gd name="T64" fmla="*/ 210579 w 790525"/>
              <a:gd name="T65" fmla="*/ 228952 h 826770"/>
              <a:gd name="T66" fmla="*/ 728729 w 790525"/>
              <a:gd name="T67" fmla="*/ 339610 h 826770"/>
              <a:gd name="T68" fmla="*/ 738887 w 790525"/>
              <a:gd name="T69" fmla="*/ 504963 h 826770"/>
              <a:gd name="T70" fmla="*/ 662252 w 790525"/>
              <a:gd name="T71" fmla="*/ 666500 h 826770"/>
              <a:gd name="T72" fmla="*/ 666443 w 790525"/>
              <a:gd name="T73" fmla="*/ 685581 h 826770"/>
              <a:gd name="T74" fmla="*/ 710503 w 790525"/>
              <a:gd name="T75" fmla="*/ 646150 h 826770"/>
              <a:gd name="T76" fmla="*/ 785928 w 790525"/>
              <a:gd name="T77" fmla="*/ 415926 h 826770"/>
              <a:gd name="T78" fmla="*/ 759425 w 790525"/>
              <a:gd name="T79" fmla="*/ 269652 h 826770"/>
              <a:gd name="T80" fmla="*/ 584089 w 790525"/>
              <a:gd name="T81" fmla="*/ 142460 h 826770"/>
              <a:gd name="T82" fmla="*/ 578400 w 790525"/>
              <a:gd name="T83" fmla="*/ 264564 h 826770"/>
              <a:gd name="T84" fmla="*/ 653240 w 790525"/>
              <a:gd name="T85" fmla="*/ 321802 h 826770"/>
              <a:gd name="T86" fmla="*/ 759425 w 790525"/>
              <a:gd name="T87" fmla="*/ 269652 h 826770"/>
              <a:gd name="T88" fmla="*/ 790185 w 790525"/>
              <a:gd name="T89" fmla="*/ 166626 h 826770"/>
              <a:gd name="T90" fmla="*/ 660945 w 790525"/>
              <a:gd name="T91" fmla="*/ 128466 h 826770"/>
              <a:gd name="T92" fmla="*/ 300718 w 790525"/>
              <a:gd name="T93" fmla="*/ 85222 h 826770"/>
              <a:gd name="T94" fmla="*/ 291988 w 790525"/>
              <a:gd name="T95" fmla="*/ 138642 h 826770"/>
              <a:gd name="T96" fmla="*/ 385277 w 790525"/>
              <a:gd name="T97" fmla="*/ 283646 h 826770"/>
              <a:gd name="T98" fmla="*/ 523363 w 790525"/>
              <a:gd name="T99" fmla="*/ 206056 h 826770"/>
              <a:gd name="T100" fmla="*/ 630222 w 790525"/>
              <a:gd name="T101" fmla="*/ 104300 h 826770"/>
              <a:gd name="T102" fmla="*/ 718389 w 790525"/>
              <a:gd name="T103" fmla="*/ 146274 h 826770"/>
              <a:gd name="T104" fmla="*/ 776563 w 790525"/>
              <a:gd name="T105" fmla="*/ 143730 h 826770"/>
              <a:gd name="T106" fmla="*/ 401575 w 790525"/>
              <a:gd name="T107" fmla="*/ 0 h 826770"/>
              <a:gd name="T108" fmla="*/ 238893 w 790525"/>
              <a:gd name="T109" fmla="*/ 73772 h 826770"/>
              <a:gd name="T110" fmla="*/ 152960 w 790525"/>
              <a:gd name="T111" fmla="*/ 129740 h 826770"/>
              <a:gd name="T112" fmla="*/ 177034 w 790525"/>
              <a:gd name="T113" fmla="*/ 142460 h 826770"/>
              <a:gd name="T114" fmla="*/ 231973 w 790525"/>
              <a:gd name="T115" fmla="*/ 109388 h 826770"/>
              <a:gd name="T116" fmla="*/ 575162 w 790525"/>
              <a:gd name="T117" fmla="*/ 72502 h 826770"/>
              <a:gd name="T118" fmla="*/ 503502 w 790525"/>
              <a:gd name="T119" fmla="*/ 47062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8" name="object 20">
            <a:extLst>
              <a:ext uri="{FF2B5EF4-FFF2-40B4-BE49-F238E27FC236}">
                <a16:creationId xmlns:a16="http://schemas.microsoft.com/office/drawing/2014/main" id="{2F37D5F4-B5FC-4D12-B8D1-CE88BE7FFDB6}"/>
              </a:ext>
            </a:extLst>
          </p:cNvPr>
          <p:cNvSpPr>
            <a:spLocks/>
          </p:cNvSpPr>
          <p:nvPr/>
        </p:nvSpPr>
        <p:spPr bwMode="auto">
          <a:xfrm>
            <a:off x="3892618" y="328231"/>
            <a:ext cx="4156975" cy="890257"/>
          </a:xfrm>
          <a:custGeom>
            <a:avLst/>
            <a:gdLst>
              <a:gd name="T0" fmla="*/ 0 w 7198220"/>
              <a:gd name="T1" fmla="*/ 1540896 h 1541652"/>
              <a:gd name="T2" fmla="*/ 7196240 w 7198220"/>
              <a:gd name="T3" fmla="*/ 1540896 h 1541652"/>
              <a:gd name="T4" fmla="*/ 7196240 w 7198220"/>
              <a:gd name="T5" fmla="*/ 0 h 1541652"/>
              <a:gd name="T6" fmla="*/ 0 w 7198220"/>
              <a:gd name="T7" fmla="*/ 0 h 1541652"/>
              <a:gd name="T8" fmla="*/ 0 w 7198220"/>
              <a:gd name="T9" fmla="*/ 1540896 h 15416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541652">
                <a:moveTo>
                  <a:pt x="0" y="1541652"/>
                </a:moveTo>
                <a:lnTo>
                  <a:pt x="7198220" y="1541652"/>
                </a:lnTo>
                <a:lnTo>
                  <a:pt x="7198220" y="0"/>
                </a:lnTo>
                <a:lnTo>
                  <a:pt x="0" y="0"/>
                </a:lnTo>
                <a:lnTo>
                  <a:pt x="0" y="1541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09" name="object 21">
            <a:extLst>
              <a:ext uri="{FF2B5EF4-FFF2-40B4-BE49-F238E27FC236}">
                <a16:creationId xmlns:a16="http://schemas.microsoft.com/office/drawing/2014/main" id="{1F909AA3-4664-40DF-A67A-F5B9A872CC14}"/>
              </a:ext>
            </a:extLst>
          </p:cNvPr>
          <p:cNvSpPr>
            <a:spLocks noChangeArrowheads="1"/>
          </p:cNvSpPr>
          <p:nvPr/>
        </p:nvSpPr>
        <p:spPr bwMode="auto">
          <a:xfrm>
            <a:off x="2445" y="2661601"/>
            <a:ext cx="4819854" cy="3658211"/>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1040"/>
          </a:p>
        </p:txBody>
      </p:sp>
      <p:sp>
        <p:nvSpPr>
          <p:cNvPr id="12310" name="object 22">
            <a:extLst>
              <a:ext uri="{FF2B5EF4-FFF2-40B4-BE49-F238E27FC236}">
                <a16:creationId xmlns:a16="http://schemas.microsoft.com/office/drawing/2014/main" id="{94CFC9A7-50B3-43DD-99FB-983638892C8A}"/>
              </a:ext>
            </a:extLst>
          </p:cNvPr>
          <p:cNvSpPr>
            <a:spLocks/>
          </p:cNvSpPr>
          <p:nvPr/>
        </p:nvSpPr>
        <p:spPr bwMode="auto">
          <a:xfrm>
            <a:off x="3892618" y="2303115"/>
            <a:ext cx="4156975" cy="890257"/>
          </a:xfrm>
          <a:custGeom>
            <a:avLst/>
            <a:gdLst>
              <a:gd name="T0" fmla="*/ 0 w 7198220"/>
              <a:gd name="T1" fmla="*/ 1540896 h 1541652"/>
              <a:gd name="T2" fmla="*/ 7196240 w 7198220"/>
              <a:gd name="T3" fmla="*/ 1540896 h 1541652"/>
              <a:gd name="T4" fmla="*/ 7196240 w 7198220"/>
              <a:gd name="T5" fmla="*/ 0 h 1541652"/>
              <a:gd name="T6" fmla="*/ 0 w 7198220"/>
              <a:gd name="T7" fmla="*/ 0 h 1541652"/>
              <a:gd name="T8" fmla="*/ 0 w 7198220"/>
              <a:gd name="T9" fmla="*/ 1540896 h 154165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541652">
                <a:moveTo>
                  <a:pt x="0" y="1541652"/>
                </a:moveTo>
                <a:lnTo>
                  <a:pt x="7198220" y="1541652"/>
                </a:lnTo>
                <a:lnTo>
                  <a:pt x="7198220" y="0"/>
                </a:lnTo>
                <a:lnTo>
                  <a:pt x="0" y="0"/>
                </a:lnTo>
                <a:lnTo>
                  <a:pt x="0" y="15416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11" name="object 23">
            <a:extLst>
              <a:ext uri="{FF2B5EF4-FFF2-40B4-BE49-F238E27FC236}">
                <a16:creationId xmlns:a16="http://schemas.microsoft.com/office/drawing/2014/main" id="{4C57AF47-7202-41BD-9A1F-124663AD3DB5}"/>
              </a:ext>
            </a:extLst>
          </p:cNvPr>
          <p:cNvSpPr>
            <a:spLocks/>
          </p:cNvSpPr>
          <p:nvPr/>
        </p:nvSpPr>
        <p:spPr bwMode="auto">
          <a:xfrm>
            <a:off x="3892618" y="3429917"/>
            <a:ext cx="4156975" cy="609702"/>
          </a:xfrm>
          <a:custGeom>
            <a:avLst/>
            <a:gdLst>
              <a:gd name="T0" fmla="*/ 0 w 7198220"/>
              <a:gd name="T1" fmla="*/ 1055840 h 1055636"/>
              <a:gd name="T2" fmla="*/ 7196240 w 7198220"/>
              <a:gd name="T3" fmla="*/ 1055840 h 1055636"/>
              <a:gd name="T4" fmla="*/ 7196240 w 7198220"/>
              <a:gd name="T5" fmla="*/ 0 h 1055636"/>
              <a:gd name="T6" fmla="*/ 0 w 7198220"/>
              <a:gd name="T7" fmla="*/ 0 h 1055636"/>
              <a:gd name="T8" fmla="*/ 0 w 7198220"/>
              <a:gd name="T9" fmla="*/ 10558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12" name="object 24">
            <a:extLst>
              <a:ext uri="{FF2B5EF4-FFF2-40B4-BE49-F238E27FC236}">
                <a16:creationId xmlns:a16="http://schemas.microsoft.com/office/drawing/2014/main" id="{25A4DAF8-A097-4DEE-BB9B-8F7AEB8D32B4}"/>
              </a:ext>
            </a:extLst>
          </p:cNvPr>
          <p:cNvSpPr>
            <a:spLocks noGrp="1"/>
          </p:cNvSpPr>
          <p:nvPr>
            <p:ph type="title"/>
          </p:nvPr>
        </p:nvSpPr>
        <p:spPr/>
        <p:txBody>
          <a:bodyPr/>
          <a:lstStyle/>
          <a:p>
            <a:pPr marL="3545193"/>
            <a:r>
              <a:rPr lang="en-US" altLang="en-US" sz="2079">
                <a:solidFill>
                  <a:srgbClr val="231F20"/>
                </a:solidFill>
                <a:latin typeface="Gill Sans Light"/>
                <a:ea typeface="Gill Sans Light"/>
                <a:cs typeface="Gill Sans Light"/>
              </a:rPr>
              <a:t>အလုပ်လုပ်ချင်စိတ် ကျဆင်းလာခြင်း</a:t>
            </a:r>
            <a:endParaRPr lang="en-US" altLang="en-US" sz="2079">
              <a:latin typeface="Gill Sans Light"/>
              <a:ea typeface="Gill Sans Light"/>
              <a:cs typeface="Gill Sans Light"/>
            </a:endParaRPr>
          </a:p>
        </p:txBody>
      </p:sp>
      <p:sp>
        <p:nvSpPr>
          <p:cNvPr id="12313" name="object 25">
            <a:extLst>
              <a:ext uri="{FF2B5EF4-FFF2-40B4-BE49-F238E27FC236}">
                <a16:creationId xmlns:a16="http://schemas.microsoft.com/office/drawing/2014/main" id="{3ED62A9A-3D50-481F-A44E-EFAD9834CE25}"/>
              </a:ext>
            </a:extLst>
          </p:cNvPr>
          <p:cNvSpPr>
            <a:spLocks/>
          </p:cNvSpPr>
          <p:nvPr/>
        </p:nvSpPr>
        <p:spPr bwMode="auto">
          <a:xfrm>
            <a:off x="3892618" y="1455950"/>
            <a:ext cx="4156975" cy="609702"/>
          </a:xfrm>
          <a:custGeom>
            <a:avLst/>
            <a:gdLst>
              <a:gd name="T0" fmla="*/ 0 w 7198220"/>
              <a:gd name="T1" fmla="*/ 1055844 h 1055636"/>
              <a:gd name="T2" fmla="*/ 7196240 w 7198220"/>
              <a:gd name="T3" fmla="*/ 1055844 h 1055636"/>
              <a:gd name="T4" fmla="*/ 7196240 w 7198220"/>
              <a:gd name="T5" fmla="*/ 0 h 1055636"/>
              <a:gd name="T6" fmla="*/ 0 w 7198220"/>
              <a:gd name="T7" fmla="*/ 0 h 1055636"/>
              <a:gd name="T8" fmla="*/ 0 w 7198220"/>
              <a:gd name="T9" fmla="*/ 1055844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14" name="object 26">
            <a:extLst>
              <a:ext uri="{FF2B5EF4-FFF2-40B4-BE49-F238E27FC236}">
                <a16:creationId xmlns:a16="http://schemas.microsoft.com/office/drawing/2014/main" id="{A4AEAFEB-35D6-42C7-A2C2-647E90B1FF3B}"/>
              </a:ext>
            </a:extLst>
          </p:cNvPr>
          <p:cNvSpPr>
            <a:spLocks/>
          </p:cNvSpPr>
          <p:nvPr/>
        </p:nvSpPr>
        <p:spPr bwMode="auto">
          <a:xfrm>
            <a:off x="3892618" y="4228489"/>
            <a:ext cx="4156975" cy="609702"/>
          </a:xfrm>
          <a:custGeom>
            <a:avLst/>
            <a:gdLst>
              <a:gd name="T0" fmla="*/ 0 w 7198220"/>
              <a:gd name="T1" fmla="*/ 1055844 h 1055636"/>
              <a:gd name="T2" fmla="*/ 7196240 w 7198220"/>
              <a:gd name="T3" fmla="*/ 1055844 h 1055636"/>
              <a:gd name="T4" fmla="*/ 7196240 w 7198220"/>
              <a:gd name="T5" fmla="*/ 0 h 1055636"/>
              <a:gd name="T6" fmla="*/ 0 w 7198220"/>
              <a:gd name="T7" fmla="*/ 0 h 1055636"/>
              <a:gd name="T8" fmla="*/ 0 w 7198220"/>
              <a:gd name="T9" fmla="*/ 1055844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15" name="object 27">
            <a:extLst>
              <a:ext uri="{FF2B5EF4-FFF2-40B4-BE49-F238E27FC236}">
                <a16:creationId xmlns:a16="http://schemas.microsoft.com/office/drawing/2014/main" id="{E0349C01-6ECC-4F2A-A18A-4B74D887EB94}"/>
              </a:ext>
            </a:extLst>
          </p:cNvPr>
          <p:cNvSpPr>
            <a:spLocks/>
          </p:cNvSpPr>
          <p:nvPr/>
        </p:nvSpPr>
        <p:spPr bwMode="auto">
          <a:xfrm>
            <a:off x="3892618" y="5027061"/>
            <a:ext cx="4156975" cy="609702"/>
          </a:xfrm>
          <a:custGeom>
            <a:avLst/>
            <a:gdLst>
              <a:gd name="T0" fmla="*/ 0 w 7198220"/>
              <a:gd name="T1" fmla="*/ 1055840 h 1055636"/>
              <a:gd name="T2" fmla="*/ 7196240 w 7198220"/>
              <a:gd name="T3" fmla="*/ 1055840 h 1055636"/>
              <a:gd name="T4" fmla="*/ 7196240 w 7198220"/>
              <a:gd name="T5" fmla="*/ 0 h 1055636"/>
              <a:gd name="T6" fmla="*/ 0 w 7198220"/>
              <a:gd name="T7" fmla="*/ 0 h 1055636"/>
              <a:gd name="T8" fmla="*/ 0 w 7198220"/>
              <a:gd name="T9" fmla="*/ 10558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198220" h="1055636">
                <a:moveTo>
                  <a:pt x="0" y="1055636"/>
                </a:moveTo>
                <a:lnTo>
                  <a:pt x="7198220" y="1055636"/>
                </a:lnTo>
                <a:lnTo>
                  <a:pt x="719822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16" name="object 28">
            <a:extLst>
              <a:ext uri="{FF2B5EF4-FFF2-40B4-BE49-F238E27FC236}">
                <a16:creationId xmlns:a16="http://schemas.microsoft.com/office/drawing/2014/main" id="{487C6A91-021C-4B5F-9E2F-9888742B1763}"/>
              </a:ext>
            </a:extLst>
          </p:cNvPr>
          <p:cNvSpPr txBox="1">
            <a:spLocks noChangeArrowheads="1"/>
          </p:cNvSpPr>
          <p:nvPr/>
        </p:nvSpPr>
        <p:spPr bwMode="auto">
          <a:xfrm>
            <a:off x="4208929" y="1539383"/>
            <a:ext cx="3609619" cy="1472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79">
                <a:solidFill>
                  <a:srgbClr val="231F20"/>
                </a:solidFill>
                <a:latin typeface="Gill Sans Light"/>
                <a:ea typeface="Gill Sans Light"/>
                <a:cs typeface="Gill Sans Light"/>
              </a:rPr>
              <a:t>လုပ်နိုင်စွမ်းရည် ကျလာခြင်း</a:t>
            </a:r>
            <a:endParaRPr lang="en-US" altLang="en-US" sz="2079">
              <a:latin typeface="Gill Sans Light"/>
              <a:ea typeface="Gill Sans Light"/>
              <a:cs typeface="Gill Sans Light"/>
            </a:endParaRPr>
          </a:p>
          <a:p>
            <a:pPr>
              <a:lnSpc>
                <a:spcPts val="549"/>
              </a:lnSpc>
              <a:spcBef>
                <a:spcPts val="14"/>
              </a:spcBef>
              <a:buNone/>
            </a:pPr>
            <a:endParaRPr lang="en-US" altLang="en-US" sz="520"/>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eaLnBrk="1" hangingPunct="1">
              <a:lnSpc>
                <a:spcPct val="100000"/>
              </a:lnSpc>
              <a:spcBef>
                <a:spcPct val="0"/>
              </a:spcBef>
              <a:buFontTx/>
              <a:buNone/>
            </a:pPr>
            <a:r>
              <a:rPr lang="en-US" altLang="en-US" sz="2079">
                <a:solidFill>
                  <a:srgbClr val="231F20"/>
                </a:solidFill>
                <a:latin typeface="Gill Sans Light"/>
                <a:ea typeface="Gill Sans Light"/>
                <a:cs typeface="Gill Sans Light"/>
              </a:rPr>
              <a:t>စွမ်းဆောင်ရည်မရှိဟု ခံစားလာရခြင်း</a:t>
            </a:r>
            <a:endParaRPr lang="en-US" altLang="en-US" sz="2079">
              <a:latin typeface="Gill Sans Light"/>
              <a:ea typeface="Gill Sans Light"/>
              <a:cs typeface="Gill Sans Light"/>
            </a:endParaRPr>
          </a:p>
        </p:txBody>
      </p:sp>
      <p:sp>
        <p:nvSpPr>
          <p:cNvPr id="12317" name="object 29">
            <a:extLst>
              <a:ext uri="{FF2B5EF4-FFF2-40B4-BE49-F238E27FC236}">
                <a16:creationId xmlns:a16="http://schemas.microsoft.com/office/drawing/2014/main" id="{3A834AC2-DC77-437C-9887-804BB0609507}"/>
              </a:ext>
            </a:extLst>
          </p:cNvPr>
          <p:cNvSpPr txBox="1">
            <a:spLocks noChangeArrowheads="1"/>
          </p:cNvSpPr>
          <p:nvPr/>
        </p:nvSpPr>
        <p:spPr bwMode="auto">
          <a:xfrm>
            <a:off x="4073237" y="3561943"/>
            <a:ext cx="3947934" cy="22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79">
                <a:solidFill>
                  <a:srgbClr val="231F20"/>
                </a:solidFill>
                <a:latin typeface="Gill Sans Light"/>
                <a:ea typeface="Gill Sans Light"/>
                <a:cs typeface="Gill Sans Light"/>
              </a:rPr>
              <a:t>မျှော်လင့်ချက်တွေ ပျောက်ဆုံးလာြခင်း</a:t>
            </a:r>
            <a:endParaRPr lang="en-US" altLang="en-US" sz="2079">
              <a:latin typeface="Gill Sans Light"/>
              <a:ea typeface="Gill Sans Light"/>
              <a:cs typeface="Gill Sans Light"/>
            </a:endParaRPr>
          </a:p>
        </p:txBody>
      </p:sp>
      <p:sp>
        <p:nvSpPr>
          <p:cNvPr id="12318" name="object 30">
            <a:extLst>
              <a:ext uri="{FF2B5EF4-FFF2-40B4-BE49-F238E27FC236}">
                <a16:creationId xmlns:a16="http://schemas.microsoft.com/office/drawing/2014/main" id="{B501BC82-D0F0-4546-A79F-44EB8FD0253D}"/>
              </a:ext>
            </a:extLst>
          </p:cNvPr>
          <p:cNvSpPr txBox="1">
            <a:spLocks noChangeArrowheads="1"/>
          </p:cNvSpPr>
          <p:nvPr/>
        </p:nvSpPr>
        <p:spPr bwMode="auto">
          <a:xfrm>
            <a:off x="4073236" y="4360514"/>
            <a:ext cx="3004501" cy="151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79">
                <a:solidFill>
                  <a:srgbClr val="231F20"/>
                </a:solidFill>
                <a:latin typeface="Gill Sans Light"/>
                <a:ea typeface="Gill Sans Light"/>
                <a:cs typeface="Gill Sans Light"/>
              </a:rPr>
              <a:t>ပူဆွေး ဝမ်းနည်းခြင်း</a:t>
            </a:r>
            <a:endParaRPr lang="en-US" altLang="en-US" sz="2079">
              <a:latin typeface="Gill Sans Light"/>
              <a:ea typeface="Gill Sans Light"/>
              <a:cs typeface="Gill Sans Light"/>
            </a:endParaRPr>
          </a:p>
        </p:txBody>
      </p:sp>
      <p:sp>
        <p:nvSpPr>
          <p:cNvPr id="31" name="object 31">
            <a:extLst>
              <a:ext uri="{FF2B5EF4-FFF2-40B4-BE49-F238E27FC236}">
                <a16:creationId xmlns:a16="http://schemas.microsoft.com/office/drawing/2014/main" id="{C5B7E9F4-0337-4DD2-9442-E2C97FE21572}"/>
              </a:ext>
            </a:extLst>
          </p:cNvPr>
          <p:cNvSpPr txBox="1"/>
          <p:nvPr/>
        </p:nvSpPr>
        <p:spPr>
          <a:xfrm>
            <a:off x="3911872" y="5159087"/>
            <a:ext cx="4200983" cy="437335"/>
          </a:xfrm>
          <a:prstGeom prst="rect">
            <a:avLst/>
          </a:prstGeom>
        </p:spPr>
        <p:txBody>
          <a:bodyPr lIns="0" tIns="0" rIns="0" bIns="0"/>
          <a:lstStyle/>
          <a:p>
            <a:pPr marL="7334">
              <a:defRPr/>
            </a:pPr>
            <a:r>
              <a:rPr lang="en-US" sz="2079" spc="-104" dirty="0" err="1">
                <a:solidFill>
                  <a:srgbClr val="231F20"/>
                </a:solidFill>
                <a:latin typeface="Gill Sans Light"/>
                <a:cs typeface="Gill Sans Light"/>
              </a:rPr>
              <a:t>အဆိုးမြင်လာခြင်းနှင</a:t>
            </a:r>
            <a:r>
              <a:rPr lang="en-US" sz="2079" spc="-104" dirty="0">
                <a:solidFill>
                  <a:srgbClr val="231F20"/>
                </a:solidFill>
                <a:latin typeface="Gill Sans Light"/>
                <a:cs typeface="Gill Sans Light"/>
              </a:rPr>
              <a:t>့် </a:t>
            </a:r>
            <a:r>
              <a:rPr lang="en-US" sz="2079" spc="-104" dirty="0" err="1">
                <a:solidFill>
                  <a:srgbClr val="231F20"/>
                </a:solidFill>
                <a:latin typeface="Gill Sans Light"/>
                <a:cs typeface="Gill Sans Light"/>
              </a:rPr>
              <a:t>သံသယများလာခြင်း</a:t>
            </a:r>
            <a:endParaRPr sz="2079" dirty="0">
              <a:latin typeface="Gill Sans Light"/>
              <a:cs typeface="Gill Sans Light"/>
            </a:endParaRPr>
          </a:p>
        </p:txBody>
      </p:sp>
      <p:sp>
        <p:nvSpPr>
          <p:cNvPr id="12320" name="object 33">
            <a:extLst>
              <a:ext uri="{FF2B5EF4-FFF2-40B4-BE49-F238E27FC236}">
                <a16:creationId xmlns:a16="http://schemas.microsoft.com/office/drawing/2014/main" id="{0F1B851C-EFD1-4F92-B222-42E3CD077C86}"/>
              </a:ext>
            </a:extLst>
          </p:cNvPr>
          <p:cNvSpPr>
            <a:spLocks/>
          </p:cNvSpPr>
          <p:nvPr/>
        </p:nvSpPr>
        <p:spPr bwMode="auto">
          <a:xfrm>
            <a:off x="3428695" y="506099"/>
            <a:ext cx="272303" cy="434584"/>
          </a:xfrm>
          <a:custGeom>
            <a:avLst/>
            <a:gdLst>
              <a:gd name="T0" fmla="*/ 260517 w 471106"/>
              <a:gd name="T1" fmla="*/ 0 h 752436"/>
              <a:gd name="T2" fmla="*/ 0 w 471106"/>
              <a:gd name="T3" fmla="*/ 420064 h 752436"/>
              <a:gd name="T4" fmla="*/ 200086 w 471106"/>
              <a:gd name="T5" fmla="*/ 429970 h 752436"/>
              <a:gd name="T6" fmla="*/ 469 w 471106"/>
              <a:gd name="T7" fmla="*/ 752592 h 752436"/>
              <a:gd name="T8" fmla="*/ 472632 w 471106"/>
              <a:gd name="T9" fmla="*/ 298713 h 752436"/>
              <a:gd name="T10" fmla="*/ 268939 w 471106"/>
              <a:gd name="T11" fmla="*/ 288629 h 752436"/>
              <a:gd name="T12" fmla="*/ 442346 w 471106"/>
              <a:gd name="T13" fmla="*/ 8966 h 752436"/>
              <a:gd name="T14" fmla="*/ 260517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1" name="object 34">
            <a:extLst>
              <a:ext uri="{FF2B5EF4-FFF2-40B4-BE49-F238E27FC236}">
                <a16:creationId xmlns:a16="http://schemas.microsoft.com/office/drawing/2014/main" id="{BA98351C-C313-4876-9536-C12D684D24AF}"/>
              </a:ext>
            </a:extLst>
          </p:cNvPr>
          <p:cNvSpPr>
            <a:spLocks/>
          </p:cNvSpPr>
          <p:nvPr/>
        </p:nvSpPr>
        <p:spPr bwMode="auto">
          <a:xfrm>
            <a:off x="3204985" y="610619"/>
            <a:ext cx="120106" cy="286056"/>
          </a:xfrm>
          <a:custGeom>
            <a:avLst/>
            <a:gdLst>
              <a:gd name="T0" fmla="*/ 204701 w 207975"/>
              <a:gd name="T1" fmla="*/ 274989 h 496265"/>
              <a:gd name="T2" fmla="*/ 152194 w 207975"/>
              <a:gd name="T3" fmla="*/ 274989 h 496265"/>
              <a:gd name="T4" fmla="*/ 207923 w 207975"/>
              <a:gd name="T5" fmla="*/ 492417 h 496265"/>
              <a:gd name="T6" fmla="*/ 204701 w 207975"/>
              <a:gd name="T7" fmla="*/ 274989 h 496265"/>
              <a:gd name="T8" fmla="*/ 72560 w 207975"/>
              <a:gd name="T9" fmla="*/ 0 h 496265"/>
              <a:gd name="T10" fmla="*/ 0 w 207975"/>
              <a:gd name="T11" fmla="*/ 83812 h 496265"/>
              <a:gd name="T12" fmla="*/ 72344 w 207975"/>
              <a:gd name="T13" fmla="*/ 367195 h 496265"/>
              <a:gd name="T14" fmla="*/ 152194 w 207975"/>
              <a:gd name="T15" fmla="*/ 274989 h 496265"/>
              <a:gd name="T16" fmla="*/ 204701 w 207975"/>
              <a:gd name="T17" fmla="*/ 274989 h 496265"/>
              <a:gd name="T18" fmla="*/ 203421 w 207975"/>
              <a:gd name="T19" fmla="*/ 188656 h 496265"/>
              <a:gd name="T20" fmla="*/ 120732 w 207975"/>
              <a:gd name="T21" fmla="*/ 188656 h 496265"/>
              <a:gd name="T22" fmla="*/ 72560 w 207975"/>
              <a:gd name="T23" fmla="*/ 0 h 496265"/>
              <a:gd name="T24" fmla="*/ 202030 w 207975"/>
              <a:gd name="T25" fmla="*/ 94775 h 496265"/>
              <a:gd name="T26" fmla="*/ 120732 w 207975"/>
              <a:gd name="T27" fmla="*/ 188656 h 496265"/>
              <a:gd name="T28" fmla="*/ 203421 w 207975"/>
              <a:gd name="T29" fmla="*/ 188656 h 496265"/>
              <a:gd name="T30" fmla="*/ 202030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2" name="object 35">
            <a:extLst>
              <a:ext uri="{FF2B5EF4-FFF2-40B4-BE49-F238E27FC236}">
                <a16:creationId xmlns:a16="http://schemas.microsoft.com/office/drawing/2014/main" id="{75C0940B-9384-4232-81D1-0A6E16F8CD12}"/>
              </a:ext>
            </a:extLst>
          </p:cNvPr>
          <p:cNvSpPr>
            <a:spLocks/>
          </p:cNvSpPr>
          <p:nvPr/>
        </p:nvSpPr>
        <p:spPr bwMode="auto">
          <a:xfrm>
            <a:off x="3428695" y="2480066"/>
            <a:ext cx="272303" cy="434584"/>
          </a:xfrm>
          <a:custGeom>
            <a:avLst/>
            <a:gdLst>
              <a:gd name="T0" fmla="*/ 260517 w 471106"/>
              <a:gd name="T1" fmla="*/ 0 h 752436"/>
              <a:gd name="T2" fmla="*/ 0 w 471106"/>
              <a:gd name="T3" fmla="*/ 420064 h 752436"/>
              <a:gd name="T4" fmla="*/ 200086 w 471106"/>
              <a:gd name="T5" fmla="*/ 429970 h 752436"/>
              <a:gd name="T6" fmla="*/ 469 w 471106"/>
              <a:gd name="T7" fmla="*/ 752592 h 752436"/>
              <a:gd name="T8" fmla="*/ 472632 w 471106"/>
              <a:gd name="T9" fmla="*/ 298713 h 752436"/>
              <a:gd name="T10" fmla="*/ 268939 w 471106"/>
              <a:gd name="T11" fmla="*/ 288629 h 752436"/>
              <a:gd name="T12" fmla="*/ 442346 w 471106"/>
              <a:gd name="T13" fmla="*/ 8966 h 752436"/>
              <a:gd name="T14" fmla="*/ 260517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3" name="object 36">
            <a:extLst>
              <a:ext uri="{FF2B5EF4-FFF2-40B4-BE49-F238E27FC236}">
                <a16:creationId xmlns:a16="http://schemas.microsoft.com/office/drawing/2014/main" id="{2F830BEA-EF2B-47BD-BFCC-5471F392AF2E}"/>
              </a:ext>
            </a:extLst>
          </p:cNvPr>
          <p:cNvSpPr>
            <a:spLocks/>
          </p:cNvSpPr>
          <p:nvPr/>
        </p:nvSpPr>
        <p:spPr bwMode="auto">
          <a:xfrm>
            <a:off x="3204985" y="2584586"/>
            <a:ext cx="120106" cy="286056"/>
          </a:xfrm>
          <a:custGeom>
            <a:avLst/>
            <a:gdLst>
              <a:gd name="T0" fmla="*/ 204701 w 207975"/>
              <a:gd name="T1" fmla="*/ 274989 h 496265"/>
              <a:gd name="T2" fmla="*/ 152194 w 207975"/>
              <a:gd name="T3" fmla="*/ 274989 h 496265"/>
              <a:gd name="T4" fmla="*/ 207923 w 207975"/>
              <a:gd name="T5" fmla="*/ 492417 h 496265"/>
              <a:gd name="T6" fmla="*/ 204701 w 207975"/>
              <a:gd name="T7" fmla="*/ 274989 h 496265"/>
              <a:gd name="T8" fmla="*/ 72560 w 207975"/>
              <a:gd name="T9" fmla="*/ 0 h 496265"/>
              <a:gd name="T10" fmla="*/ 0 w 207975"/>
              <a:gd name="T11" fmla="*/ 83812 h 496265"/>
              <a:gd name="T12" fmla="*/ 72344 w 207975"/>
              <a:gd name="T13" fmla="*/ 367195 h 496265"/>
              <a:gd name="T14" fmla="*/ 152194 w 207975"/>
              <a:gd name="T15" fmla="*/ 274989 h 496265"/>
              <a:gd name="T16" fmla="*/ 204701 w 207975"/>
              <a:gd name="T17" fmla="*/ 274989 h 496265"/>
              <a:gd name="T18" fmla="*/ 203421 w 207975"/>
              <a:gd name="T19" fmla="*/ 188656 h 496265"/>
              <a:gd name="T20" fmla="*/ 120732 w 207975"/>
              <a:gd name="T21" fmla="*/ 188656 h 496265"/>
              <a:gd name="T22" fmla="*/ 72560 w 207975"/>
              <a:gd name="T23" fmla="*/ 0 h 496265"/>
              <a:gd name="T24" fmla="*/ 202030 w 207975"/>
              <a:gd name="T25" fmla="*/ 94775 h 496265"/>
              <a:gd name="T26" fmla="*/ 120732 w 207975"/>
              <a:gd name="T27" fmla="*/ 188656 h 496265"/>
              <a:gd name="T28" fmla="*/ 203421 w 207975"/>
              <a:gd name="T29" fmla="*/ 188656 h 496265"/>
              <a:gd name="T30" fmla="*/ 202030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4" name="object 37">
            <a:extLst>
              <a:ext uri="{FF2B5EF4-FFF2-40B4-BE49-F238E27FC236}">
                <a16:creationId xmlns:a16="http://schemas.microsoft.com/office/drawing/2014/main" id="{52B9B434-1F79-44B3-86DE-211CC2E8B99D}"/>
              </a:ext>
            </a:extLst>
          </p:cNvPr>
          <p:cNvSpPr>
            <a:spLocks/>
          </p:cNvSpPr>
          <p:nvPr/>
        </p:nvSpPr>
        <p:spPr bwMode="auto">
          <a:xfrm>
            <a:off x="3428695" y="1620982"/>
            <a:ext cx="272303" cy="434584"/>
          </a:xfrm>
          <a:custGeom>
            <a:avLst/>
            <a:gdLst>
              <a:gd name="T0" fmla="*/ 260517 w 471106"/>
              <a:gd name="T1" fmla="*/ 0 h 752436"/>
              <a:gd name="T2" fmla="*/ 0 w 471106"/>
              <a:gd name="T3" fmla="*/ 420064 h 752436"/>
              <a:gd name="T4" fmla="*/ 200086 w 471106"/>
              <a:gd name="T5" fmla="*/ 429970 h 752436"/>
              <a:gd name="T6" fmla="*/ 469 w 471106"/>
              <a:gd name="T7" fmla="*/ 752592 h 752436"/>
              <a:gd name="T8" fmla="*/ 472632 w 471106"/>
              <a:gd name="T9" fmla="*/ 298713 h 752436"/>
              <a:gd name="T10" fmla="*/ 268939 w 471106"/>
              <a:gd name="T11" fmla="*/ 288629 h 752436"/>
              <a:gd name="T12" fmla="*/ 442346 w 471106"/>
              <a:gd name="T13" fmla="*/ 8966 h 752436"/>
              <a:gd name="T14" fmla="*/ 260517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5" name="object 38">
            <a:extLst>
              <a:ext uri="{FF2B5EF4-FFF2-40B4-BE49-F238E27FC236}">
                <a16:creationId xmlns:a16="http://schemas.microsoft.com/office/drawing/2014/main" id="{CBB7F83F-2B70-43EF-82DF-B52C927D6418}"/>
              </a:ext>
            </a:extLst>
          </p:cNvPr>
          <p:cNvSpPr>
            <a:spLocks/>
          </p:cNvSpPr>
          <p:nvPr/>
        </p:nvSpPr>
        <p:spPr bwMode="auto">
          <a:xfrm>
            <a:off x="3204985" y="1725502"/>
            <a:ext cx="120106" cy="286056"/>
          </a:xfrm>
          <a:custGeom>
            <a:avLst/>
            <a:gdLst>
              <a:gd name="T0" fmla="*/ 204701 w 207975"/>
              <a:gd name="T1" fmla="*/ 274989 h 496265"/>
              <a:gd name="T2" fmla="*/ 152194 w 207975"/>
              <a:gd name="T3" fmla="*/ 274989 h 496265"/>
              <a:gd name="T4" fmla="*/ 207923 w 207975"/>
              <a:gd name="T5" fmla="*/ 492417 h 496265"/>
              <a:gd name="T6" fmla="*/ 204701 w 207975"/>
              <a:gd name="T7" fmla="*/ 274989 h 496265"/>
              <a:gd name="T8" fmla="*/ 72560 w 207975"/>
              <a:gd name="T9" fmla="*/ 0 h 496265"/>
              <a:gd name="T10" fmla="*/ 0 w 207975"/>
              <a:gd name="T11" fmla="*/ 83812 h 496265"/>
              <a:gd name="T12" fmla="*/ 72344 w 207975"/>
              <a:gd name="T13" fmla="*/ 367195 h 496265"/>
              <a:gd name="T14" fmla="*/ 152194 w 207975"/>
              <a:gd name="T15" fmla="*/ 274989 h 496265"/>
              <a:gd name="T16" fmla="*/ 204701 w 207975"/>
              <a:gd name="T17" fmla="*/ 274989 h 496265"/>
              <a:gd name="T18" fmla="*/ 203421 w 207975"/>
              <a:gd name="T19" fmla="*/ 188656 h 496265"/>
              <a:gd name="T20" fmla="*/ 120732 w 207975"/>
              <a:gd name="T21" fmla="*/ 188656 h 496265"/>
              <a:gd name="T22" fmla="*/ 72560 w 207975"/>
              <a:gd name="T23" fmla="*/ 0 h 496265"/>
              <a:gd name="T24" fmla="*/ 202030 w 207975"/>
              <a:gd name="T25" fmla="*/ 94775 h 496265"/>
              <a:gd name="T26" fmla="*/ 120732 w 207975"/>
              <a:gd name="T27" fmla="*/ 188656 h 496265"/>
              <a:gd name="T28" fmla="*/ 203421 w 207975"/>
              <a:gd name="T29" fmla="*/ 188656 h 496265"/>
              <a:gd name="T30" fmla="*/ 202030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6" name="object 39">
            <a:extLst>
              <a:ext uri="{FF2B5EF4-FFF2-40B4-BE49-F238E27FC236}">
                <a16:creationId xmlns:a16="http://schemas.microsoft.com/office/drawing/2014/main" id="{8EF6487E-0FCA-403A-B490-008B3D002B54}"/>
              </a:ext>
            </a:extLst>
          </p:cNvPr>
          <p:cNvSpPr>
            <a:spLocks/>
          </p:cNvSpPr>
          <p:nvPr/>
        </p:nvSpPr>
        <p:spPr bwMode="auto">
          <a:xfrm>
            <a:off x="3428695" y="3583030"/>
            <a:ext cx="272303" cy="434584"/>
          </a:xfrm>
          <a:custGeom>
            <a:avLst/>
            <a:gdLst>
              <a:gd name="T0" fmla="*/ 260517 w 471106"/>
              <a:gd name="T1" fmla="*/ 0 h 752436"/>
              <a:gd name="T2" fmla="*/ 0 w 471106"/>
              <a:gd name="T3" fmla="*/ 420064 h 752436"/>
              <a:gd name="T4" fmla="*/ 200086 w 471106"/>
              <a:gd name="T5" fmla="*/ 429970 h 752436"/>
              <a:gd name="T6" fmla="*/ 469 w 471106"/>
              <a:gd name="T7" fmla="*/ 752592 h 752436"/>
              <a:gd name="T8" fmla="*/ 472632 w 471106"/>
              <a:gd name="T9" fmla="*/ 298713 h 752436"/>
              <a:gd name="T10" fmla="*/ 268939 w 471106"/>
              <a:gd name="T11" fmla="*/ 288629 h 752436"/>
              <a:gd name="T12" fmla="*/ 442346 w 471106"/>
              <a:gd name="T13" fmla="*/ 8966 h 752436"/>
              <a:gd name="T14" fmla="*/ 260517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7" name="object 40">
            <a:extLst>
              <a:ext uri="{FF2B5EF4-FFF2-40B4-BE49-F238E27FC236}">
                <a16:creationId xmlns:a16="http://schemas.microsoft.com/office/drawing/2014/main" id="{27429831-091B-4132-A222-FF293C4C01F3}"/>
              </a:ext>
            </a:extLst>
          </p:cNvPr>
          <p:cNvSpPr>
            <a:spLocks/>
          </p:cNvSpPr>
          <p:nvPr/>
        </p:nvSpPr>
        <p:spPr bwMode="auto">
          <a:xfrm>
            <a:off x="3204985" y="3686634"/>
            <a:ext cx="120106" cy="286972"/>
          </a:xfrm>
          <a:custGeom>
            <a:avLst/>
            <a:gdLst>
              <a:gd name="T0" fmla="*/ 204701 w 207975"/>
              <a:gd name="T1" fmla="*/ 278531 h 496265"/>
              <a:gd name="T2" fmla="*/ 152194 w 207975"/>
              <a:gd name="T3" fmla="*/ 278531 h 496265"/>
              <a:gd name="T4" fmla="*/ 207923 w 207975"/>
              <a:gd name="T5" fmla="*/ 498758 h 496265"/>
              <a:gd name="T6" fmla="*/ 204701 w 207975"/>
              <a:gd name="T7" fmla="*/ 278531 h 496265"/>
              <a:gd name="T8" fmla="*/ 72560 w 207975"/>
              <a:gd name="T9" fmla="*/ 0 h 496265"/>
              <a:gd name="T10" fmla="*/ 0 w 207975"/>
              <a:gd name="T11" fmla="*/ 84891 h 496265"/>
              <a:gd name="T12" fmla="*/ 72344 w 207975"/>
              <a:gd name="T13" fmla="*/ 371924 h 496265"/>
              <a:gd name="T14" fmla="*/ 152194 w 207975"/>
              <a:gd name="T15" fmla="*/ 278531 h 496265"/>
              <a:gd name="T16" fmla="*/ 204701 w 207975"/>
              <a:gd name="T17" fmla="*/ 278531 h 496265"/>
              <a:gd name="T18" fmla="*/ 203421 w 207975"/>
              <a:gd name="T19" fmla="*/ 191086 h 496265"/>
              <a:gd name="T20" fmla="*/ 120732 w 207975"/>
              <a:gd name="T21" fmla="*/ 191086 h 496265"/>
              <a:gd name="T22" fmla="*/ 72560 w 207975"/>
              <a:gd name="T23" fmla="*/ 0 h 496265"/>
              <a:gd name="T24" fmla="*/ 202030 w 207975"/>
              <a:gd name="T25" fmla="*/ 95996 h 496265"/>
              <a:gd name="T26" fmla="*/ 120732 w 207975"/>
              <a:gd name="T27" fmla="*/ 191086 h 496265"/>
              <a:gd name="T28" fmla="*/ 203421 w 207975"/>
              <a:gd name="T29" fmla="*/ 191086 h 496265"/>
              <a:gd name="T30" fmla="*/ 202030 w 207975"/>
              <a:gd name="T31" fmla="*/ 95996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8" name="object 41">
            <a:extLst>
              <a:ext uri="{FF2B5EF4-FFF2-40B4-BE49-F238E27FC236}">
                <a16:creationId xmlns:a16="http://schemas.microsoft.com/office/drawing/2014/main" id="{95761019-ACFF-4A84-A380-464002FAA1C9}"/>
              </a:ext>
            </a:extLst>
          </p:cNvPr>
          <p:cNvSpPr>
            <a:spLocks/>
          </p:cNvSpPr>
          <p:nvPr/>
        </p:nvSpPr>
        <p:spPr bwMode="auto">
          <a:xfrm>
            <a:off x="3428695" y="4381603"/>
            <a:ext cx="272303" cy="434584"/>
          </a:xfrm>
          <a:custGeom>
            <a:avLst/>
            <a:gdLst>
              <a:gd name="T0" fmla="*/ 260517 w 471106"/>
              <a:gd name="T1" fmla="*/ 0 h 752436"/>
              <a:gd name="T2" fmla="*/ 0 w 471106"/>
              <a:gd name="T3" fmla="*/ 420064 h 752436"/>
              <a:gd name="T4" fmla="*/ 200086 w 471106"/>
              <a:gd name="T5" fmla="*/ 429970 h 752436"/>
              <a:gd name="T6" fmla="*/ 469 w 471106"/>
              <a:gd name="T7" fmla="*/ 752592 h 752436"/>
              <a:gd name="T8" fmla="*/ 472632 w 471106"/>
              <a:gd name="T9" fmla="*/ 298713 h 752436"/>
              <a:gd name="T10" fmla="*/ 268939 w 471106"/>
              <a:gd name="T11" fmla="*/ 288629 h 752436"/>
              <a:gd name="T12" fmla="*/ 442346 w 471106"/>
              <a:gd name="T13" fmla="*/ 8966 h 752436"/>
              <a:gd name="T14" fmla="*/ 260517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29" name="object 42">
            <a:extLst>
              <a:ext uri="{FF2B5EF4-FFF2-40B4-BE49-F238E27FC236}">
                <a16:creationId xmlns:a16="http://schemas.microsoft.com/office/drawing/2014/main" id="{5D7AC83A-39F2-4E7E-92E7-E12233FFDE6A}"/>
              </a:ext>
            </a:extLst>
          </p:cNvPr>
          <p:cNvSpPr>
            <a:spLocks/>
          </p:cNvSpPr>
          <p:nvPr/>
        </p:nvSpPr>
        <p:spPr bwMode="auto">
          <a:xfrm>
            <a:off x="3204985" y="4485205"/>
            <a:ext cx="120106" cy="286973"/>
          </a:xfrm>
          <a:custGeom>
            <a:avLst/>
            <a:gdLst>
              <a:gd name="T0" fmla="*/ 204701 w 207975"/>
              <a:gd name="T1" fmla="*/ 278533 h 496265"/>
              <a:gd name="T2" fmla="*/ 152194 w 207975"/>
              <a:gd name="T3" fmla="*/ 278533 h 496265"/>
              <a:gd name="T4" fmla="*/ 207923 w 207975"/>
              <a:gd name="T5" fmla="*/ 498762 h 496265"/>
              <a:gd name="T6" fmla="*/ 204701 w 207975"/>
              <a:gd name="T7" fmla="*/ 278533 h 496265"/>
              <a:gd name="T8" fmla="*/ 72560 w 207975"/>
              <a:gd name="T9" fmla="*/ 0 h 496265"/>
              <a:gd name="T10" fmla="*/ 0 w 207975"/>
              <a:gd name="T11" fmla="*/ 84891 h 496265"/>
              <a:gd name="T12" fmla="*/ 72344 w 207975"/>
              <a:gd name="T13" fmla="*/ 371927 h 496265"/>
              <a:gd name="T14" fmla="*/ 152194 w 207975"/>
              <a:gd name="T15" fmla="*/ 278533 h 496265"/>
              <a:gd name="T16" fmla="*/ 204701 w 207975"/>
              <a:gd name="T17" fmla="*/ 278533 h 496265"/>
              <a:gd name="T18" fmla="*/ 203421 w 207975"/>
              <a:gd name="T19" fmla="*/ 191088 h 496265"/>
              <a:gd name="T20" fmla="*/ 120732 w 207975"/>
              <a:gd name="T21" fmla="*/ 191088 h 496265"/>
              <a:gd name="T22" fmla="*/ 72560 w 207975"/>
              <a:gd name="T23" fmla="*/ 0 h 496265"/>
              <a:gd name="T24" fmla="*/ 202030 w 207975"/>
              <a:gd name="T25" fmla="*/ 95996 h 496265"/>
              <a:gd name="T26" fmla="*/ 120732 w 207975"/>
              <a:gd name="T27" fmla="*/ 191088 h 496265"/>
              <a:gd name="T28" fmla="*/ 203421 w 207975"/>
              <a:gd name="T29" fmla="*/ 191088 h 496265"/>
              <a:gd name="T30" fmla="*/ 202030 w 207975"/>
              <a:gd name="T31" fmla="*/ 95996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30" name="object 43">
            <a:extLst>
              <a:ext uri="{FF2B5EF4-FFF2-40B4-BE49-F238E27FC236}">
                <a16:creationId xmlns:a16="http://schemas.microsoft.com/office/drawing/2014/main" id="{1D040F52-FAAA-48DA-9356-05B944894A7E}"/>
              </a:ext>
            </a:extLst>
          </p:cNvPr>
          <p:cNvSpPr>
            <a:spLocks/>
          </p:cNvSpPr>
          <p:nvPr/>
        </p:nvSpPr>
        <p:spPr bwMode="auto">
          <a:xfrm>
            <a:off x="3428695" y="5179258"/>
            <a:ext cx="272303" cy="434584"/>
          </a:xfrm>
          <a:custGeom>
            <a:avLst/>
            <a:gdLst>
              <a:gd name="T0" fmla="*/ 260517 w 471106"/>
              <a:gd name="T1" fmla="*/ 0 h 752436"/>
              <a:gd name="T2" fmla="*/ 0 w 471106"/>
              <a:gd name="T3" fmla="*/ 420064 h 752436"/>
              <a:gd name="T4" fmla="*/ 200086 w 471106"/>
              <a:gd name="T5" fmla="*/ 429970 h 752436"/>
              <a:gd name="T6" fmla="*/ 469 w 471106"/>
              <a:gd name="T7" fmla="*/ 752592 h 752436"/>
              <a:gd name="T8" fmla="*/ 472632 w 471106"/>
              <a:gd name="T9" fmla="*/ 298713 h 752436"/>
              <a:gd name="T10" fmla="*/ 268939 w 471106"/>
              <a:gd name="T11" fmla="*/ 288629 h 752436"/>
              <a:gd name="T12" fmla="*/ 442346 w 471106"/>
              <a:gd name="T13" fmla="*/ 8966 h 752436"/>
              <a:gd name="T14" fmla="*/ 260517 w 471106"/>
              <a:gd name="T15" fmla="*/ 0 h 75243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71106" h="752436">
                <a:moveTo>
                  <a:pt x="259676" y="0"/>
                </a:moveTo>
                <a:lnTo>
                  <a:pt x="0" y="419976"/>
                </a:lnTo>
                <a:lnTo>
                  <a:pt x="199440" y="429882"/>
                </a:lnTo>
                <a:lnTo>
                  <a:pt x="469" y="752436"/>
                </a:lnTo>
                <a:lnTo>
                  <a:pt x="471106" y="298653"/>
                </a:lnTo>
                <a:lnTo>
                  <a:pt x="268071" y="288569"/>
                </a:lnTo>
                <a:lnTo>
                  <a:pt x="440918" y="8966"/>
                </a:lnTo>
                <a:lnTo>
                  <a:pt x="259676"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31" name="object 44">
            <a:extLst>
              <a:ext uri="{FF2B5EF4-FFF2-40B4-BE49-F238E27FC236}">
                <a16:creationId xmlns:a16="http://schemas.microsoft.com/office/drawing/2014/main" id="{2723C9B8-E3E4-46CE-8498-DE2DFE82CE0C}"/>
              </a:ext>
            </a:extLst>
          </p:cNvPr>
          <p:cNvSpPr>
            <a:spLocks/>
          </p:cNvSpPr>
          <p:nvPr/>
        </p:nvSpPr>
        <p:spPr bwMode="auto">
          <a:xfrm>
            <a:off x="3204985" y="5283777"/>
            <a:ext cx="120106" cy="286056"/>
          </a:xfrm>
          <a:custGeom>
            <a:avLst/>
            <a:gdLst>
              <a:gd name="T0" fmla="*/ 204701 w 207975"/>
              <a:gd name="T1" fmla="*/ 274989 h 496265"/>
              <a:gd name="T2" fmla="*/ 152194 w 207975"/>
              <a:gd name="T3" fmla="*/ 274989 h 496265"/>
              <a:gd name="T4" fmla="*/ 207923 w 207975"/>
              <a:gd name="T5" fmla="*/ 492417 h 496265"/>
              <a:gd name="T6" fmla="*/ 204701 w 207975"/>
              <a:gd name="T7" fmla="*/ 274989 h 496265"/>
              <a:gd name="T8" fmla="*/ 72560 w 207975"/>
              <a:gd name="T9" fmla="*/ 0 h 496265"/>
              <a:gd name="T10" fmla="*/ 0 w 207975"/>
              <a:gd name="T11" fmla="*/ 83812 h 496265"/>
              <a:gd name="T12" fmla="*/ 72344 w 207975"/>
              <a:gd name="T13" fmla="*/ 367195 h 496265"/>
              <a:gd name="T14" fmla="*/ 152194 w 207975"/>
              <a:gd name="T15" fmla="*/ 274989 h 496265"/>
              <a:gd name="T16" fmla="*/ 204701 w 207975"/>
              <a:gd name="T17" fmla="*/ 274989 h 496265"/>
              <a:gd name="T18" fmla="*/ 203421 w 207975"/>
              <a:gd name="T19" fmla="*/ 188656 h 496265"/>
              <a:gd name="T20" fmla="*/ 120732 w 207975"/>
              <a:gd name="T21" fmla="*/ 188656 h 496265"/>
              <a:gd name="T22" fmla="*/ 72560 w 207975"/>
              <a:gd name="T23" fmla="*/ 0 h 496265"/>
              <a:gd name="T24" fmla="*/ 202030 w 207975"/>
              <a:gd name="T25" fmla="*/ 94775 h 496265"/>
              <a:gd name="T26" fmla="*/ 120732 w 207975"/>
              <a:gd name="T27" fmla="*/ 188656 h 496265"/>
              <a:gd name="T28" fmla="*/ 203421 w 207975"/>
              <a:gd name="T29" fmla="*/ 188656 h 496265"/>
              <a:gd name="T30" fmla="*/ 202030 w 207975"/>
              <a:gd name="T31" fmla="*/ 94775 h 4962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07975" h="496265">
                <a:moveTo>
                  <a:pt x="204753" y="277139"/>
                </a:moveTo>
                <a:lnTo>
                  <a:pt x="152234" y="277139"/>
                </a:lnTo>
                <a:lnTo>
                  <a:pt x="207975" y="496265"/>
                </a:lnTo>
                <a:lnTo>
                  <a:pt x="204753" y="277139"/>
                </a:lnTo>
                <a:close/>
              </a:path>
              <a:path w="207975" h="496265">
                <a:moveTo>
                  <a:pt x="72580" y="0"/>
                </a:moveTo>
                <a:lnTo>
                  <a:pt x="0" y="84467"/>
                </a:lnTo>
                <a:lnTo>
                  <a:pt x="72364" y="370065"/>
                </a:lnTo>
                <a:lnTo>
                  <a:pt x="152234" y="277139"/>
                </a:lnTo>
                <a:lnTo>
                  <a:pt x="204753" y="277139"/>
                </a:lnTo>
                <a:lnTo>
                  <a:pt x="203473" y="190131"/>
                </a:lnTo>
                <a:lnTo>
                  <a:pt x="120764" y="190131"/>
                </a:lnTo>
                <a:lnTo>
                  <a:pt x="72580" y="0"/>
                </a:lnTo>
                <a:close/>
              </a:path>
              <a:path w="207975" h="496265">
                <a:moveTo>
                  <a:pt x="202082" y="95516"/>
                </a:moveTo>
                <a:lnTo>
                  <a:pt x="120764" y="190131"/>
                </a:lnTo>
                <a:lnTo>
                  <a:pt x="203473" y="190131"/>
                </a:lnTo>
                <a:lnTo>
                  <a:pt x="202082" y="9551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2332" name="object 45">
            <a:extLst>
              <a:ext uri="{FF2B5EF4-FFF2-40B4-BE49-F238E27FC236}">
                <a16:creationId xmlns:a16="http://schemas.microsoft.com/office/drawing/2014/main" id="{DA9C654E-7D4F-4435-90B5-927993279073}"/>
              </a:ext>
            </a:extLst>
          </p:cNvPr>
          <p:cNvSpPr>
            <a:spLocks/>
          </p:cNvSpPr>
          <p:nvPr/>
        </p:nvSpPr>
        <p:spPr bwMode="auto">
          <a:xfrm>
            <a:off x="591059" y="2688189"/>
            <a:ext cx="1990471" cy="2735865"/>
          </a:xfrm>
          <a:custGeom>
            <a:avLst/>
            <a:gdLst>
              <a:gd name="T0" fmla="*/ 2145912 w 3446153"/>
              <a:gd name="T1" fmla="*/ 4711700 h 4737100"/>
              <a:gd name="T2" fmla="*/ 2088134 w 3446153"/>
              <a:gd name="T3" fmla="*/ 4584700 h 4737100"/>
              <a:gd name="T4" fmla="*/ 2499781 w 3446153"/>
              <a:gd name="T5" fmla="*/ 4699000 h 4737100"/>
              <a:gd name="T6" fmla="*/ 3215584 w 3446153"/>
              <a:gd name="T7" fmla="*/ 4610100 h 4737100"/>
              <a:gd name="T8" fmla="*/ 3368959 w 3446153"/>
              <a:gd name="T9" fmla="*/ 508000 h 4737100"/>
              <a:gd name="T10" fmla="*/ 952654 w 3446153"/>
              <a:gd name="T11" fmla="*/ 863600 h 4737100"/>
              <a:gd name="T12" fmla="*/ 592478 w 3446153"/>
              <a:gd name="T13" fmla="*/ 1295400 h 4737100"/>
              <a:gd name="T14" fmla="*/ 346718 w 3446153"/>
              <a:gd name="T15" fmla="*/ 1651000 h 4737100"/>
              <a:gd name="T16" fmla="*/ 201827 w 3446153"/>
              <a:gd name="T17" fmla="*/ 1917700 h 4737100"/>
              <a:gd name="T18" fmla="*/ 88829 w 3446153"/>
              <a:gd name="T19" fmla="*/ 2235200 h 4737100"/>
              <a:gd name="T20" fmla="*/ 87285 w 3446153"/>
              <a:gd name="T21" fmla="*/ 2705100 h 4737100"/>
              <a:gd name="T22" fmla="*/ 7035 w 3446153"/>
              <a:gd name="T23" fmla="*/ 2844800 h 4737100"/>
              <a:gd name="T24" fmla="*/ 1709176 w 3446153"/>
              <a:gd name="T25" fmla="*/ 3898900 h 4737100"/>
              <a:gd name="T26" fmla="*/ 2793974 w 3446153"/>
              <a:gd name="T27" fmla="*/ 3136900 h 4737100"/>
              <a:gd name="T28" fmla="*/ 2784943 w 3446153"/>
              <a:gd name="T29" fmla="*/ 2730500 h 4737100"/>
              <a:gd name="T30" fmla="*/ 2721234 w 3446153"/>
              <a:gd name="T31" fmla="*/ 2387600 h 4737100"/>
              <a:gd name="T32" fmla="*/ 2605549 w 3446153"/>
              <a:gd name="T33" fmla="*/ 2286000 h 4737100"/>
              <a:gd name="T34" fmla="*/ 2409323 w 3446153"/>
              <a:gd name="T35" fmla="*/ 2209800 h 4737100"/>
              <a:gd name="T36" fmla="*/ 1596171 w 3446153"/>
              <a:gd name="T37" fmla="*/ 2120900 h 4737100"/>
              <a:gd name="T38" fmla="*/ 1840701 w 3446153"/>
              <a:gd name="T39" fmla="*/ 1955800 h 4737100"/>
              <a:gd name="T40" fmla="*/ 2573334 w 3446153"/>
              <a:gd name="T41" fmla="*/ 1790700 h 4737100"/>
              <a:gd name="T42" fmla="*/ 2297019 w 3446153"/>
              <a:gd name="T43" fmla="*/ 1485900 h 4737100"/>
              <a:gd name="T44" fmla="*/ 2248280 w 3446153"/>
              <a:gd name="T45" fmla="*/ 1028700 h 4737100"/>
              <a:gd name="T46" fmla="*/ 3390328 w 3446153"/>
              <a:gd name="T47" fmla="*/ 876300 h 4737100"/>
              <a:gd name="T48" fmla="*/ 3411257 w 3446153"/>
              <a:gd name="T49" fmla="*/ 749300 h 4737100"/>
              <a:gd name="T50" fmla="*/ 3372335 w 3446153"/>
              <a:gd name="T51" fmla="*/ 546100 h 4737100"/>
              <a:gd name="T52" fmla="*/ 2108250 w 3446153"/>
              <a:gd name="T53" fmla="*/ 4508500 h 4737100"/>
              <a:gd name="T54" fmla="*/ 1959359 w 3446153"/>
              <a:gd name="T55" fmla="*/ 4495800 h 4737100"/>
              <a:gd name="T56" fmla="*/ 1897699 w 3446153"/>
              <a:gd name="T57" fmla="*/ 4483100 h 4737100"/>
              <a:gd name="T58" fmla="*/ 2793706 w 3446153"/>
              <a:gd name="T59" fmla="*/ 4432300 h 4737100"/>
              <a:gd name="T60" fmla="*/ 2736464 w 3446153"/>
              <a:gd name="T61" fmla="*/ 4330700 h 4737100"/>
              <a:gd name="T62" fmla="*/ 1957961 w 3446153"/>
              <a:gd name="T63" fmla="*/ 3238500 h 4737100"/>
              <a:gd name="T64" fmla="*/ 1909228 w 3446153"/>
              <a:gd name="T65" fmla="*/ 3594100 h 4737100"/>
              <a:gd name="T66" fmla="*/ 1912201 w 3446153"/>
              <a:gd name="T67" fmla="*/ 4013200 h 4737100"/>
              <a:gd name="T68" fmla="*/ 2760848 w 3446153"/>
              <a:gd name="T69" fmla="*/ 4318000 h 4737100"/>
              <a:gd name="T70" fmla="*/ 2837873 w 3446153"/>
              <a:gd name="T71" fmla="*/ 4203700 h 4737100"/>
              <a:gd name="T72" fmla="*/ 2793900 w 3446153"/>
              <a:gd name="T73" fmla="*/ 3860800 h 4737100"/>
              <a:gd name="T74" fmla="*/ 2796567 w 3446153"/>
              <a:gd name="T75" fmla="*/ 3289300 h 4737100"/>
              <a:gd name="T76" fmla="*/ 1727058 w 3446153"/>
              <a:gd name="T77" fmla="*/ 3162300 h 4737100"/>
              <a:gd name="T78" fmla="*/ 1937818 w 3446153"/>
              <a:gd name="T79" fmla="*/ 2095500 h 4737100"/>
              <a:gd name="T80" fmla="*/ 2523802 w 3446153"/>
              <a:gd name="T81" fmla="*/ 1981200 h 4737100"/>
              <a:gd name="T82" fmla="*/ 2430714 w 3446153"/>
              <a:gd name="T83" fmla="*/ 1117600 h 4737100"/>
              <a:gd name="T84" fmla="*/ 2322655 w 3446153"/>
              <a:gd name="T85" fmla="*/ 1460500 h 4737100"/>
              <a:gd name="T86" fmla="*/ 2716971 w 3446153"/>
              <a:gd name="T87" fmla="*/ 1270000 h 4737100"/>
              <a:gd name="T88" fmla="*/ 2843815 w 3446153"/>
              <a:gd name="T89" fmla="*/ 1168400 h 4737100"/>
              <a:gd name="T90" fmla="*/ 3044528 w 3446153"/>
              <a:gd name="T91" fmla="*/ 1054100 h 4737100"/>
              <a:gd name="T92" fmla="*/ 3238613 w 3446153"/>
              <a:gd name="T93" fmla="*/ 1003300 h 4737100"/>
              <a:gd name="T94" fmla="*/ 3392959 w 3446153"/>
              <a:gd name="T95" fmla="*/ 990600 h 4737100"/>
              <a:gd name="T96" fmla="*/ 3306078 w 3446153"/>
              <a:gd name="T97" fmla="*/ 965200 h 4737100"/>
              <a:gd name="T98" fmla="*/ 3420609 w 3446153"/>
              <a:gd name="T99" fmla="*/ 495300 h 4737100"/>
              <a:gd name="T100" fmla="*/ 2428909 w 3446153"/>
              <a:gd name="T101" fmla="*/ 203200 h 4737100"/>
              <a:gd name="T102" fmla="*/ 2252021 w 3446153"/>
              <a:gd name="T103" fmla="*/ 304800 h 4737100"/>
              <a:gd name="T104" fmla="*/ 2210866 w 3446153"/>
              <a:gd name="T105" fmla="*/ 406400 h 4737100"/>
              <a:gd name="T106" fmla="*/ 3368945 w 3446153"/>
              <a:gd name="T107" fmla="*/ 444500 h 4737100"/>
              <a:gd name="T108" fmla="*/ 2074790 w 3446153"/>
              <a:gd name="T109" fmla="*/ 381000 h 4737100"/>
              <a:gd name="T110" fmla="*/ 2150446 w 3446153"/>
              <a:gd name="T111" fmla="*/ 393700 h 4737100"/>
              <a:gd name="T112" fmla="*/ 3257930 w 3446153"/>
              <a:gd name="T113" fmla="*/ 165100 h 4737100"/>
              <a:gd name="T114" fmla="*/ 2503456 w 3446153"/>
              <a:gd name="T115" fmla="*/ 76200 h 4737100"/>
              <a:gd name="T116" fmla="*/ 3166041 w 3446153"/>
              <a:gd name="T117" fmla="*/ 88900 h 4737100"/>
              <a:gd name="T118" fmla="*/ 3105535 w 3446153"/>
              <a:gd name="T119" fmla="*/ 38100 h 47371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446153" h="4737100">
                <a:moveTo>
                  <a:pt x="3132313" y="4724400"/>
                </a:moveTo>
                <a:lnTo>
                  <a:pt x="2799062" y="4724400"/>
                </a:lnTo>
                <a:lnTo>
                  <a:pt x="2811095" y="4737100"/>
                </a:lnTo>
                <a:lnTo>
                  <a:pt x="3120386" y="4737100"/>
                </a:lnTo>
                <a:lnTo>
                  <a:pt x="3132313" y="4724400"/>
                </a:lnTo>
                <a:close/>
              </a:path>
              <a:path w="3446153" h="4737100">
                <a:moveTo>
                  <a:pt x="3321646" y="4724400"/>
                </a:moveTo>
                <a:lnTo>
                  <a:pt x="3182381" y="4724400"/>
                </a:lnTo>
                <a:lnTo>
                  <a:pt x="3205278" y="4737100"/>
                </a:lnTo>
                <a:lnTo>
                  <a:pt x="3309116" y="4737100"/>
                </a:lnTo>
                <a:lnTo>
                  <a:pt x="3321646" y="4724400"/>
                </a:lnTo>
                <a:close/>
              </a:path>
              <a:path w="3446153" h="4737100">
                <a:moveTo>
                  <a:pt x="2423885" y="4711700"/>
                </a:moveTo>
                <a:lnTo>
                  <a:pt x="2145140" y="4711700"/>
                </a:lnTo>
                <a:lnTo>
                  <a:pt x="2159138" y="4724400"/>
                </a:lnTo>
                <a:lnTo>
                  <a:pt x="2411379" y="4724400"/>
                </a:lnTo>
                <a:lnTo>
                  <a:pt x="2423885" y="4711700"/>
                </a:lnTo>
                <a:close/>
              </a:path>
              <a:path w="3446153" h="4737100">
                <a:moveTo>
                  <a:pt x="3345548" y="4711700"/>
                </a:moveTo>
                <a:lnTo>
                  <a:pt x="2724658" y="4711700"/>
                </a:lnTo>
                <a:lnTo>
                  <a:pt x="2737806" y="4724400"/>
                </a:lnTo>
                <a:lnTo>
                  <a:pt x="3333836" y="4724400"/>
                </a:lnTo>
                <a:lnTo>
                  <a:pt x="3345548" y="4711700"/>
                </a:lnTo>
                <a:close/>
              </a:path>
              <a:path w="3446153" h="4737100">
                <a:moveTo>
                  <a:pt x="3121899" y="4559300"/>
                </a:moveTo>
                <a:lnTo>
                  <a:pt x="2093562" y="4559300"/>
                </a:lnTo>
                <a:lnTo>
                  <a:pt x="2090015" y="4572000"/>
                </a:lnTo>
                <a:lnTo>
                  <a:pt x="2087382" y="4584700"/>
                </a:lnTo>
                <a:lnTo>
                  <a:pt x="2085782" y="4597400"/>
                </a:lnTo>
                <a:lnTo>
                  <a:pt x="2085335" y="4610100"/>
                </a:lnTo>
                <a:lnTo>
                  <a:pt x="2086698" y="4635500"/>
                </a:lnTo>
                <a:lnTo>
                  <a:pt x="2089264" y="4648200"/>
                </a:lnTo>
                <a:lnTo>
                  <a:pt x="2093085" y="4660900"/>
                </a:lnTo>
                <a:lnTo>
                  <a:pt x="2098209" y="4673600"/>
                </a:lnTo>
                <a:lnTo>
                  <a:pt x="2104687" y="4686300"/>
                </a:lnTo>
                <a:lnTo>
                  <a:pt x="2112570" y="4686300"/>
                </a:lnTo>
                <a:lnTo>
                  <a:pt x="2121906" y="4699000"/>
                </a:lnTo>
                <a:lnTo>
                  <a:pt x="2132746" y="4711700"/>
                </a:lnTo>
                <a:lnTo>
                  <a:pt x="2486333" y="4711700"/>
                </a:lnTo>
                <a:lnTo>
                  <a:pt x="2498881" y="4699000"/>
                </a:lnTo>
                <a:lnTo>
                  <a:pt x="3361137" y="4699000"/>
                </a:lnTo>
                <a:lnTo>
                  <a:pt x="3366047" y="4686300"/>
                </a:lnTo>
                <a:lnTo>
                  <a:pt x="3368526" y="4673600"/>
                </a:lnTo>
                <a:lnTo>
                  <a:pt x="3368193" y="4673600"/>
                </a:lnTo>
                <a:lnTo>
                  <a:pt x="3364666" y="4660900"/>
                </a:lnTo>
                <a:lnTo>
                  <a:pt x="3357565" y="4648200"/>
                </a:lnTo>
                <a:lnTo>
                  <a:pt x="3349253" y="4635500"/>
                </a:lnTo>
                <a:lnTo>
                  <a:pt x="3281174" y="4635500"/>
                </a:lnTo>
                <a:lnTo>
                  <a:pt x="3268855" y="4622800"/>
                </a:lnTo>
                <a:lnTo>
                  <a:pt x="3234648" y="4622800"/>
                </a:lnTo>
                <a:lnTo>
                  <a:pt x="3224388" y="4610100"/>
                </a:lnTo>
                <a:lnTo>
                  <a:pt x="3214428" y="4610100"/>
                </a:lnTo>
                <a:lnTo>
                  <a:pt x="3204205" y="4597400"/>
                </a:lnTo>
                <a:lnTo>
                  <a:pt x="3193155" y="4584700"/>
                </a:lnTo>
                <a:lnTo>
                  <a:pt x="3169473" y="4584700"/>
                </a:lnTo>
                <a:lnTo>
                  <a:pt x="3158025" y="4572000"/>
                </a:lnTo>
                <a:lnTo>
                  <a:pt x="3134291" y="4572000"/>
                </a:lnTo>
                <a:lnTo>
                  <a:pt x="3121899" y="4559300"/>
                </a:lnTo>
                <a:close/>
              </a:path>
              <a:path w="3446153" h="4737100">
                <a:moveTo>
                  <a:pt x="3361137" y="4699000"/>
                </a:moveTo>
                <a:lnTo>
                  <a:pt x="2635159" y="4699000"/>
                </a:lnTo>
                <a:lnTo>
                  <a:pt x="2647721" y="4711700"/>
                </a:lnTo>
                <a:lnTo>
                  <a:pt x="3354177" y="4711700"/>
                </a:lnTo>
                <a:lnTo>
                  <a:pt x="3361137" y="4699000"/>
                </a:lnTo>
                <a:close/>
              </a:path>
              <a:path w="3446153" h="4737100">
                <a:moveTo>
                  <a:pt x="3367747" y="508000"/>
                </a:moveTo>
                <a:lnTo>
                  <a:pt x="1458139" y="508000"/>
                </a:lnTo>
                <a:lnTo>
                  <a:pt x="1426567" y="520700"/>
                </a:lnTo>
                <a:lnTo>
                  <a:pt x="1360341" y="546100"/>
                </a:lnTo>
                <a:lnTo>
                  <a:pt x="1326202" y="571500"/>
                </a:lnTo>
                <a:lnTo>
                  <a:pt x="1257157" y="596900"/>
                </a:lnTo>
                <a:lnTo>
                  <a:pt x="1188804" y="647700"/>
                </a:lnTo>
                <a:lnTo>
                  <a:pt x="1123200" y="685800"/>
                </a:lnTo>
                <a:lnTo>
                  <a:pt x="1092073" y="711200"/>
                </a:lnTo>
                <a:lnTo>
                  <a:pt x="1062404" y="736600"/>
                </a:lnTo>
                <a:lnTo>
                  <a:pt x="1034451" y="774700"/>
                </a:lnTo>
                <a:lnTo>
                  <a:pt x="979506" y="825500"/>
                </a:lnTo>
                <a:lnTo>
                  <a:pt x="952310" y="863600"/>
                </a:lnTo>
                <a:lnTo>
                  <a:pt x="898483" y="914400"/>
                </a:lnTo>
                <a:lnTo>
                  <a:pt x="871856" y="952500"/>
                </a:lnTo>
                <a:lnTo>
                  <a:pt x="845423" y="977900"/>
                </a:lnTo>
                <a:lnTo>
                  <a:pt x="819187" y="1016000"/>
                </a:lnTo>
                <a:lnTo>
                  <a:pt x="767313" y="1066800"/>
                </a:lnTo>
                <a:lnTo>
                  <a:pt x="741679" y="1104900"/>
                </a:lnTo>
                <a:lnTo>
                  <a:pt x="716251" y="1130300"/>
                </a:lnTo>
                <a:lnTo>
                  <a:pt x="691030" y="1168400"/>
                </a:lnTo>
                <a:lnTo>
                  <a:pt x="666019" y="1193800"/>
                </a:lnTo>
                <a:lnTo>
                  <a:pt x="641220" y="1231900"/>
                </a:lnTo>
                <a:lnTo>
                  <a:pt x="616635" y="1257300"/>
                </a:lnTo>
                <a:lnTo>
                  <a:pt x="592266" y="1295400"/>
                </a:lnTo>
                <a:lnTo>
                  <a:pt x="568116" y="1333500"/>
                </a:lnTo>
                <a:lnTo>
                  <a:pt x="544188" y="1358900"/>
                </a:lnTo>
                <a:lnTo>
                  <a:pt x="520482" y="1397000"/>
                </a:lnTo>
                <a:lnTo>
                  <a:pt x="486926" y="1435100"/>
                </a:lnTo>
                <a:lnTo>
                  <a:pt x="475839" y="1460500"/>
                </a:lnTo>
                <a:lnTo>
                  <a:pt x="442870" y="1498600"/>
                </a:lnTo>
                <a:lnTo>
                  <a:pt x="431978" y="1524000"/>
                </a:lnTo>
                <a:lnTo>
                  <a:pt x="410340" y="1549400"/>
                </a:lnTo>
                <a:lnTo>
                  <a:pt x="399594" y="1574800"/>
                </a:lnTo>
                <a:lnTo>
                  <a:pt x="378248" y="1600200"/>
                </a:lnTo>
                <a:lnTo>
                  <a:pt x="367648" y="1625600"/>
                </a:lnTo>
                <a:lnTo>
                  <a:pt x="346594" y="1651000"/>
                </a:lnTo>
                <a:lnTo>
                  <a:pt x="336139" y="1676400"/>
                </a:lnTo>
                <a:lnTo>
                  <a:pt x="315376" y="1701800"/>
                </a:lnTo>
                <a:lnTo>
                  <a:pt x="305067" y="1727200"/>
                </a:lnTo>
                <a:lnTo>
                  <a:pt x="298888" y="1727200"/>
                </a:lnTo>
                <a:lnTo>
                  <a:pt x="292789" y="1739900"/>
                </a:lnTo>
                <a:lnTo>
                  <a:pt x="286752" y="1752600"/>
                </a:lnTo>
                <a:lnTo>
                  <a:pt x="274794" y="1778000"/>
                </a:lnTo>
                <a:lnTo>
                  <a:pt x="250844" y="1816100"/>
                </a:lnTo>
                <a:lnTo>
                  <a:pt x="232288" y="1854200"/>
                </a:lnTo>
                <a:lnTo>
                  <a:pt x="212689" y="1892300"/>
                </a:lnTo>
                <a:lnTo>
                  <a:pt x="206867" y="1905000"/>
                </a:lnTo>
                <a:lnTo>
                  <a:pt x="201755" y="1917700"/>
                </a:lnTo>
                <a:lnTo>
                  <a:pt x="197267" y="1930400"/>
                </a:lnTo>
                <a:lnTo>
                  <a:pt x="193317" y="1930400"/>
                </a:lnTo>
                <a:lnTo>
                  <a:pt x="183828" y="1968500"/>
                </a:lnTo>
                <a:lnTo>
                  <a:pt x="176074" y="2006600"/>
                </a:lnTo>
                <a:lnTo>
                  <a:pt x="173471" y="2019300"/>
                </a:lnTo>
                <a:lnTo>
                  <a:pt x="164405" y="2057400"/>
                </a:lnTo>
                <a:lnTo>
                  <a:pt x="151553" y="2095500"/>
                </a:lnTo>
                <a:lnTo>
                  <a:pt x="135994" y="2133600"/>
                </a:lnTo>
                <a:lnTo>
                  <a:pt x="114384" y="2184400"/>
                </a:lnTo>
                <a:lnTo>
                  <a:pt x="109035" y="2184400"/>
                </a:lnTo>
                <a:lnTo>
                  <a:pt x="103771" y="2197100"/>
                </a:lnTo>
                <a:lnTo>
                  <a:pt x="88797" y="2235200"/>
                </a:lnTo>
                <a:lnTo>
                  <a:pt x="75708" y="2273300"/>
                </a:lnTo>
                <a:lnTo>
                  <a:pt x="65348" y="2311400"/>
                </a:lnTo>
                <a:lnTo>
                  <a:pt x="58251" y="2349500"/>
                </a:lnTo>
                <a:lnTo>
                  <a:pt x="51398" y="2400300"/>
                </a:lnTo>
                <a:lnTo>
                  <a:pt x="47351" y="2451100"/>
                </a:lnTo>
                <a:lnTo>
                  <a:pt x="46379" y="2501900"/>
                </a:lnTo>
                <a:lnTo>
                  <a:pt x="47130" y="2527300"/>
                </a:lnTo>
                <a:lnTo>
                  <a:pt x="48750" y="2540000"/>
                </a:lnTo>
                <a:lnTo>
                  <a:pt x="51273" y="2565400"/>
                </a:lnTo>
                <a:lnTo>
                  <a:pt x="59163" y="2616200"/>
                </a:lnTo>
                <a:lnTo>
                  <a:pt x="71067" y="2667000"/>
                </a:lnTo>
                <a:lnTo>
                  <a:pt x="87253" y="2705100"/>
                </a:lnTo>
                <a:lnTo>
                  <a:pt x="97036" y="2730500"/>
                </a:lnTo>
                <a:lnTo>
                  <a:pt x="107990" y="2755900"/>
                </a:lnTo>
                <a:lnTo>
                  <a:pt x="120150" y="2781300"/>
                </a:lnTo>
                <a:lnTo>
                  <a:pt x="133547" y="2794000"/>
                </a:lnTo>
                <a:lnTo>
                  <a:pt x="110759" y="2794000"/>
                </a:lnTo>
                <a:lnTo>
                  <a:pt x="97888" y="2806700"/>
                </a:lnTo>
                <a:lnTo>
                  <a:pt x="45323" y="2806700"/>
                </a:lnTo>
                <a:lnTo>
                  <a:pt x="33791" y="2819400"/>
                </a:lnTo>
                <a:lnTo>
                  <a:pt x="23654" y="2819400"/>
                </a:lnTo>
                <a:lnTo>
                  <a:pt x="15289" y="2832100"/>
                </a:lnTo>
                <a:lnTo>
                  <a:pt x="10865" y="2844800"/>
                </a:lnTo>
                <a:lnTo>
                  <a:pt x="7031" y="2844800"/>
                </a:lnTo>
                <a:lnTo>
                  <a:pt x="839" y="2882900"/>
                </a:lnTo>
                <a:lnTo>
                  <a:pt x="0" y="2908300"/>
                </a:lnTo>
                <a:lnTo>
                  <a:pt x="226" y="2921000"/>
                </a:lnTo>
                <a:lnTo>
                  <a:pt x="732" y="2946400"/>
                </a:lnTo>
                <a:lnTo>
                  <a:pt x="1404" y="2959100"/>
                </a:lnTo>
                <a:lnTo>
                  <a:pt x="2792" y="2984500"/>
                </a:lnTo>
                <a:lnTo>
                  <a:pt x="74674" y="2984500"/>
                </a:lnTo>
                <a:lnTo>
                  <a:pt x="70356" y="4686300"/>
                </a:lnTo>
                <a:lnTo>
                  <a:pt x="264755" y="4686300"/>
                </a:lnTo>
                <a:lnTo>
                  <a:pt x="275143" y="4089400"/>
                </a:lnTo>
                <a:lnTo>
                  <a:pt x="1708405" y="4089400"/>
                </a:lnTo>
                <a:lnTo>
                  <a:pt x="1708560" y="3898900"/>
                </a:lnTo>
                <a:lnTo>
                  <a:pt x="275143" y="3898900"/>
                </a:lnTo>
                <a:lnTo>
                  <a:pt x="275730" y="3746500"/>
                </a:lnTo>
                <a:lnTo>
                  <a:pt x="275851" y="3619500"/>
                </a:lnTo>
                <a:lnTo>
                  <a:pt x="275750" y="3429000"/>
                </a:lnTo>
                <a:lnTo>
                  <a:pt x="275143" y="3187700"/>
                </a:lnTo>
                <a:lnTo>
                  <a:pt x="1709139" y="3187700"/>
                </a:lnTo>
                <a:lnTo>
                  <a:pt x="1709160" y="3162300"/>
                </a:lnTo>
                <a:lnTo>
                  <a:pt x="1841686" y="3162300"/>
                </a:lnTo>
                <a:lnTo>
                  <a:pt x="1867698" y="3149600"/>
                </a:lnTo>
                <a:lnTo>
                  <a:pt x="1895318" y="3149600"/>
                </a:lnTo>
                <a:lnTo>
                  <a:pt x="1909018" y="3136900"/>
                </a:lnTo>
                <a:lnTo>
                  <a:pt x="2792970" y="3136900"/>
                </a:lnTo>
                <a:lnTo>
                  <a:pt x="2792370" y="3124200"/>
                </a:lnTo>
                <a:lnTo>
                  <a:pt x="2790846" y="3098800"/>
                </a:lnTo>
                <a:lnTo>
                  <a:pt x="2788969" y="3073400"/>
                </a:lnTo>
                <a:lnTo>
                  <a:pt x="2786250" y="3035300"/>
                </a:lnTo>
                <a:lnTo>
                  <a:pt x="2784262" y="3009900"/>
                </a:lnTo>
                <a:lnTo>
                  <a:pt x="2782912" y="2971800"/>
                </a:lnTo>
                <a:lnTo>
                  <a:pt x="2782107" y="2933700"/>
                </a:lnTo>
                <a:lnTo>
                  <a:pt x="2781755" y="2908300"/>
                </a:lnTo>
                <a:lnTo>
                  <a:pt x="2781761" y="2870200"/>
                </a:lnTo>
                <a:lnTo>
                  <a:pt x="2782035" y="2844800"/>
                </a:lnTo>
                <a:lnTo>
                  <a:pt x="2782483" y="2819400"/>
                </a:lnTo>
                <a:lnTo>
                  <a:pt x="2783943" y="2730500"/>
                </a:lnTo>
                <a:lnTo>
                  <a:pt x="2784159" y="2705100"/>
                </a:lnTo>
                <a:lnTo>
                  <a:pt x="2784086" y="2679700"/>
                </a:lnTo>
                <a:lnTo>
                  <a:pt x="2783630" y="2654300"/>
                </a:lnTo>
                <a:lnTo>
                  <a:pt x="2781200" y="2603500"/>
                </a:lnTo>
                <a:lnTo>
                  <a:pt x="2776127" y="2552700"/>
                </a:lnTo>
                <a:lnTo>
                  <a:pt x="2767669" y="2501900"/>
                </a:lnTo>
                <a:lnTo>
                  <a:pt x="2757559" y="2463800"/>
                </a:lnTo>
                <a:lnTo>
                  <a:pt x="2744091" y="2425700"/>
                </a:lnTo>
                <a:lnTo>
                  <a:pt x="2738790" y="2425700"/>
                </a:lnTo>
                <a:lnTo>
                  <a:pt x="2733060" y="2413000"/>
                </a:lnTo>
                <a:lnTo>
                  <a:pt x="2726886" y="2400300"/>
                </a:lnTo>
                <a:lnTo>
                  <a:pt x="2720254" y="2387600"/>
                </a:lnTo>
                <a:lnTo>
                  <a:pt x="2713151" y="2374900"/>
                </a:lnTo>
                <a:lnTo>
                  <a:pt x="2705562" y="2362200"/>
                </a:lnTo>
                <a:lnTo>
                  <a:pt x="2697473" y="2362200"/>
                </a:lnTo>
                <a:lnTo>
                  <a:pt x="2688870" y="2349500"/>
                </a:lnTo>
                <a:lnTo>
                  <a:pt x="2679738" y="2336800"/>
                </a:lnTo>
                <a:lnTo>
                  <a:pt x="2670065" y="2324100"/>
                </a:lnTo>
                <a:lnTo>
                  <a:pt x="2659835" y="2324100"/>
                </a:lnTo>
                <a:lnTo>
                  <a:pt x="2649439" y="2311400"/>
                </a:lnTo>
                <a:lnTo>
                  <a:pt x="2638709" y="2298700"/>
                </a:lnTo>
                <a:lnTo>
                  <a:pt x="2627654" y="2298700"/>
                </a:lnTo>
                <a:lnTo>
                  <a:pt x="2616286" y="2286000"/>
                </a:lnTo>
                <a:lnTo>
                  <a:pt x="2604613" y="2286000"/>
                </a:lnTo>
                <a:lnTo>
                  <a:pt x="2592646" y="2273300"/>
                </a:lnTo>
                <a:lnTo>
                  <a:pt x="2580394" y="2273300"/>
                </a:lnTo>
                <a:lnTo>
                  <a:pt x="2567867" y="2260600"/>
                </a:lnTo>
                <a:lnTo>
                  <a:pt x="2555074" y="2260600"/>
                </a:lnTo>
                <a:lnTo>
                  <a:pt x="2542027" y="2247900"/>
                </a:lnTo>
                <a:lnTo>
                  <a:pt x="2515204" y="2247900"/>
                </a:lnTo>
                <a:lnTo>
                  <a:pt x="2501449" y="2235200"/>
                </a:lnTo>
                <a:lnTo>
                  <a:pt x="2473301" y="2235200"/>
                </a:lnTo>
                <a:lnTo>
                  <a:pt x="2458927" y="2222500"/>
                </a:lnTo>
                <a:lnTo>
                  <a:pt x="2414725" y="2222500"/>
                </a:lnTo>
                <a:lnTo>
                  <a:pt x="2399663" y="2209800"/>
                </a:lnTo>
                <a:lnTo>
                  <a:pt x="2408455" y="2209800"/>
                </a:lnTo>
                <a:lnTo>
                  <a:pt x="2413099" y="2197100"/>
                </a:lnTo>
                <a:lnTo>
                  <a:pt x="2418576" y="2197100"/>
                </a:lnTo>
                <a:lnTo>
                  <a:pt x="2424814" y="2184400"/>
                </a:lnTo>
                <a:lnTo>
                  <a:pt x="2431739" y="2171700"/>
                </a:lnTo>
                <a:lnTo>
                  <a:pt x="2439281" y="2159000"/>
                </a:lnTo>
                <a:lnTo>
                  <a:pt x="1877806" y="2159000"/>
                </a:lnTo>
                <a:lnTo>
                  <a:pt x="1851998" y="2146300"/>
                </a:lnTo>
                <a:lnTo>
                  <a:pt x="1768714" y="2146300"/>
                </a:lnTo>
                <a:lnTo>
                  <a:pt x="1739732" y="2133600"/>
                </a:lnTo>
                <a:lnTo>
                  <a:pt x="1681262" y="2133600"/>
                </a:lnTo>
                <a:lnTo>
                  <a:pt x="1652214" y="2120900"/>
                </a:lnTo>
                <a:lnTo>
                  <a:pt x="1595595" y="2120900"/>
                </a:lnTo>
                <a:lnTo>
                  <a:pt x="1568463" y="2108200"/>
                </a:lnTo>
                <a:lnTo>
                  <a:pt x="1517661" y="2108200"/>
                </a:lnTo>
                <a:lnTo>
                  <a:pt x="1494430" y="2095500"/>
                </a:lnTo>
                <a:lnTo>
                  <a:pt x="1453411" y="2095500"/>
                </a:lnTo>
                <a:lnTo>
                  <a:pt x="1512773" y="2070100"/>
                </a:lnTo>
                <a:lnTo>
                  <a:pt x="1543221" y="2070100"/>
                </a:lnTo>
                <a:lnTo>
                  <a:pt x="1664678" y="2019300"/>
                </a:lnTo>
                <a:lnTo>
                  <a:pt x="1693793" y="2019300"/>
                </a:lnTo>
                <a:lnTo>
                  <a:pt x="1721942" y="2006600"/>
                </a:lnTo>
                <a:lnTo>
                  <a:pt x="1798262" y="1981200"/>
                </a:lnTo>
                <a:lnTo>
                  <a:pt x="1820216" y="1968500"/>
                </a:lnTo>
                <a:lnTo>
                  <a:pt x="1840037" y="1955800"/>
                </a:lnTo>
                <a:lnTo>
                  <a:pt x="1872352" y="1955800"/>
                </a:lnTo>
                <a:lnTo>
                  <a:pt x="1884378" y="1943100"/>
                </a:lnTo>
                <a:lnTo>
                  <a:pt x="2535779" y="1943100"/>
                </a:lnTo>
                <a:lnTo>
                  <a:pt x="2542131" y="1917700"/>
                </a:lnTo>
                <a:lnTo>
                  <a:pt x="2547673" y="1905000"/>
                </a:lnTo>
                <a:lnTo>
                  <a:pt x="2552494" y="1879600"/>
                </a:lnTo>
                <a:lnTo>
                  <a:pt x="2556702" y="1866900"/>
                </a:lnTo>
                <a:lnTo>
                  <a:pt x="2560408" y="1854200"/>
                </a:lnTo>
                <a:lnTo>
                  <a:pt x="2563722" y="1828800"/>
                </a:lnTo>
                <a:lnTo>
                  <a:pt x="2566753" y="1816100"/>
                </a:lnTo>
                <a:lnTo>
                  <a:pt x="2569613" y="1803400"/>
                </a:lnTo>
                <a:lnTo>
                  <a:pt x="2572410" y="1790700"/>
                </a:lnTo>
                <a:lnTo>
                  <a:pt x="2575255" y="1765300"/>
                </a:lnTo>
                <a:lnTo>
                  <a:pt x="2581527" y="1727200"/>
                </a:lnTo>
                <a:lnTo>
                  <a:pt x="2585174" y="1701800"/>
                </a:lnTo>
                <a:lnTo>
                  <a:pt x="2589308" y="1689100"/>
                </a:lnTo>
                <a:lnTo>
                  <a:pt x="2594040" y="1651000"/>
                </a:lnTo>
                <a:lnTo>
                  <a:pt x="2599479" y="1625600"/>
                </a:lnTo>
                <a:lnTo>
                  <a:pt x="2605735" y="1600200"/>
                </a:lnTo>
                <a:lnTo>
                  <a:pt x="2612918" y="1562100"/>
                </a:lnTo>
                <a:lnTo>
                  <a:pt x="2621139" y="1524000"/>
                </a:lnTo>
                <a:lnTo>
                  <a:pt x="2625823" y="1498600"/>
                </a:lnTo>
                <a:lnTo>
                  <a:pt x="2303727" y="1498600"/>
                </a:lnTo>
                <a:lnTo>
                  <a:pt x="2296191" y="1485900"/>
                </a:lnTo>
                <a:lnTo>
                  <a:pt x="2282495" y="1435100"/>
                </a:lnTo>
                <a:lnTo>
                  <a:pt x="2270733" y="1384300"/>
                </a:lnTo>
                <a:lnTo>
                  <a:pt x="2261023" y="1333500"/>
                </a:lnTo>
                <a:lnTo>
                  <a:pt x="2253487" y="1270000"/>
                </a:lnTo>
                <a:lnTo>
                  <a:pt x="2250571" y="1244600"/>
                </a:lnTo>
                <a:lnTo>
                  <a:pt x="2248244" y="1206500"/>
                </a:lnTo>
                <a:lnTo>
                  <a:pt x="2246519" y="1181100"/>
                </a:lnTo>
                <a:lnTo>
                  <a:pt x="2245413" y="1143000"/>
                </a:lnTo>
                <a:lnTo>
                  <a:pt x="2244941" y="1117600"/>
                </a:lnTo>
                <a:lnTo>
                  <a:pt x="2245116" y="1092200"/>
                </a:lnTo>
                <a:lnTo>
                  <a:pt x="2245955" y="1054100"/>
                </a:lnTo>
                <a:lnTo>
                  <a:pt x="2247472" y="1028700"/>
                </a:lnTo>
                <a:lnTo>
                  <a:pt x="2249682" y="1003300"/>
                </a:lnTo>
                <a:lnTo>
                  <a:pt x="2252600" y="977900"/>
                </a:lnTo>
                <a:lnTo>
                  <a:pt x="2256242" y="952500"/>
                </a:lnTo>
                <a:lnTo>
                  <a:pt x="3312945" y="952500"/>
                </a:lnTo>
                <a:lnTo>
                  <a:pt x="3319318" y="939800"/>
                </a:lnTo>
                <a:lnTo>
                  <a:pt x="3323720" y="927100"/>
                </a:lnTo>
                <a:lnTo>
                  <a:pt x="3413009" y="927100"/>
                </a:lnTo>
                <a:lnTo>
                  <a:pt x="3408874" y="914400"/>
                </a:lnTo>
                <a:lnTo>
                  <a:pt x="3403941" y="914400"/>
                </a:lnTo>
                <a:lnTo>
                  <a:pt x="3398474" y="901700"/>
                </a:lnTo>
                <a:lnTo>
                  <a:pt x="3392694" y="889000"/>
                </a:lnTo>
                <a:lnTo>
                  <a:pt x="3389108" y="876300"/>
                </a:lnTo>
                <a:lnTo>
                  <a:pt x="3387463" y="876300"/>
                </a:lnTo>
                <a:lnTo>
                  <a:pt x="3387505" y="863600"/>
                </a:lnTo>
                <a:lnTo>
                  <a:pt x="3388977" y="850900"/>
                </a:lnTo>
                <a:lnTo>
                  <a:pt x="3391627" y="838200"/>
                </a:lnTo>
                <a:lnTo>
                  <a:pt x="3395199" y="838200"/>
                </a:lnTo>
                <a:lnTo>
                  <a:pt x="3399438" y="825500"/>
                </a:lnTo>
                <a:lnTo>
                  <a:pt x="3404091" y="812800"/>
                </a:lnTo>
                <a:lnTo>
                  <a:pt x="3408902" y="800100"/>
                </a:lnTo>
                <a:lnTo>
                  <a:pt x="3413617" y="774700"/>
                </a:lnTo>
                <a:lnTo>
                  <a:pt x="3414117" y="774700"/>
                </a:lnTo>
                <a:lnTo>
                  <a:pt x="3412720" y="762000"/>
                </a:lnTo>
                <a:lnTo>
                  <a:pt x="3410029" y="749300"/>
                </a:lnTo>
                <a:lnTo>
                  <a:pt x="3406643" y="736600"/>
                </a:lnTo>
                <a:lnTo>
                  <a:pt x="3403163" y="723900"/>
                </a:lnTo>
                <a:lnTo>
                  <a:pt x="3400191" y="711200"/>
                </a:lnTo>
                <a:lnTo>
                  <a:pt x="3398328" y="698500"/>
                </a:lnTo>
                <a:lnTo>
                  <a:pt x="3398174" y="685800"/>
                </a:lnTo>
                <a:lnTo>
                  <a:pt x="3400330" y="673100"/>
                </a:lnTo>
                <a:lnTo>
                  <a:pt x="3404039" y="660400"/>
                </a:lnTo>
                <a:lnTo>
                  <a:pt x="3405522" y="647700"/>
                </a:lnTo>
                <a:lnTo>
                  <a:pt x="3402943" y="609600"/>
                </a:lnTo>
                <a:lnTo>
                  <a:pt x="3389435" y="571500"/>
                </a:lnTo>
                <a:lnTo>
                  <a:pt x="3383489" y="571500"/>
                </a:lnTo>
                <a:lnTo>
                  <a:pt x="3371123" y="546100"/>
                </a:lnTo>
                <a:lnTo>
                  <a:pt x="3365267" y="546100"/>
                </a:lnTo>
                <a:lnTo>
                  <a:pt x="3360003" y="533400"/>
                </a:lnTo>
                <a:lnTo>
                  <a:pt x="3352385" y="533400"/>
                </a:lnTo>
                <a:lnTo>
                  <a:pt x="3360673" y="520700"/>
                </a:lnTo>
                <a:lnTo>
                  <a:pt x="3367747" y="508000"/>
                </a:lnTo>
                <a:close/>
              </a:path>
              <a:path w="3446153" h="4737100">
                <a:moveTo>
                  <a:pt x="1708405" y="4089400"/>
                </a:moveTo>
                <a:lnTo>
                  <a:pt x="1486545" y="4089400"/>
                </a:lnTo>
                <a:lnTo>
                  <a:pt x="1492705" y="4686300"/>
                </a:lnTo>
                <a:lnTo>
                  <a:pt x="1707919" y="4686300"/>
                </a:lnTo>
                <a:lnTo>
                  <a:pt x="1708405" y="4089400"/>
                </a:lnTo>
                <a:close/>
              </a:path>
              <a:path w="3446153" h="4737100">
                <a:moveTo>
                  <a:pt x="2963699" y="4508500"/>
                </a:moveTo>
                <a:lnTo>
                  <a:pt x="2107490" y="4508500"/>
                </a:lnTo>
                <a:lnTo>
                  <a:pt x="2106797" y="4521200"/>
                </a:lnTo>
                <a:lnTo>
                  <a:pt x="2103671" y="4533900"/>
                </a:lnTo>
                <a:lnTo>
                  <a:pt x="2097901" y="4559300"/>
                </a:lnTo>
                <a:lnTo>
                  <a:pt x="3083563" y="4559300"/>
                </a:lnTo>
                <a:lnTo>
                  <a:pt x="3071416" y="4546600"/>
                </a:lnTo>
                <a:lnTo>
                  <a:pt x="3047330" y="4546600"/>
                </a:lnTo>
                <a:lnTo>
                  <a:pt x="3035362" y="4533900"/>
                </a:lnTo>
                <a:lnTo>
                  <a:pt x="3011503" y="4533900"/>
                </a:lnTo>
                <a:lnTo>
                  <a:pt x="2999585" y="4521200"/>
                </a:lnTo>
                <a:lnTo>
                  <a:pt x="2975697" y="4521200"/>
                </a:lnTo>
                <a:lnTo>
                  <a:pt x="2963699" y="4508500"/>
                </a:lnTo>
                <a:close/>
              </a:path>
              <a:path w="3446153" h="4737100">
                <a:moveTo>
                  <a:pt x="1958655" y="4495800"/>
                </a:moveTo>
                <a:lnTo>
                  <a:pt x="1900191" y="4495800"/>
                </a:lnTo>
                <a:lnTo>
                  <a:pt x="1912345" y="4508500"/>
                </a:lnTo>
                <a:lnTo>
                  <a:pt x="1950045" y="4508500"/>
                </a:lnTo>
                <a:lnTo>
                  <a:pt x="1958655" y="4495800"/>
                </a:lnTo>
                <a:close/>
              </a:path>
              <a:path w="3446153" h="4737100">
                <a:moveTo>
                  <a:pt x="2929749" y="4495800"/>
                </a:moveTo>
                <a:lnTo>
                  <a:pt x="2102415" y="4495800"/>
                </a:lnTo>
                <a:lnTo>
                  <a:pt x="2105960" y="4508500"/>
                </a:lnTo>
                <a:lnTo>
                  <a:pt x="2941043" y="4508500"/>
                </a:lnTo>
                <a:lnTo>
                  <a:pt x="2929749" y="4495800"/>
                </a:lnTo>
                <a:close/>
              </a:path>
              <a:path w="3446153" h="4737100">
                <a:moveTo>
                  <a:pt x="2735480" y="4330700"/>
                </a:moveTo>
                <a:lnTo>
                  <a:pt x="1897124" y="4330700"/>
                </a:lnTo>
                <a:lnTo>
                  <a:pt x="1897015" y="4483100"/>
                </a:lnTo>
                <a:lnTo>
                  <a:pt x="1896702" y="4495800"/>
                </a:lnTo>
                <a:lnTo>
                  <a:pt x="2002293" y="4495800"/>
                </a:lnTo>
                <a:lnTo>
                  <a:pt x="2014454" y="4483100"/>
                </a:lnTo>
                <a:lnTo>
                  <a:pt x="2895434" y="4483100"/>
                </a:lnTo>
                <a:lnTo>
                  <a:pt x="2883695" y="4470400"/>
                </a:lnTo>
                <a:lnTo>
                  <a:pt x="2871729" y="4470400"/>
                </a:lnTo>
                <a:lnTo>
                  <a:pt x="2862236" y="4457700"/>
                </a:lnTo>
                <a:lnTo>
                  <a:pt x="2842095" y="4457700"/>
                </a:lnTo>
                <a:lnTo>
                  <a:pt x="2830761" y="4445000"/>
                </a:lnTo>
                <a:lnTo>
                  <a:pt x="2818129" y="4445000"/>
                </a:lnTo>
                <a:lnTo>
                  <a:pt x="2803854" y="4432300"/>
                </a:lnTo>
                <a:lnTo>
                  <a:pt x="2792702" y="4432300"/>
                </a:lnTo>
                <a:lnTo>
                  <a:pt x="2781464" y="4419600"/>
                </a:lnTo>
                <a:lnTo>
                  <a:pt x="2770288" y="4419600"/>
                </a:lnTo>
                <a:lnTo>
                  <a:pt x="2759320" y="4406900"/>
                </a:lnTo>
                <a:lnTo>
                  <a:pt x="2748709" y="4406900"/>
                </a:lnTo>
                <a:lnTo>
                  <a:pt x="2738601" y="4394200"/>
                </a:lnTo>
                <a:lnTo>
                  <a:pt x="2729145" y="4381500"/>
                </a:lnTo>
                <a:lnTo>
                  <a:pt x="2720486" y="4368800"/>
                </a:lnTo>
                <a:lnTo>
                  <a:pt x="2712774" y="4356100"/>
                </a:lnTo>
                <a:lnTo>
                  <a:pt x="2713586" y="4356100"/>
                </a:lnTo>
                <a:lnTo>
                  <a:pt x="2718070" y="4343400"/>
                </a:lnTo>
                <a:lnTo>
                  <a:pt x="2725583" y="4343400"/>
                </a:lnTo>
                <a:lnTo>
                  <a:pt x="2735480" y="4330700"/>
                </a:lnTo>
                <a:close/>
              </a:path>
              <a:path w="3446153" h="4737100">
                <a:moveTo>
                  <a:pt x="2906991" y="4483100"/>
                </a:moveTo>
                <a:lnTo>
                  <a:pt x="2090122" y="4483100"/>
                </a:lnTo>
                <a:lnTo>
                  <a:pt x="2097066" y="4495800"/>
                </a:lnTo>
                <a:lnTo>
                  <a:pt x="2918413" y="4495800"/>
                </a:lnTo>
                <a:lnTo>
                  <a:pt x="2906991" y="4483100"/>
                </a:lnTo>
                <a:close/>
              </a:path>
              <a:path w="3446153" h="4737100">
                <a:moveTo>
                  <a:pt x="2792970" y="3136900"/>
                </a:moveTo>
                <a:lnTo>
                  <a:pt x="1971742" y="3136900"/>
                </a:lnTo>
                <a:lnTo>
                  <a:pt x="1976291" y="3149600"/>
                </a:lnTo>
                <a:lnTo>
                  <a:pt x="1976849" y="3162300"/>
                </a:lnTo>
                <a:lnTo>
                  <a:pt x="1969628" y="3200400"/>
                </a:lnTo>
                <a:lnTo>
                  <a:pt x="1961302" y="3225800"/>
                </a:lnTo>
                <a:lnTo>
                  <a:pt x="1957257" y="3238500"/>
                </a:lnTo>
                <a:lnTo>
                  <a:pt x="1953810" y="3251200"/>
                </a:lnTo>
                <a:lnTo>
                  <a:pt x="1951353" y="3263900"/>
                </a:lnTo>
                <a:lnTo>
                  <a:pt x="1948151" y="3276600"/>
                </a:lnTo>
                <a:lnTo>
                  <a:pt x="1939292" y="3314700"/>
                </a:lnTo>
                <a:lnTo>
                  <a:pt x="1931557" y="3352800"/>
                </a:lnTo>
                <a:lnTo>
                  <a:pt x="1924954" y="3390900"/>
                </a:lnTo>
                <a:lnTo>
                  <a:pt x="1921186" y="3429000"/>
                </a:lnTo>
                <a:lnTo>
                  <a:pt x="1919493" y="3441700"/>
                </a:lnTo>
                <a:lnTo>
                  <a:pt x="1915181" y="3479800"/>
                </a:lnTo>
                <a:lnTo>
                  <a:pt x="1912027" y="3530600"/>
                </a:lnTo>
                <a:lnTo>
                  <a:pt x="1910586" y="3556000"/>
                </a:lnTo>
                <a:lnTo>
                  <a:pt x="1908540" y="3594100"/>
                </a:lnTo>
                <a:lnTo>
                  <a:pt x="1906609" y="3632200"/>
                </a:lnTo>
                <a:lnTo>
                  <a:pt x="1905134" y="3670300"/>
                </a:lnTo>
                <a:lnTo>
                  <a:pt x="1904467" y="3721100"/>
                </a:lnTo>
                <a:lnTo>
                  <a:pt x="1904617" y="3733800"/>
                </a:lnTo>
                <a:lnTo>
                  <a:pt x="1904918" y="3746500"/>
                </a:lnTo>
                <a:lnTo>
                  <a:pt x="1905384" y="3759200"/>
                </a:lnTo>
                <a:lnTo>
                  <a:pt x="1908236" y="3810000"/>
                </a:lnTo>
                <a:lnTo>
                  <a:pt x="1909860" y="3860800"/>
                </a:lnTo>
                <a:lnTo>
                  <a:pt x="1910948" y="3898900"/>
                </a:lnTo>
                <a:lnTo>
                  <a:pt x="1911553" y="3937000"/>
                </a:lnTo>
                <a:lnTo>
                  <a:pt x="1911724" y="3975100"/>
                </a:lnTo>
                <a:lnTo>
                  <a:pt x="1911513" y="4013200"/>
                </a:lnTo>
                <a:lnTo>
                  <a:pt x="1910972" y="4051300"/>
                </a:lnTo>
                <a:lnTo>
                  <a:pt x="1910151" y="4089400"/>
                </a:lnTo>
                <a:lnTo>
                  <a:pt x="1909102" y="4114800"/>
                </a:lnTo>
                <a:lnTo>
                  <a:pt x="1907876" y="4152900"/>
                </a:lnTo>
                <a:lnTo>
                  <a:pt x="1906524" y="4178300"/>
                </a:lnTo>
                <a:lnTo>
                  <a:pt x="1902222" y="4254500"/>
                </a:lnTo>
                <a:lnTo>
                  <a:pt x="1900878" y="4267200"/>
                </a:lnTo>
                <a:lnTo>
                  <a:pt x="1898629" y="4305300"/>
                </a:lnTo>
                <a:lnTo>
                  <a:pt x="1897827" y="4318000"/>
                </a:lnTo>
                <a:lnTo>
                  <a:pt x="1897308" y="4330700"/>
                </a:lnTo>
                <a:lnTo>
                  <a:pt x="2747119" y="4330700"/>
                </a:lnTo>
                <a:lnTo>
                  <a:pt x="2759856" y="4318000"/>
                </a:lnTo>
                <a:lnTo>
                  <a:pt x="2786047" y="4318000"/>
                </a:lnTo>
                <a:lnTo>
                  <a:pt x="2798214" y="4305300"/>
                </a:lnTo>
                <a:lnTo>
                  <a:pt x="2817473" y="4305300"/>
                </a:lnTo>
                <a:lnTo>
                  <a:pt x="2823278" y="4292600"/>
                </a:lnTo>
                <a:lnTo>
                  <a:pt x="2845374" y="4292600"/>
                </a:lnTo>
                <a:lnTo>
                  <a:pt x="2855391" y="4279900"/>
                </a:lnTo>
                <a:lnTo>
                  <a:pt x="2862302" y="4267200"/>
                </a:lnTo>
                <a:lnTo>
                  <a:pt x="2864297" y="4254500"/>
                </a:lnTo>
                <a:lnTo>
                  <a:pt x="2858719" y="4241800"/>
                </a:lnTo>
                <a:lnTo>
                  <a:pt x="2851077" y="4229100"/>
                </a:lnTo>
                <a:lnTo>
                  <a:pt x="2843183" y="4216400"/>
                </a:lnTo>
                <a:lnTo>
                  <a:pt x="2836853" y="4203700"/>
                </a:lnTo>
                <a:lnTo>
                  <a:pt x="2826972" y="4165600"/>
                </a:lnTo>
                <a:lnTo>
                  <a:pt x="2822077" y="4140200"/>
                </a:lnTo>
                <a:lnTo>
                  <a:pt x="2816977" y="4114800"/>
                </a:lnTo>
                <a:lnTo>
                  <a:pt x="2812452" y="4089400"/>
                </a:lnTo>
                <a:lnTo>
                  <a:pt x="2808467" y="4064000"/>
                </a:lnTo>
                <a:lnTo>
                  <a:pt x="2804990" y="4038600"/>
                </a:lnTo>
                <a:lnTo>
                  <a:pt x="2801986" y="4000500"/>
                </a:lnTo>
                <a:lnTo>
                  <a:pt x="2799422" y="3975100"/>
                </a:lnTo>
                <a:lnTo>
                  <a:pt x="2797265" y="3949700"/>
                </a:lnTo>
                <a:lnTo>
                  <a:pt x="2795481" y="3911600"/>
                </a:lnTo>
                <a:lnTo>
                  <a:pt x="2794036" y="3886200"/>
                </a:lnTo>
                <a:lnTo>
                  <a:pt x="2792896" y="3860800"/>
                </a:lnTo>
                <a:lnTo>
                  <a:pt x="2792028" y="3835400"/>
                </a:lnTo>
                <a:lnTo>
                  <a:pt x="2790973" y="3771900"/>
                </a:lnTo>
                <a:lnTo>
                  <a:pt x="2790719" y="3746500"/>
                </a:lnTo>
                <a:lnTo>
                  <a:pt x="2790767" y="3619500"/>
                </a:lnTo>
                <a:lnTo>
                  <a:pt x="2791010" y="3543300"/>
                </a:lnTo>
                <a:lnTo>
                  <a:pt x="2791637" y="3492500"/>
                </a:lnTo>
                <a:lnTo>
                  <a:pt x="2792617" y="3441700"/>
                </a:lnTo>
                <a:lnTo>
                  <a:pt x="2794268" y="3378200"/>
                </a:lnTo>
                <a:lnTo>
                  <a:pt x="2794757" y="3352800"/>
                </a:lnTo>
                <a:lnTo>
                  <a:pt x="2795168" y="3327400"/>
                </a:lnTo>
                <a:lnTo>
                  <a:pt x="2795474" y="3302000"/>
                </a:lnTo>
                <a:lnTo>
                  <a:pt x="2795561" y="3289300"/>
                </a:lnTo>
                <a:lnTo>
                  <a:pt x="2795489" y="3225800"/>
                </a:lnTo>
                <a:lnTo>
                  <a:pt x="2795101" y="3200400"/>
                </a:lnTo>
                <a:lnTo>
                  <a:pt x="2794470" y="3175000"/>
                </a:lnTo>
                <a:lnTo>
                  <a:pt x="2793569" y="3149600"/>
                </a:lnTo>
                <a:lnTo>
                  <a:pt x="2792970" y="3136900"/>
                </a:lnTo>
                <a:close/>
              </a:path>
              <a:path w="3446153" h="4737100">
                <a:moveTo>
                  <a:pt x="1709139" y="3187700"/>
                </a:moveTo>
                <a:lnTo>
                  <a:pt x="1492464" y="3187700"/>
                </a:lnTo>
                <a:lnTo>
                  <a:pt x="1492464" y="3898900"/>
                </a:lnTo>
                <a:lnTo>
                  <a:pt x="1708560" y="3898900"/>
                </a:lnTo>
                <a:lnTo>
                  <a:pt x="1709139" y="3187700"/>
                </a:lnTo>
                <a:close/>
              </a:path>
              <a:path w="3446153" h="4737100">
                <a:moveTo>
                  <a:pt x="1829995" y="3162300"/>
                </a:moveTo>
                <a:lnTo>
                  <a:pt x="1726438" y="3162300"/>
                </a:lnTo>
                <a:lnTo>
                  <a:pt x="1740698" y="3175000"/>
                </a:lnTo>
                <a:lnTo>
                  <a:pt x="1819560" y="3175000"/>
                </a:lnTo>
                <a:lnTo>
                  <a:pt x="1829995" y="3162300"/>
                </a:lnTo>
                <a:close/>
              </a:path>
              <a:path w="3446153" h="4737100">
                <a:moveTo>
                  <a:pt x="2535779" y="1943100"/>
                </a:moveTo>
                <a:lnTo>
                  <a:pt x="1901137" y="1943100"/>
                </a:lnTo>
                <a:lnTo>
                  <a:pt x="1903294" y="1955800"/>
                </a:lnTo>
                <a:lnTo>
                  <a:pt x="1905583" y="1981200"/>
                </a:lnTo>
                <a:lnTo>
                  <a:pt x="1913300" y="2019300"/>
                </a:lnTo>
                <a:lnTo>
                  <a:pt x="1919221" y="2044700"/>
                </a:lnTo>
                <a:lnTo>
                  <a:pt x="1922434" y="2044700"/>
                </a:lnTo>
                <a:lnTo>
                  <a:pt x="1925824" y="2057400"/>
                </a:lnTo>
                <a:lnTo>
                  <a:pt x="1937122" y="2095500"/>
                </a:lnTo>
                <a:lnTo>
                  <a:pt x="1950250" y="2133600"/>
                </a:lnTo>
                <a:lnTo>
                  <a:pt x="1955064" y="2133600"/>
                </a:lnTo>
                <a:lnTo>
                  <a:pt x="1960107" y="2146300"/>
                </a:lnTo>
                <a:lnTo>
                  <a:pt x="1965386" y="2159000"/>
                </a:lnTo>
                <a:lnTo>
                  <a:pt x="2439281" y="2159000"/>
                </a:lnTo>
                <a:lnTo>
                  <a:pt x="2447366" y="2146300"/>
                </a:lnTo>
                <a:lnTo>
                  <a:pt x="2455921" y="2133600"/>
                </a:lnTo>
                <a:lnTo>
                  <a:pt x="2464874" y="2120900"/>
                </a:lnTo>
                <a:lnTo>
                  <a:pt x="2474153" y="2095500"/>
                </a:lnTo>
                <a:lnTo>
                  <a:pt x="2483685" y="2082800"/>
                </a:lnTo>
                <a:lnTo>
                  <a:pt x="2493398" y="2057400"/>
                </a:lnTo>
                <a:lnTo>
                  <a:pt x="2522894" y="1981200"/>
                </a:lnTo>
                <a:lnTo>
                  <a:pt x="2532604" y="1955800"/>
                </a:lnTo>
                <a:lnTo>
                  <a:pt x="2535779" y="1943100"/>
                </a:lnTo>
                <a:close/>
              </a:path>
              <a:path w="3446153" h="4737100">
                <a:moveTo>
                  <a:pt x="3295443" y="965200"/>
                </a:moveTo>
                <a:lnTo>
                  <a:pt x="2338025" y="965200"/>
                </a:lnTo>
                <a:lnTo>
                  <a:pt x="2342878" y="977900"/>
                </a:lnTo>
                <a:lnTo>
                  <a:pt x="2348118" y="977900"/>
                </a:lnTo>
                <a:lnTo>
                  <a:pt x="2353783" y="990600"/>
                </a:lnTo>
                <a:lnTo>
                  <a:pt x="2373687" y="1028700"/>
                </a:lnTo>
                <a:lnTo>
                  <a:pt x="2398713" y="1066800"/>
                </a:lnTo>
                <a:lnTo>
                  <a:pt x="2408362" y="1092200"/>
                </a:lnTo>
                <a:lnTo>
                  <a:pt x="2418725" y="1104900"/>
                </a:lnTo>
                <a:lnTo>
                  <a:pt x="2429838" y="1117600"/>
                </a:lnTo>
                <a:lnTo>
                  <a:pt x="2441738" y="1130300"/>
                </a:lnTo>
                <a:lnTo>
                  <a:pt x="2430251" y="1168400"/>
                </a:lnTo>
                <a:lnTo>
                  <a:pt x="2409986" y="1219200"/>
                </a:lnTo>
                <a:lnTo>
                  <a:pt x="2393025" y="1270000"/>
                </a:lnTo>
                <a:lnTo>
                  <a:pt x="2383929" y="1295400"/>
                </a:lnTo>
                <a:lnTo>
                  <a:pt x="2374609" y="1320800"/>
                </a:lnTo>
                <a:lnTo>
                  <a:pt x="2365205" y="1346200"/>
                </a:lnTo>
                <a:lnTo>
                  <a:pt x="2355857" y="1371600"/>
                </a:lnTo>
                <a:lnTo>
                  <a:pt x="2346705" y="1397000"/>
                </a:lnTo>
                <a:lnTo>
                  <a:pt x="2337887" y="1422400"/>
                </a:lnTo>
                <a:lnTo>
                  <a:pt x="2329545" y="1435100"/>
                </a:lnTo>
                <a:lnTo>
                  <a:pt x="2321819" y="1460500"/>
                </a:lnTo>
                <a:lnTo>
                  <a:pt x="2314847" y="1473200"/>
                </a:lnTo>
                <a:lnTo>
                  <a:pt x="2308769" y="1498600"/>
                </a:lnTo>
                <a:lnTo>
                  <a:pt x="2625823" y="1498600"/>
                </a:lnTo>
                <a:lnTo>
                  <a:pt x="2630506" y="1473200"/>
                </a:lnTo>
                <a:lnTo>
                  <a:pt x="2641131" y="1422400"/>
                </a:lnTo>
                <a:lnTo>
                  <a:pt x="2650749" y="1384300"/>
                </a:lnTo>
                <a:lnTo>
                  <a:pt x="2663120" y="1346200"/>
                </a:lnTo>
                <a:lnTo>
                  <a:pt x="2668057" y="1346200"/>
                </a:lnTo>
                <a:lnTo>
                  <a:pt x="2673472" y="1333500"/>
                </a:lnTo>
                <a:lnTo>
                  <a:pt x="2693018" y="1295400"/>
                </a:lnTo>
                <a:lnTo>
                  <a:pt x="2708121" y="1270000"/>
                </a:lnTo>
                <a:lnTo>
                  <a:pt x="2715995" y="1270000"/>
                </a:lnTo>
                <a:lnTo>
                  <a:pt x="2724139" y="1257300"/>
                </a:lnTo>
                <a:lnTo>
                  <a:pt x="2732594" y="1244600"/>
                </a:lnTo>
                <a:lnTo>
                  <a:pt x="2741399" y="1244600"/>
                </a:lnTo>
                <a:lnTo>
                  <a:pt x="2750596" y="1231900"/>
                </a:lnTo>
                <a:lnTo>
                  <a:pt x="2760226" y="1231900"/>
                </a:lnTo>
                <a:lnTo>
                  <a:pt x="2770328" y="1219200"/>
                </a:lnTo>
                <a:lnTo>
                  <a:pt x="2780945" y="1206500"/>
                </a:lnTo>
                <a:lnTo>
                  <a:pt x="2792115" y="1206500"/>
                </a:lnTo>
                <a:lnTo>
                  <a:pt x="2803881" y="1193800"/>
                </a:lnTo>
                <a:lnTo>
                  <a:pt x="2816283" y="1193800"/>
                </a:lnTo>
                <a:lnTo>
                  <a:pt x="2829362" y="1181100"/>
                </a:lnTo>
                <a:lnTo>
                  <a:pt x="2842791" y="1168400"/>
                </a:lnTo>
                <a:lnTo>
                  <a:pt x="2870032" y="1155700"/>
                </a:lnTo>
                <a:lnTo>
                  <a:pt x="2935531" y="1130300"/>
                </a:lnTo>
                <a:lnTo>
                  <a:pt x="2958519" y="1117600"/>
                </a:lnTo>
                <a:lnTo>
                  <a:pt x="2968912" y="1104900"/>
                </a:lnTo>
                <a:lnTo>
                  <a:pt x="2978432" y="1104900"/>
                </a:lnTo>
                <a:lnTo>
                  <a:pt x="2986976" y="1092200"/>
                </a:lnTo>
                <a:lnTo>
                  <a:pt x="3000724" y="1092200"/>
                </a:lnTo>
                <a:lnTo>
                  <a:pt x="3005720" y="1079500"/>
                </a:lnTo>
                <a:lnTo>
                  <a:pt x="3014652" y="1079500"/>
                </a:lnTo>
                <a:lnTo>
                  <a:pt x="3023726" y="1066800"/>
                </a:lnTo>
                <a:lnTo>
                  <a:pt x="3033225" y="1066800"/>
                </a:lnTo>
                <a:lnTo>
                  <a:pt x="3043432" y="1054100"/>
                </a:lnTo>
                <a:lnTo>
                  <a:pt x="3054631" y="1041400"/>
                </a:lnTo>
                <a:lnTo>
                  <a:pt x="3064865" y="1028700"/>
                </a:lnTo>
                <a:lnTo>
                  <a:pt x="3075568" y="1028700"/>
                </a:lnTo>
                <a:lnTo>
                  <a:pt x="3086783" y="1016000"/>
                </a:lnTo>
                <a:lnTo>
                  <a:pt x="3123927" y="1016000"/>
                </a:lnTo>
                <a:lnTo>
                  <a:pt x="3137617" y="1003300"/>
                </a:lnTo>
                <a:lnTo>
                  <a:pt x="3249517" y="1003300"/>
                </a:lnTo>
                <a:lnTo>
                  <a:pt x="3261640" y="990600"/>
                </a:lnTo>
                <a:lnTo>
                  <a:pt x="3273528" y="990600"/>
                </a:lnTo>
                <a:lnTo>
                  <a:pt x="3284892" y="977900"/>
                </a:lnTo>
                <a:lnTo>
                  <a:pt x="3295443" y="965200"/>
                </a:lnTo>
                <a:close/>
              </a:path>
              <a:path w="3446153" h="4737100">
                <a:moveTo>
                  <a:pt x="3237449" y="1003300"/>
                </a:moveTo>
                <a:lnTo>
                  <a:pt x="3148779" y="1003300"/>
                </a:lnTo>
                <a:lnTo>
                  <a:pt x="3160024" y="1016000"/>
                </a:lnTo>
                <a:lnTo>
                  <a:pt x="3225726" y="1016000"/>
                </a:lnTo>
                <a:lnTo>
                  <a:pt x="3237449" y="1003300"/>
                </a:lnTo>
                <a:close/>
              </a:path>
              <a:path w="3446153" h="4737100">
                <a:moveTo>
                  <a:pt x="3413009" y="927100"/>
                </a:moveTo>
                <a:lnTo>
                  <a:pt x="3330793" y="927100"/>
                </a:lnTo>
                <a:lnTo>
                  <a:pt x="3340106" y="939800"/>
                </a:lnTo>
                <a:lnTo>
                  <a:pt x="3350844" y="939800"/>
                </a:lnTo>
                <a:lnTo>
                  <a:pt x="3362192" y="952500"/>
                </a:lnTo>
                <a:lnTo>
                  <a:pt x="3373334" y="965200"/>
                </a:lnTo>
                <a:lnTo>
                  <a:pt x="3383455" y="977900"/>
                </a:lnTo>
                <a:lnTo>
                  <a:pt x="3391739" y="990600"/>
                </a:lnTo>
                <a:lnTo>
                  <a:pt x="3397372" y="1003300"/>
                </a:lnTo>
                <a:lnTo>
                  <a:pt x="3406234" y="990600"/>
                </a:lnTo>
                <a:lnTo>
                  <a:pt x="3412445" y="977900"/>
                </a:lnTo>
                <a:lnTo>
                  <a:pt x="3416271" y="965200"/>
                </a:lnTo>
                <a:lnTo>
                  <a:pt x="3417976" y="952500"/>
                </a:lnTo>
                <a:lnTo>
                  <a:pt x="3417824" y="952500"/>
                </a:lnTo>
                <a:lnTo>
                  <a:pt x="3416080" y="939800"/>
                </a:lnTo>
                <a:lnTo>
                  <a:pt x="3413009" y="927100"/>
                </a:lnTo>
                <a:close/>
              </a:path>
              <a:path w="3446153" h="4737100">
                <a:moveTo>
                  <a:pt x="3312945" y="952500"/>
                </a:moveTo>
                <a:lnTo>
                  <a:pt x="2329340" y="952500"/>
                </a:lnTo>
                <a:lnTo>
                  <a:pt x="2333525" y="965200"/>
                </a:lnTo>
                <a:lnTo>
                  <a:pt x="3304890" y="965200"/>
                </a:lnTo>
                <a:lnTo>
                  <a:pt x="3312945" y="952500"/>
                </a:lnTo>
                <a:close/>
              </a:path>
              <a:path w="3446153" h="4737100">
                <a:moveTo>
                  <a:pt x="3419377" y="495300"/>
                </a:moveTo>
                <a:lnTo>
                  <a:pt x="3385890" y="495300"/>
                </a:lnTo>
                <a:lnTo>
                  <a:pt x="3392313" y="508000"/>
                </a:lnTo>
                <a:lnTo>
                  <a:pt x="3408242" y="508000"/>
                </a:lnTo>
                <a:lnTo>
                  <a:pt x="3418590" y="520700"/>
                </a:lnTo>
                <a:lnTo>
                  <a:pt x="3431087" y="533400"/>
                </a:lnTo>
                <a:lnTo>
                  <a:pt x="3446153" y="546100"/>
                </a:lnTo>
                <a:lnTo>
                  <a:pt x="3441615" y="533400"/>
                </a:lnTo>
                <a:lnTo>
                  <a:pt x="3435381" y="520700"/>
                </a:lnTo>
                <a:lnTo>
                  <a:pt x="3427839" y="508000"/>
                </a:lnTo>
                <a:lnTo>
                  <a:pt x="3419377" y="495300"/>
                </a:lnTo>
                <a:close/>
              </a:path>
              <a:path w="3446153" h="4737100">
                <a:moveTo>
                  <a:pt x="3410382" y="482600"/>
                </a:moveTo>
                <a:lnTo>
                  <a:pt x="1543607" y="482600"/>
                </a:lnTo>
                <a:lnTo>
                  <a:pt x="1516916" y="495300"/>
                </a:lnTo>
                <a:lnTo>
                  <a:pt x="1488341" y="508000"/>
                </a:lnTo>
                <a:lnTo>
                  <a:pt x="3379935" y="508000"/>
                </a:lnTo>
                <a:lnTo>
                  <a:pt x="3385890" y="495300"/>
                </a:lnTo>
                <a:lnTo>
                  <a:pt x="3419377" y="495300"/>
                </a:lnTo>
                <a:lnTo>
                  <a:pt x="3410382" y="482600"/>
                </a:lnTo>
                <a:close/>
              </a:path>
              <a:path w="3446153" h="4737100">
                <a:moveTo>
                  <a:pt x="3278245" y="177800"/>
                </a:moveTo>
                <a:lnTo>
                  <a:pt x="2447272" y="177800"/>
                </a:lnTo>
                <a:lnTo>
                  <a:pt x="2437512" y="190500"/>
                </a:lnTo>
                <a:lnTo>
                  <a:pt x="2428037" y="203200"/>
                </a:lnTo>
                <a:lnTo>
                  <a:pt x="2418834" y="203200"/>
                </a:lnTo>
                <a:lnTo>
                  <a:pt x="2409888" y="215900"/>
                </a:lnTo>
                <a:lnTo>
                  <a:pt x="2401185" y="228600"/>
                </a:lnTo>
                <a:lnTo>
                  <a:pt x="2392711" y="241300"/>
                </a:lnTo>
                <a:lnTo>
                  <a:pt x="2384262" y="241300"/>
                </a:lnTo>
                <a:lnTo>
                  <a:pt x="2375819" y="254000"/>
                </a:lnTo>
                <a:lnTo>
                  <a:pt x="2367384" y="254000"/>
                </a:lnTo>
                <a:lnTo>
                  <a:pt x="2358959" y="266700"/>
                </a:lnTo>
                <a:lnTo>
                  <a:pt x="2292147" y="266700"/>
                </a:lnTo>
                <a:lnTo>
                  <a:pt x="2283898" y="279400"/>
                </a:lnTo>
                <a:lnTo>
                  <a:pt x="2267488" y="279400"/>
                </a:lnTo>
                <a:lnTo>
                  <a:pt x="2251209" y="304800"/>
                </a:lnTo>
                <a:lnTo>
                  <a:pt x="2303537" y="304800"/>
                </a:lnTo>
                <a:lnTo>
                  <a:pt x="2312001" y="317500"/>
                </a:lnTo>
                <a:lnTo>
                  <a:pt x="2318075" y="330200"/>
                </a:lnTo>
                <a:lnTo>
                  <a:pt x="2293794" y="330200"/>
                </a:lnTo>
                <a:lnTo>
                  <a:pt x="2281385" y="342900"/>
                </a:lnTo>
                <a:lnTo>
                  <a:pt x="2269091" y="342900"/>
                </a:lnTo>
                <a:lnTo>
                  <a:pt x="2257132" y="355600"/>
                </a:lnTo>
                <a:lnTo>
                  <a:pt x="2245729" y="368300"/>
                </a:lnTo>
                <a:lnTo>
                  <a:pt x="2235100" y="368300"/>
                </a:lnTo>
                <a:lnTo>
                  <a:pt x="2225468" y="381000"/>
                </a:lnTo>
                <a:lnTo>
                  <a:pt x="2217051" y="393700"/>
                </a:lnTo>
                <a:lnTo>
                  <a:pt x="2210070" y="406400"/>
                </a:lnTo>
                <a:lnTo>
                  <a:pt x="2204746" y="406400"/>
                </a:lnTo>
                <a:lnTo>
                  <a:pt x="2218000" y="419100"/>
                </a:lnTo>
                <a:lnTo>
                  <a:pt x="2235788" y="419100"/>
                </a:lnTo>
                <a:lnTo>
                  <a:pt x="2227125" y="431800"/>
                </a:lnTo>
                <a:lnTo>
                  <a:pt x="2210299" y="469900"/>
                </a:lnTo>
                <a:lnTo>
                  <a:pt x="1609803" y="469900"/>
                </a:lnTo>
                <a:lnTo>
                  <a:pt x="1590308" y="482600"/>
                </a:lnTo>
                <a:lnTo>
                  <a:pt x="3401244" y="482600"/>
                </a:lnTo>
                <a:lnTo>
                  <a:pt x="3392351" y="469900"/>
                </a:lnTo>
                <a:lnTo>
                  <a:pt x="3384091" y="457200"/>
                </a:lnTo>
                <a:lnTo>
                  <a:pt x="3376852" y="457200"/>
                </a:lnTo>
                <a:lnTo>
                  <a:pt x="3367733" y="444500"/>
                </a:lnTo>
                <a:lnTo>
                  <a:pt x="3359012" y="444500"/>
                </a:lnTo>
                <a:lnTo>
                  <a:pt x="3336711" y="406400"/>
                </a:lnTo>
                <a:lnTo>
                  <a:pt x="3323307" y="368300"/>
                </a:lnTo>
                <a:lnTo>
                  <a:pt x="3317251" y="330200"/>
                </a:lnTo>
                <a:lnTo>
                  <a:pt x="3314034" y="292100"/>
                </a:lnTo>
                <a:lnTo>
                  <a:pt x="3312847" y="279400"/>
                </a:lnTo>
                <a:lnTo>
                  <a:pt x="3306700" y="241300"/>
                </a:lnTo>
                <a:lnTo>
                  <a:pt x="3293318" y="203200"/>
                </a:lnTo>
                <a:lnTo>
                  <a:pt x="3286504" y="190500"/>
                </a:lnTo>
                <a:lnTo>
                  <a:pt x="3278245" y="177800"/>
                </a:lnTo>
                <a:close/>
              </a:path>
              <a:path w="3446153" h="4737100">
                <a:moveTo>
                  <a:pt x="2129533" y="381000"/>
                </a:moveTo>
                <a:lnTo>
                  <a:pt x="2074042" y="381000"/>
                </a:lnTo>
                <a:lnTo>
                  <a:pt x="2067939" y="393700"/>
                </a:lnTo>
                <a:lnTo>
                  <a:pt x="2063298" y="406400"/>
                </a:lnTo>
                <a:lnTo>
                  <a:pt x="2059607" y="419100"/>
                </a:lnTo>
                <a:lnTo>
                  <a:pt x="2056357" y="431800"/>
                </a:lnTo>
                <a:lnTo>
                  <a:pt x="2053038" y="444500"/>
                </a:lnTo>
                <a:lnTo>
                  <a:pt x="2049141" y="444500"/>
                </a:lnTo>
                <a:lnTo>
                  <a:pt x="2044156" y="457200"/>
                </a:lnTo>
                <a:lnTo>
                  <a:pt x="1997632" y="457200"/>
                </a:lnTo>
                <a:lnTo>
                  <a:pt x="1979704" y="469900"/>
                </a:lnTo>
                <a:lnTo>
                  <a:pt x="2198055" y="469900"/>
                </a:lnTo>
                <a:lnTo>
                  <a:pt x="2175461" y="431800"/>
                </a:lnTo>
                <a:lnTo>
                  <a:pt x="2149674" y="393700"/>
                </a:lnTo>
                <a:lnTo>
                  <a:pt x="2139957" y="393700"/>
                </a:lnTo>
                <a:lnTo>
                  <a:pt x="2129533" y="381000"/>
                </a:lnTo>
                <a:close/>
              </a:path>
              <a:path w="3446153" h="4737100">
                <a:moveTo>
                  <a:pt x="2106207" y="368300"/>
                </a:moveTo>
                <a:lnTo>
                  <a:pt x="2092666" y="381000"/>
                </a:lnTo>
                <a:lnTo>
                  <a:pt x="2118312" y="381000"/>
                </a:lnTo>
                <a:lnTo>
                  <a:pt x="2106207" y="368300"/>
                </a:lnTo>
                <a:close/>
              </a:path>
              <a:path w="3446153" h="4737100">
                <a:moveTo>
                  <a:pt x="3239260" y="152400"/>
                </a:moveTo>
                <a:lnTo>
                  <a:pt x="2478412" y="152400"/>
                </a:lnTo>
                <a:lnTo>
                  <a:pt x="2467708" y="165100"/>
                </a:lnTo>
                <a:lnTo>
                  <a:pt x="2457333" y="177800"/>
                </a:lnTo>
                <a:lnTo>
                  <a:pt x="3268383" y="177800"/>
                </a:lnTo>
                <a:lnTo>
                  <a:pt x="3256758" y="165100"/>
                </a:lnTo>
                <a:lnTo>
                  <a:pt x="3243209" y="165100"/>
                </a:lnTo>
                <a:lnTo>
                  <a:pt x="3239260" y="152400"/>
                </a:lnTo>
                <a:close/>
              </a:path>
              <a:path w="3446153" h="4737100">
                <a:moveTo>
                  <a:pt x="3210250" y="139700"/>
                </a:moveTo>
                <a:lnTo>
                  <a:pt x="2500863" y="139700"/>
                </a:lnTo>
                <a:lnTo>
                  <a:pt x="2489459" y="152400"/>
                </a:lnTo>
                <a:lnTo>
                  <a:pt x="3220987" y="152400"/>
                </a:lnTo>
                <a:lnTo>
                  <a:pt x="3210250" y="139700"/>
                </a:lnTo>
                <a:close/>
              </a:path>
              <a:path w="3446153" h="4737100">
                <a:moveTo>
                  <a:pt x="3136511" y="50800"/>
                </a:moveTo>
                <a:lnTo>
                  <a:pt x="2605943" y="50800"/>
                </a:lnTo>
                <a:lnTo>
                  <a:pt x="2592760" y="63500"/>
                </a:lnTo>
                <a:lnTo>
                  <a:pt x="2493573" y="63500"/>
                </a:lnTo>
                <a:lnTo>
                  <a:pt x="2502556" y="76200"/>
                </a:lnTo>
                <a:lnTo>
                  <a:pt x="2512388" y="88900"/>
                </a:lnTo>
                <a:lnTo>
                  <a:pt x="2522375" y="101600"/>
                </a:lnTo>
                <a:lnTo>
                  <a:pt x="2531823" y="114300"/>
                </a:lnTo>
                <a:lnTo>
                  <a:pt x="2546323" y="114300"/>
                </a:lnTo>
                <a:lnTo>
                  <a:pt x="2549988" y="127000"/>
                </a:lnTo>
                <a:lnTo>
                  <a:pt x="2550335" y="139700"/>
                </a:lnTo>
                <a:lnTo>
                  <a:pt x="3201682" y="139700"/>
                </a:lnTo>
                <a:lnTo>
                  <a:pt x="3194472" y="127000"/>
                </a:lnTo>
                <a:lnTo>
                  <a:pt x="3187809" y="114300"/>
                </a:lnTo>
                <a:lnTo>
                  <a:pt x="3180883" y="101600"/>
                </a:lnTo>
                <a:lnTo>
                  <a:pt x="3172882" y="88900"/>
                </a:lnTo>
                <a:lnTo>
                  <a:pt x="3164901" y="88900"/>
                </a:lnTo>
                <a:lnTo>
                  <a:pt x="3156085" y="76200"/>
                </a:lnTo>
                <a:lnTo>
                  <a:pt x="3146574" y="63500"/>
                </a:lnTo>
                <a:lnTo>
                  <a:pt x="3136511" y="50800"/>
                </a:lnTo>
                <a:close/>
              </a:path>
              <a:path w="3446153" h="4737100">
                <a:moveTo>
                  <a:pt x="3115291" y="38100"/>
                </a:moveTo>
                <a:lnTo>
                  <a:pt x="2670866" y="38100"/>
                </a:lnTo>
                <a:lnTo>
                  <a:pt x="2658186" y="50800"/>
                </a:lnTo>
                <a:lnTo>
                  <a:pt x="3126036" y="50800"/>
                </a:lnTo>
                <a:lnTo>
                  <a:pt x="3115291" y="38100"/>
                </a:lnTo>
                <a:close/>
              </a:path>
              <a:path w="3446153" h="4737100">
                <a:moveTo>
                  <a:pt x="3093641" y="25400"/>
                </a:moveTo>
                <a:lnTo>
                  <a:pt x="2707167" y="25400"/>
                </a:lnTo>
                <a:lnTo>
                  <a:pt x="2695408" y="38100"/>
                </a:lnTo>
                <a:lnTo>
                  <a:pt x="3104419" y="38100"/>
                </a:lnTo>
                <a:lnTo>
                  <a:pt x="3093641" y="25400"/>
                </a:lnTo>
                <a:close/>
              </a:path>
              <a:path w="3446153" h="4737100">
                <a:moveTo>
                  <a:pt x="3058143" y="12700"/>
                </a:moveTo>
                <a:lnTo>
                  <a:pt x="2751170" y="12700"/>
                </a:lnTo>
                <a:lnTo>
                  <a:pt x="2736794" y="25400"/>
                </a:lnTo>
                <a:lnTo>
                  <a:pt x="3070393" y="25400"/>
                </a:lnTo>
                <a:lnTo>
                  <a:pt x="3058143" y="12700"/>
                </a:lnTo>
                <a:close/>
              </a:path>
              <a:path w="3446153" h="4737100">
                <a:moveTo>
                  <a:pt x="3020211" y="0"/>
                </a:moveTo>
                <a:lnTo>
                  <a:pt x="2806481" y="0"/>
                </a:lnTo>
                <a:lnTo>
                  <a:pt x="2792919" y="12700"/>
                </a:lnTo>
                <a:lnTo>
                  <a:pt x="3032942" y="12700"/>
                </a:lnTo>
                <a:lnTo>
                  <a:pt x="302021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46" name="object 46">
            <a:extLst>
              <a:ext uri="{FF2B5EF4-FFF2-40B4-BE49-F238E27FC236}">
                <a16:creationId xmlns:a16="http://schemas.microsoft.com/office/drawing/2014/main" id="{71C49923-3279-472C-B569-F560276416C1}"/>
              </a:ext>
            </a:extLst>
          </p:cNvPr>
          <p:cNvSpPr>
            <a:spLocks noGrp="1"/>
          </p:cNvSpPr>
          <p:nvPr>
            <p:ph type="ftr" sz="quarter" idx="10"/>
          </p:nvPr>
        </p:nvSpPr>
        <p:spPr/>
        <p:txBody>
          <a:bodyPr vert="horz" rtlCol="0"/>
          <a:lstStyle/>
          <a:p>
            <a:pPr>
              <a:defRPr/>
            </a:pPr>
            <a:r>
              <a:t>Se</a:t>
            </a:r>
            <a:r>
              <a:rPr spc="9"/>
              <a:t>c</a:t>
            </a:r>
            <a:r>
              <a:rPr spc="12"/>
              <a:t>t</a:t>
            </a:r>
            <a:r>
              <a:rPr spc="-6"/>
              <a:t>i</a:t>
            </a:r>
            <a:r>
              <a:t>on</a:t>
            </a:r>
            <a:r>
              <a:rPr spc="3"/>
              <a:t> </a:t>
            </a:r>
            <a:r>
              <a:rPr spc="17"/>
              <a:t>C</a:t>
            </a:r>
            <a:r>
              <a:t>:</a:t>
            </a:r>
          </a:p>
        </p:txBody>
      </p:sp>
      <p:sp>
        <p:nvSpPr>
          <p:cNvPr id="12334" name="object 32">
            <a:extLst>
              <a:ext uri="{FF2B5EF4-FFF2-40B4-BE49-F238E27FC236}">
                <a16:creationId xmlns:a16="http://schemas.microsoft.com/office/drawing/2014/main" id="{8DCF7C18-9539-4D26-BF99-83BDD7561404}"/>
              </a:ext>
            </a:extLst>
          </p:cNvPr>
          <p:cNvSpPr txBox="1">
            <a:spLocks noChangeArrowheads="1"/>
          </p:cNvSpPr>
          <p:nvPr/>
        </p:nvSpPr>
        <p:spPr bwMode="auto">
          <a:xfrm>
            <a:off x="431528" y="827911"/>
            <a:ext cx="3074181" cy="106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my-MM" altLang="en-US" sz="2310">
                <a:solidFill>
                  <a:srgbClr val="FF0000"/>
                </a:solidFill>
                <a:latin typeface="Gill Sans" pitchFamily="34" charset="0"/>
                <a:cs typeface="Gill Sans" pitchFamily="34" charset="0"/>
              </a:rPr>
              <a:t>စိတ်နှလုံးချွတ်ခြုံကျခြင်း</a:t>
            </a:r>
            <a:r>
              <a:rPr lang="en-US" altLang="en-US" sz="2310">
                <a:solidFill>
                  <a:srgbClr val="FF0000"/>
                </a:solidFill>
                <a:latin typeface="Gill Sans" pitchFamily="34" charset="0"/>
                <a:cs typeface="Gill Sans" pitchFamily="34" charset="0"/>
              </a:rPr>
              <a:t> လက္ခဏာများ</a:t>
            </a:r>
            <a:endParaRPr lang="en-US" altLang="en-US" sz="2310">
              <a:solidFill>
                <a:srgbClr val="FF0000"/>
              </a:solidFill>
              <a:latin typeface="Gill Sans Light"/>
              <a:ea typeface="Gill Sans Light"/>
              <a:cs typeface="Gill Sans Light"/>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object 2">
            <a:extLst>
              <a:ext uri="{FF2B5EF4-FFF2-40B4-BE49-F238E27FC236}">
                <a16:creationId xmlns:a16="http://schemas.microsoft.com/office/drawing/2014/main" id="{3436E5C8-8D21-486E-A1B3-D2E99D47928B}"/>
              </a:ext>
            </a:extLst>
          </p:cNvPr>
          <p:cNvSpPr>
            <a:spLocks/>
          </p:cNvSpPr>
          <p:nvPr/>
        </p:nvSpPr>
        <p:spPr bwMode="auto">
          <a:xfrm>
            <a:off x="2445" y="5795377"/>
            <a:ext cx="9140027" cy="118273"/>
          </a:xfrm>
          <a:custGeom>
            <a:avLst/>
            <a:gdLst>
              <a:gd name="T0" fmla="*/ 0 w 15825596"/>
              <a:gd name="T1" fmla="*/ 0 h 204177"/>
              <a:gd name="T2" fmla="*/ 0 w 15825596"/>
              <a:gd name="T3" fmla="*/ 205399 h 204177"/>
              <a:gd name="T4" fmla="*/ 15825980 w 15825596"/>
              <a:gd name="T5" fmla="*/ 205399 h 204177"/>
              <a:gd name="T6" fmla="*/ 15825980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19" name="object 3">
            <a:extLst>
              <a:ext uri="{FF2B5EF4-FFF2-40B4-BE49-F238E27FC236}">
                <a16:creationId xmlns:a16="http://schemas.microsoft.com/office/drawing/2014/main" id="{0E408C43-854A-4F22-9C9E-0D153621DB0C}"/>
              </a:ext>
            </a:extLst>
          </p:cNvPr>
          <p:cNvSpPr>
            <a:spLocks/>
          </p:cNvSpPr>
          <p:nvPr/>
        </p:nvSpPr>
        <p:spPr bwMode="auto">
          <a:xfrm>
            <a:off x="2445" y="5603756"/>
            <a:ext cx="1435779" cy="191621"/>
          </a:xfrm>
          <a:custGeom>
            <a:avLst/>
            <a:gdLst>
              <a:gd name="T0" fmla="*/ 0 w 2486525"/>
              <a:gd name="T1" fmla="*/ 330940 h 332638"/>
              <a:gd name="T2" fmla="*/ 2438021 w 2486525"/>
              <a:gd name="T3" fmla="*/ 330940 h 332638"/>
              <a:gd name="T4" fmla="*/ 2460182 w 2486525"/>
              <a:gd name="T5" fmla="*/ 330621 h 332638"/>
              <a:gd name="T6" fmla="*/ 2485517 w 2486525"/>
              <a:gd name="T7" fmla="*/ 291061 h 332638"/>
              <a:gd name="T8" fmla="*/ 2485525 w 2486525"/>
              <a:gd name="T9" fmla="*/ 47281 h 332638"/>
              <a:gd name="T10" fmla="*/ 2485204 w 2486525"/>
              <a:gd name="T11" fmla="*/ 25222 h 332638"/>
              <a:gd name="T12" fmla="*/ 2445458 w 2486525"/>
              <a:gd name="T13" fmla="*/ 7 h 332638"/>
              <a:gd name="T14" fmla="*/ 0 w 2486525"/>
              <a:gd name="T15" fmla="*/ 0 h 332638"/>
              <a:gd name="T16" fmla="*/ 0 w 2486525"/>
              <a:gd name="T17" fmla="*/ 330940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0" name="object 4">
            <a:extLst>
              <a:ext uri="{FF2B5EF4-FFF2-40B4-BE49-F238E27FC236}">
                <a16:creationId xmlns:a16="http://schemas.microsoft.com/office/drawing/2014/main" id="{90BA590E-28AC-4D60-88E0-A9CE4B96BD70}"/>
              </a:ext>
            </a:extLst>
          </p:cNvPr>
          <p:cNvSpPr>
            <a:spLocks/>
          </p:cNvSpPr>
          <p:nvPr/>
        </p:nvSpPr>
        <p:spPr bwMode="auto">
          <a:xfrm>
            <a:off x="2445" y="0"/>
            <a:ext cx="9140027" cy="118273"/>
          </a:xfrm>
          <a:custGeom>
            <a:avLst/>
            <a:gdLst>
              <a:gd name="T0" fmla="*/ 0 w 15825596"/>
              <a:gd name="T1" fmla="*/ 205401 h 204177"/>
              <a:gd name="T2" fmla="*/ 15825980 w 15825596"/>
              <a:gd name="T3" fmla="*/ 205401 h 204177"/>
              <a:gd name="T4" fmla="*/ 15825980 w 15825596"/>
              <a:gd name="T5" fmla="*/ 0 h 204177"/>
              <a:gd name="T6" fmla="*/ 0 w 15825596"/>
              <a:gd name="T7" fmla="*/ 0 h 204177"/>
              <a:gd name="T8" fmla="*/ 0 w 15825596"/>
              <a:gd name="T9" fmla="*/ 205401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1" name="object 5">
            <a:extLst>
              <a:ext uri="{FF2B5EF4-FFF2-40B4-BE49-F238E27FC236}">
                <a16:creationId xmlns:a16="http://schemas.microsoft.com/office/drawing/2014/main" id="{0B556E06-9C2D-4D34-962F-F621BF0BECAA}"/>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2" name="object 6">
            <a:extLst>
              <a:ext uri="{FF2B5EF4-FFF2-40B4-BE49-F238E27FC236}">
                <a16:creationId xmlns:a16="http://schemas.microsoft.com/office/drawing/2014/main" id="{332B196D-BF94-453C-80C6-220028830E2E}"/>
              </a:ext>
            </a:extLst>
          </p:cNvPr>
          <p:cNvSpPr txBox="1">
            <a:spLocks noChangeArrowheads="1"/>
          </p:cNvSpPr>
          <p:nvPr/>
        </p:nvSpPr>
        <p:spPr bwMode="auto">
          <a:xfrm>
            <a:off x="8580445" y="275053"/>
            <a:ext cx="278721"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1</a:t>
            </a:r>
            <a:r>
              <a:rPr lang="en-US" altLang="en-US" sz="2021" b="1" dirty="0">
                <a:solidFill>
                  <a:srgbClr val="ED1C24"/>
                </a:solidFill>
                <a:latin typeface="Gill Sans" pitchFamily="34" charset="0"/>
                <a:cs typeface="Gill Sans" pitchFamily="34" charset="0"/>
              </a:rPr>
              <a:t>5</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9223" name="object 7">
            <a:extLst>
              <a:ext uri="{FF2B5EF4-FFF2-40B4-BE49-F238E27FC236}">
                <a16:creationId xmlns:a16="http://schemas.microsoft.com/office/drawing/2014/main" id="{7F3D787F-D848-4763-B7EA-8A654EC915A4}"/>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4" name="object 8">
            <a:extLst>
              <a:ext uri="{FF2B5EF4-FFF2-40B4-BE49-F238E27FC236}">
                <a16:creationId xmlns:a16="http://schemas.microsoft.com/office/drawing/2014/main" id="{67B5FFCC-C93C-4551-95C5-B39742A07E14}"/>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5" name="object 9">
            <a:extLst>
              <a:ext uri="{FF2B5EF4-FFF2-40B4-BE49-F238E27FC236}">
                <a16:creationId xmlns:a16="http://schemas.microsoft.com/office/drawing/2014/main" id="{FEB418DB-9A69-4B3C-9D7C-2B75ADE21B69}"/>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6" name="object 10">
            <a:extLst>
              <a:ext uri="{FF2B5EF4-FFF2-40B4-BE49-F238E27FC236}">
                <a16:creationId xmlns:a16="http://schemas.microsoft.com/office/drawing/2014/main" id="{DA91D657-401D-4236-9722-BF44BDA6CFCE}"/>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7" name="object 11">
            <a:extLst>
              <a:ext uri="{FF2B5EF4-FFF2-40B4-BE49-F238E27FC236}">
                <a16:creationId xmlns:a16="http://schemas.microsoft.com/office/drawing/2014/main" id="{27150CBB-B718-4770-87E8-DA7263BB65AB}"/>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8" name="object 12">
            <a:extLst>
              <a:ext uri="{FF2B5EF4-FFF2-40B4-BE49-F238E27FC236}">
                <a16:creationId xmlns:a16="http://schemas.microsoft.com/office/drawing/2014/main" id="{B23E8F61-CBD5-4DF8-A152-D469C3030993}"/>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29" name="object 13">
            <a:extLst>
              <a:ext uri="{FF2B5EF4-FFF2-40B4-BE49-F238E27FC236}">
                <a16:creationId xmlns:a16="http://schemas.microsoft.com/office/drawing/2014/main" id="{4B7376A8-665F-49C1-A6BF-FE34ABCED65D}"/>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0" name="object 14">
            <a:extLst>
              <a:ext uri="{FF2B5EF4-FFF2-40B4-BE49-F238E27FC236}">
                <a16:creationId xmlns:a16="http://schemas.microsoft.com/office/drawing/2014/main" id="{2657054D-2299-45FC-9001-A80710973940}"/>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1" name="object 15">
            <a:extLst>
              <a:ext uri="{FF2B5EF4-FFF2-40B4-BE49-F238E27FC236}">
                <a16:creationId xmlns:a16="http://schemas.microsoft.com/office/drawing/2014/main" id="{274A4403-4499-4AC0-8959-B6E3C80DD3D3}"/>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2" name="object 16">
            <a:extLst>
              <a:ext uri="{FF2B5EF4-FFF2-40B4-BE49-F238E27FC236}">
                <a16:creationId xmlns:a16="http://schemas.microsoft.com/office/drawing/2014/main" id="{D371261C-4B28-4050-95C8-D8E75D133C75}"/>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3" name="object 17">
            <a:extLst>
              <a:ext uri="{FF2B5EF4-FFF2-40B4-BE49-F238E27FC236}">
                <a16:creationId xmlns:a16="http://schemas.microsoft.com/office/drawing/2014/main" id="{C89A8D52-287F-453C-8A87-F9938CC056BC}"/>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4" name="object 18">
            <a:extLst>
              <a:ext uri="{FF2B5EF4-FFF2-40B4-BE49-F238E27FC236}">
                <a16:creationId xmlns:a16="http://schemas.microsoft.com/office/drawing/2014/main" id="{A08C73FB-F82B-47A8-AAF6-B40051EB582F}"/>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5" name="object 19">
            <a:extLst>
              <a:ext uri="{FF2B5EF4-FFF2-40B4-BE49-F238E27FC236}">
                <a16:creationId xmlns:a16="http://schemas.microsoft.com/office/drawing/2014/main" id="{3F7CDA1F-9B2C-4E8A-9417-6CA765FF1BEB}"/>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6" name="object 20">
            <a:extLst>
              <a:ext uri="{FF2B5EF4-FFF2-40B4-BE49-F238E27FC236}">
                <a16:creationId xmlns:a16="http://schemas.microsoft.com/office/drawing/2014/main" id="{0075EF11-C4F2-4882-9963-C1DB111515F1}"/>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7" name="object 21">
            <a:extLst>
              <a:ext uri="{FF2B5EF4-FFF2-40B4-BE49-F238E27FC236}">
                <a16:creationId xmlns:a16="http://schemas.microsoft.com/office/drawing/2014/main" id="{EACFBED3-637E-4363-AB1D-DCF1BB920AB1}"/>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8" name="object 22">
            <a:extLst>
              <a:ext uri="{FF2B5EF4-FFF2-40B4-BE49-F238E27FC236}">
                <a16:creationId xmlns:a16="http://schemas.microsoft.com/office/drawing/2014/main" id="{60FF1406-C67B-4D54-98E7-59BC8AA0BCEE}"/>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39" name="object 23">
            <a:extLst>
              <a:ext uri="{FF2B5EF4-FFF2-40B4-BE49-F238E27FC236}">
                <a16:creationId xmlns:a16="http://schemas.microsoft.com/office/drawing/2014/main" id="{7063EF43-C62F-472B-8CFF-1E3305B143BD}"/>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24">
            <a:extLst>
              <a:ext uri="{FF2B5EF4-FFF2-40B4-BE49-F238E27FC236}">
                <a16:creationId xmlns:a16="http://schemas.microsoft.com/office/drawing/2014/main" id="{3960F750-3317-4548-9D89-5EC82D109B53}"/>
              </a:ext>
            </a:extLst>
          </p:cNvPr>
          <p:cNvSpPr txBox="1"/>
          <p:nvPr/>
        </p:nvSpPr>
        <p:spPr>
          <a:xfrm>
            <a:off x="3000069" y="714893"/>
            <a:ext cx="3040258" cy="484094"/>
          </a:xfrm>
          <a:prstGeom prst="rect">
            <a:avLst/>
          </a:prstGeom>
        </p:spPr>
        <p:txBody>
          <a:bodyPr lIns="0" tIns="0" rIns="0" bIns="0"/>
          <a:lstStyle/>
          <a:p>
            <a:pPr marL="0" marR="0" lvl="0" indent="0" algn="l" defTabSz="457200" rtl="0" eaLnBrk="1" fontAlgn="auto" latinLnBrk="0" hangingPunct="1">
              <a:lnSpc>
                <a:spcPts val="578"/>
              </a:lnSpc>
              <a:spcBef>
                <a:spcPts val="0"/>
              </a:spcBef>
              <a:spcAft>
                <a:spcPts val="0"/>
              </a:spcAft>
              <a:buClrTx/>
              <a:buSzTx/>
              <a:buFontTx/>
              <a:buNone/>
              <a:tabLst/>
              <a:defRPr/>
            </a:pPr>
            <a:endParaRPr kumimoji="0" lang="my-MM" sz="2400" b="0" i="0" u="none" strike="noStrike" kern="1200" cap="none" spc="0" normalizeH="0" baseline="0" noProof="0" dirty="0">
              <a:ln>
                <a:noFill/>
              </a:ln>
              <a:solidFill>
                <a:srgbClr val="FA0007"/>
              </a:solidFill>
              <a:effectLst/>
              <a:uLnTx/>
              <a:uFillTx/>
              <a:latin typeface="Calibri" panose="020F0502020204030204"/>
              <a:ea typeface="+mn-ea"/>
              <a:cs typeface="Myanmar Text" panose="020B0502040204020203" pitchFamily="34" charset="0"/>
            </a:endParaRPr>
          </a:p>
          <a:p>
            <a:pPr marL="0" marR="0" lvl="0" indent="0" algn="l" defTabSz="457200" rtl="0" eaLnBrk="1" fontAlgn="auto" latinLnBrk="0" hangingPunct="1">
              <a:lnSpc>
                <a:spcPts val="578"/>
              </a:lnSpc>
              <a:spcBef>
                <a:spcPts val="0"/>
              </a:spcBef>
              <a:spcAft>
                <a:spcPts val="0"/>
              </a:spcAft>
              <a:buClrTx/>
              <a:buSzTx/>
              <a:buFontTx/>
              <a:buNone/>
              <a:tabLst/>
              <a:defRPr/>
            </a:pPr>
            <a:r>
              <a:rPr kumimoji="0" lang="my-MM" sz="2400" b="0" i="0" u="none" strike="noStrike" kern="1200" cap="none" spc="0" normalizeH="0" baseline="0" noProof="0" dirty="0">
                <a:ln>
                  <a:noFill/>
                </a:ln>
                <a:solidFill>
                  <a:srgbClr val="FA0007"/>
                </a:solidFill>
                <a:effectLst/>
                <a:uLnTx/>
                <a:uFillTx/>
                <a:latin typeface="Calibri" panose="020F0502020204030204"/>
                <a:ea typeface="+mn-ea"/>
                <a:cs typeface="Myanmar Text" panose="020B0502040204020203" pitchFamily="34" charset="0"/>
              </a:rPr>
              <a:t>စိတ်ဖိစီးမှု ပုံစံများ</a:t>
            </a:r>
          </a:p>
        </p:txBody>
      </p:sp>
      <p:sp>
        <p:nvSpPr>
          <p:cNvPr id="9241" name="object 25">
            <a:extLst>
              <a:ext uri="{FF2B5EF4-FFF2-40B4-BE49-F238E27FC236}">
                <a16:creationId xmlns:a16="http://schemas.microsoft.com/office/drawing/2014/main" id="{8E1D0DFF-2D3C-4B0F-985F-10C5275517FA}"/>
              </a:ext>
            </a:extLst>
          </p:cNvPr>
          <p:cNvSpPr txBox="1">
            <a:spLocks noChangeArrowheads="1"/>
          </p:cNvSpPr>
          <p:nvPr/>
        </p:nvSpPr>
        <p:spPr bwMode="auto">
          <a:xfrm>
            <a:off x="4091573" y="1573917"/>
            <a:ext cx="836163" cy="254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1617" b="1" i="0" u="none" strike="noStrike" kern="1200" cap="none" spc="0" normalizeH="0" baseline="0" noProof="0" dirty="0" err="1">
                <a:ln>
                  <a:noFill/>
                </a:ln>
                <a:solidFill>
                  <a:srgbClr val="ED1C24"/>
                </a:solidFill>
                <a:effectLst/>
                <a:uLnTx/>
                <a:uFillTx/>
                <a:latin typeface="Gill Sans" pitchFamily="34" charset="0"/>
                <a:ea typeface="+mn-ea"/>
                <a:cs typeface="Gill Sans" pitchFamily="34" charset="0"/>
              </a:rPr>
              <a:t>စိတ်ဖိစီးမ</a:t>
            </a:r>
            <a:r>
              <a:rPr kumimoji="0" lang="en-US" altLang="en-US" sz="1617"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a:t>
            </a:r>
            <a:endParaRPr kumimoji="0" lang="en-US" altLang="en-US" sz="1617"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9242" name="object 26">
            <a:extLst>
              <a:ext uri="{FF2B5EF4-FFF2-40B4-BE49-F238E27FC236}">
                <a16:creationId xmlns:a16="http://schemas.microsoft.com/office/drawing/2014/main" id="{39C61D7B-83E9-48AC-8589-FB98A89BDDE0}"/>
              </a:ext>
            </a:extLst>
          </p:cNvPr>
          <p:cNvSpPr>
            <a:spLocks/>
          </p:cNvSpPr>
          <p:nvPr/>
        </p:nvSpPr>
        <p:spPr bwMode="auto">
          <a:xfrm>
            <a:off x="894535" y="4396272"/>
            <a:ext cx="1653988" cy="39424"/>
          </a:xfrm>
          <a:custGeom>
            <a:avLst/>
            <a:gdLst>
              <a:gd name="T0" fmla="*/ 0 w 2864523"/>
              <a:gd name="T1" fmla="*/ 67945 h 68580"/>
              <a:gd name="T2" fmla="*/ 2863177 w 2864523"/>
              <a:gd name="T3" fmla="*/ 67945 h 68580"/>
              <a:gd name="T4" fmla="*/ 2863177 w 2864523"/>
              <a:gd name="T5" fmla="*/ 0 h 68580"/>
              <a:gd name="T6" fmla="*/ 0 w 2864523"/>
              <a:gd name="T7" fmla="*/ 0 h 68580"/>
              <a:gd name="T8" fmla="*/ 0 w 2864523"/>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64523" h="68580">
                <a:moveTo>
                  <a:pt x="0" y="68580"/>
                </a:moveTo>
                <a:lnTo>
                  <a:pt x="2864523" y="68580"/>
                </a:lnTo>
                <a:lnTo>
                  <a:pt x="2864523"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3" name="object 27">
            <a:extLst>
              <a:ext uri="{FF2B5EF4-FFF2-40B4-BE49-F238E27FC236}">
                <a16:creationId xmlns:a16="http://schemas.microsoft.com/office/drawing/2014/main" id="{958A459C-2253-486C-B3A6-D1A3E6DE49D3}"/>
              </a:ext>
            </a:extLst>
          </p:cNvPr>
          <p:cNvSpPr>
            <a:spLocks/>
          </p:cNvSpPr>
          <p:nvPr/>
        </p:nvSpPr>
        <p:spPr bwMode="auto">
          <a:xfrm>
            <a:off x="894535" y="2966910"/>
            <a:ext cx="39424" cy="1429362"/>
          </a:xfrm>
          <a:custGeom>
            <a:avLst/>
            <a:gdLst>
              <a:gd name="T0" fmla="*/ 0 w 68922"/>
              <a:gd name="T1" fmla="*/ 2475867 h 2473959"/>
              <a:gd name="T2" fmla="*/ 67608 w 68922"/>
              <a:gd name="T3" fmla="*/ 2475867 h 2473959"/>
              <a:gd name="T4" fmla="*/ 67608 w 68922"/>
              <a:gd name="T5" fmla="*/ 0 h 2473959"/>
              <a:gd name="T6" fmla="*/ 0 w 68922"/>
              <a:gd name="T7" fmla="*/ 0 h 2473959"/>
              <a:gd name="T8" fmla="*/ 0 w 68922"/>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22" h="2473959">
                <a:moveTo>
                  <a:pt x="0" y="2473959"/>
                </a:moveTo>
                <a:lnTo>
                  <a:pt x="68922" y="2473959"/>
                </a:lnTo>
                <a:lnTo>
                  <a:pt x="68922"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4" name="object 28">
            <a:extLst>
              <a:ext uri="{FF2B5EF4-FFF2-40B4-BE49-F238E27FC236}">
                <a16:creationId xmlns:a16="http://schemas.microsoft.com/office/drawing/2014/main" id="{98484070-98E2-4B07-B7D3-0059369217D0}"/>
              </a:ext>
            </a:extLst>
          </p:cNvPr>
          <p:cNvSpPr>
            <a:spLocks/>
          </p:cNvSpPr>
          <p:nvPr/>
        </p:nvSpPr>
        <p:spPr bwMode="auto">
          <a:xfrm>
            <a:off x="894535" y="2927486"/>
            <a:ext cx="1653988" cy="39424"/>
          </a:xfrm>
          <a:custGeom>
            <a:avLst/>
            <a:gdLst>
              <a:gd name="T0" fmla="*/ 0 w 2864523"/>
              <a:gd name="T1" fmla="*/ 67946 h 68579"/>
              <a:gd name="T2" fmla="*/ 2863177 w 2864523"/>
              <a:gd name="T3" fmla="*/ 67946 h 68579"/>
              <a:gd name="T4" fmla="*/ 2863177 w 2864523"/>
              <a:gd name="T5" fmla="*/ 0 h 68579"/>
              <a:gd name="T6" fmla="*/ 0 w 2864523"/>
              <a:gd name="T7" fmla="*/ 0 h 68579"/>
              <a:gd name="T8" fmla="*/ 0 w 2864523"/>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64523" h="68579">
                <a:moveTo>
                  <a:pt x="0" y="68579"/>
                </a:moveTo>
                <a:lnTo>
                  <a:pt x="2864523" y="68579"/>
                </a:lnTo>
                <a:lnTo>
                  <a:pt x="2864523"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5" name="object 29">
            <a:extLst>
              <a:ext uri="{FF2B5EF4-FFF2-40B4-BE49-F238E27FC236}">
                <a16:creationId xmlns:a16="http://schemas.microsoft.com/office/drawing/2014/main" id="{6A91F6AB-ACBE-418A-8EE9-7CDCD6B2BCAD}"/>
              </a:ext>
            </a:extLst>
          </p:cNvPr>
          <p:cNvSpPr>
            <a:spLocks/>
          </p:cNvSpPr>
          <p:nvPr/>
        </p:nvSpPr>
        <p:spPr bwMode="auto">
          <a:xfrm>
            <a:off x="2509099" y="2966910"/>
            <a:ext cx="39425" cy="1429362"/>
          </a:xfrm>
          <a:custGeom>
            <a:avLst/>
            <a:gdLst>
              <a:gd name="T0" fmla="*/ 67598 w 68935"/>
              <a:gd name="T1" fmla="*/ 0 h 2473921"/>
              <a:gd name="T2" fmla="*/ 0 w 68935"/>
              <a:gd name="T3" fmla="*/ 0 h 2473921"/>
              <a:gd name="T4" fmla="*/ 0 w 68935"/>
              <a:gd name="T5" fmla="*/ 2475905 h 2473921"/>
              <a:gd name="T6" fmla="*/ 67598 w 68935"/>
              <a:gd name="T7" fmla="*/ 2475905 h 2473921"/>
              <a:gd name="T8" fmla="*/ 67598 w 68935"/>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21">
                <a:moveTo>
                  <a:pt x="68935" y="0"/>
                </a:moveTo>
                <a:lnTo>
                  <a:pt x="0" y="0"/>
                </a:lnTo>
                <a:lnTo>
                  <a:pt x="0" y="2473921"/>
                </a:lnTo>
                <a:lnTo>
                  <a:pt x="68935" y="2473921"/>
                </a:lnTo>
                <a:lnTo>
                  <a:pt x="6893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6" name="object 30">
            <a:extLst>
              <a:ext uri="{FF2B5EF4-FFF2-40B4-BE49-F238E27FC236}">
                <a16:creationId xmlns:a16="http://schemas.microsoft.com/office/drawing/2014/main" id="{AFCB70E4-24F0-4F48-9019-715A37A9364B}"/>
              </a:ext>
            </a:extLst>
          </p:cNvPr>
          <p:cNvSpPr>
            <a:spLocks/>
          </p:cNvSpPr>
          <p:nvPr/>
        </p:nvSpPr>
        <p:spPr bwMode="auto">
          <a:xfrm>
            <a:off x="2641125" y="4396272"/>
            <a:ext cx="1942795" cy="39424"/>
          </a:xfrm>
          <a:custGeom>
            <a:avLst/>
            <a:gdLst>
              <a:gd name="T0" fmla="*/ 0 w 3362375"/>
              <a:gd name="T1" fmla="*/ 67945 h 68580"/>
              <a:gd name="T2" fmla="*/ 3365452 w 3362375"/>
              <a:gd name="T3" fmla="*/ 67945 h 68580"/>
              <a:gd name="T4" fmla="*/ 3365452 w 3362375"/>
              <a:gd name="T5" fmla="*/ 0 h 68580"/>
              <a:gd name="T6" fmla="*/ 0 w 3362375"/>
              <a:gd name="T7" fmla="*/ 0 h 68580"/>
              <a:gd name="T8" fmla="*/ 0 w 3362375"/>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62375" h="68580">
                <a:moveTo>
                  <a:pt x="0" y="68580"/>
                </a:moveTo>
                <a:lnTo>
                  <a:pt x="3362375" y="68580"/>
                </a:lnTo>
                <a:lnTo>
                  <a:pt x="3362375"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7" name="object 31">
            <a:extLst>
              <a:ext uri="{FF2B5EF4-FFF2-40B4-BE49-F238E27FC236}">
                <a16:creationId xmlns:a16="http://schemas.microsoft.com/office/drawing/2014/main" id="{6B5D75F9-54C7-477B-9925-98E32B005724}"/>
              </a:ext>
            </a:extLst>
          </p:cNvPr>
          <p:cNvSpPr>
            <a:spLocks/>
          </p:cNvSpPr>
          <p:nvPr/>
        </p:nvSpPr>
        <p:spPr bwMode="auto">
          <a:xfrm>
            <a:off x="2641125" y="2966910"/>
            <a:ext cx="40341" cy="1429362"/>
          </a:xfrm>
          <a:custGeom>
            <a:avLst/>
            <a:gdLst>
              <a:gd name="T0" fmla="*/ 0 w 68935"/>
              <a:gd name="T1" fmla="*/ 2475867 h 2473959"/>
              <a:gd name="T2" fmla="*/ 70777 w 68935"/>
              <a:gd name="T3" fmla="*/ 2475867 h 2473959"/>
              <a:gd name="T4" fmla="*/ 70777 w 68935"/>
              <a:gd name="T5" fmla="*/ 0 h 2473959"/>
              <a:gd name="T6" fmla="*/ 0 w 68935"/>
              <a:gd name="T7" fmla="*/ 0 h 2473959"/>
              <a:gd name="T8" fmla="*/ 0 w 68935"/>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59">
                <a:moveTo>
                  <a:pt x="0" y="2473959"/>
                </a:moveTo>
                <a:lnTo>
                  <a:pt x="68935" y="2473959"/>
                </a:lnTo>
                <a:lnTo>
                  <a:pt x="68935"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8" name="object 32">
            <a:extLst>
              <a:ext uri="{FF2B5EF4-FFF2-40B4-BE49-F238E27FC236}">
                <a16:creationId xmlns:a16="http://schemas.microsoft.com/office/drawing/2014/main" id="{98D1FE92-E500-4DC9-A7DA-4B9AF3A8E2D7}"/>
              </a:ext>
            </a:extLst>
          </p:cNvPr>
          <p:cNvSpPr>
            <a:spLocks/>
          </p:cNvSpPr>
          <p:nvPr/>
        </p:nvSpPr>
        <p:spPr bwMode="auto">
          <a:xfrm>
            <a:off x="2641125" y="2927486"/>
            <a:ext cx="1942795" cy="39424"/>
          </a:xfrm>
          <a:custGeom>
            <a:avLst/>
            <a:gdLst>
              <a:gd name="T0" fmla="*/ 0 w 3362375"/>
              <a:gd name="T1" fmla="*/ 67946 h 68579"/>
              <a:gd name="T2" fmla="*/ 3365452 w 3362375"/>
              <a:gd name="T3" fmla="*/ 67946 h 68579"/>
              <a:gd name="T4" fmla="*/ 3365452 w 3362375"/>
              <a:gd name="T5" fmla="*/ 0 h 68579"/>
              <a:gd name="T6" fmla="*/ 0 w 3362375"/>
              <a:gd name="T7" fmla="*/ 0 h 68579"/>
              <a:gd name="T8" fmla="*/ 0 w 3362375"/>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62375" h="68579">
                <a:moveTo>
                  <a:pt x="0" y="68579"/>
                </a:moveTo>
                <a:lnTo>
                  <a:pt x="3362375" y="68579"/>
                </a:lnTo>
                <a:lnTo>
                  <a:pt x="3362375"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49" name="object 33">
            <a:extLst>
              <a:ext uri="{FF2B5EF4-FFF2-40B4-BE49-F238E27FC236}">
                <a16:creationId xmlns:a16="http://schemas.microsoft.com/office/drawing/2014/main" id="{F308F81D-DE7B-4E05-9C0C-A2DA798C8854}"/>
              </a:ext>
            </a:extLst>
          </p:cNvPr>
          <p:cNvSpPr>
            <a:spLocks/>
          </p:cNvSpPr>
          <p:nvPr/>
        </p:nvSpPr>
        <p:spPr bwMode="auto">
          <a:xfrm>
            <a:off x="4543578" y="2966910"/>
            <a:ext cx="40341" cy="1429362"/>
          </a:xfrm>
          <a:custGeom>
            <a:avLst/>
            <a:gdLst>
              <a:gd name="T0" fmla="*/ 70790 w 68922"/>
              <a:gd name="T1" fmla="*/ 0 h 2473921"/>
              <a:gd name="T2" fmla="*/ 0 w 68922"/>
              <a:gd name="T3" fmla="*/ 0 h 2473921"/>
              <a:gd name="T4" fmla="*/ 0 w 68922"/>
              <a:gd name="T5" fmla="*/ 2475905 h 2473921"/>
              <a:gd name="T6" fmla="*/ 70790 w 68922"/>
              <a:gd name="T7" fmla="*/ 2475905 h 2473921"/>
              <a:gd name="T8" fmla="*/ 70790 w 68922"/>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22" h="2473921">
                <a:moveTo>
                  <a:pt x="68922" y="0"/>
                </a:moveTo>
                <a:lnTo>
                  <a:pt x="0" y="0"/>
                </a:lnTo>
                <a:lnTo>
                  <a:pt x="0" y="2473921"/>
                </a:lnTo>
                <a:lnTo>
                  <a:pt x="68922" y="2473921"/>
                </a:lnTo>
                <a:lnTo>
                  <a:pt x="68922"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0" name="object 34">
            <a:extLst>
              <a:ext uri="{FF2B5EF4-FFF2-40B4-BE49-F238E27FC236}">
                <a16:creationId xmlns:a16="http://schemas.microsoft.com/office/drawing/2014/main" id="{44D32855-E6D4-4AE3-A795-577CF74D9AD8}"/>
              </a:ext>
            </a:extLst>
          </p:cNvPr>
          <p:cNvSpPr>
            <a:spLocks/>
          </p:cNvSpPr>
          <p:nvPr/>
        </p:nvSpPr>
        <p:spPr bwMode="auto">
          <a:xfrm>
            <a:off x="4836051" y="4396272"/>
            <a:ext cx="1362432" cy="39424"/>
          </a:xfrm>
          <a:custGeom>
            <a:avLst/>
            <a:gdLst>
              <a:gd name="T0" fmla="*/ 0 w 2359037"/>
              <a:gd name="T1" fmla="*/ 67945 h 68580"/>
              <a:gd name="T2" fmla="*/ 2359013 w 2359037"/>
              <a:gd name="T3" fmla="*/ 67945 h 68580"/>
              <a:gd name="T4" fmla="*/ 2359013 w 2359037"/>
              <a:gd name="T5" fmla="*/ 0 h 68580"/>
              <a:gd name="T6" fmla="*/ 0 w 2359037"/>
              <a:gd name="T7" fmla="*/ 0 h 68580"/>
              <a:gd name="T8" fmla="*/ 0 w 2359037"/>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59037" h="68580">
                <a:moveTo>
                  <a:pt x="0" y="68580"/>
                </a:moveTo>
                <a:lnTo>
                  <a:pt x="2359037" y="68580"/>
                </a:lnTo>
                <a:lnTo>
                  <a:pt x="2359037"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1" name="object 35">
            <a:extLst>
              <a:ext uri="{FF2B5EF4-FFF2-40B4-BE49-F238E27FC236}">
                <a16:creationId xmlns:a16="http://schemas.microsoft.com/office/drawing/2014/main" id="{FE88FB73-193E-4471-9E1F-8FD24FBED095}"/>
              </a:ext>
            </a:extLst>
          </p:cNvPr>
          <p:cNvSpPr>
            <a:spLocks/>
          </p:cNvSpPr>
          <p:nvPr/>
        </p:nvSpPr>
        <p:spPr bwMode="auto">
          <a:xfrm>
            <a:off x="4836051" y="2966910"/>
            <a:ext cx="39425" cy="1429362"/>
          </a:xfrm>
          <a:custGeom>
            <a:avLst/>
            <a:gdLst>
              <a:gd name="T0" fmla="*/ 0 w 68935"/>
              <a:gd name="T1" fmla="*/ 2475867 h 2473959"/>
              <a:gd name="T2" fmla="*/ 67598 w 68935"/>
              <a:gd name="T3" fmla="*/ 2475867 h 2473959"/>
              <a:gd name="T4" fmla="*/ 67598 w 68935"/>
              <a:gd name="T5" fmla="*/ 0 h 2473959"/>
              <a:gd name="T6" fmla="*/ 0 w 68935"/>
              <a:gd name="T7" fmla="*/ 0 h 2473959"/>
              <a:gd name="T8" fmla="*/ 0 w 68935"/>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59">
                <a:moveTo>
                  <a:pt x="0" y="2473959"/>
                </a:moveTo>
                <a:lnTo>
                  <a:pt x="68935" y="2473959"/>
                </a:lnTo>
                <a:lnTo>
                  <a:pt x="68935"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2" name="object 36">
            <a:extLst>
              <a:ext uri="{FF2B5EF4-FFF2-40B4-BE49-F238E27FC236}">
                <a16:creationId xmlns:a16="http://schemas.microsoft.com/office/drawing/2014/main" id="{C06A7F39-3173-4A72-840F-8AC7972584BD}"/>
              </a:ext>
            </a:extLst>
          </p:cNvPr>
          <p:cNvSpPr>
            <a:spLocks/>
          </p:cNvSpPr>
          <p:nvPr/>
        </p:nvSpPr>
        <p:spPr bwMode="auto">
          <a:xfrm>
            <a:off x="4836051" y="2927486"/>
            <a:ext cx="1362432" cy="39424"/>
          </a:xfrm>
          <a:custGeom>
            <a:avLst/>
            <a:gdLst>
              <a:gd name="T0" fmla="*/ 0 w 2359037"/>
              <a:gd name="T1" fmla="*/ 67946 h 68579"/>
              <a:gd name="T2" fmla="*/ 2359013 w 2359037"/>
              <a:gd name="T3" fmla="*/ 67946 h 68579"/>
              <a:gd name="T4" fmla="*/ 2359013 w 2359037"/>
              <a:gd name="T5" fmla="*/ 0 h 68579"/>
              <a:gd name="T6" fmla="*/ 0 w 2359037"/>
              <a:gd name="T7" fmla="*/ 0 h 68579"/>
              <a:gd name="T8" fmla="*/ 0 w 2359037"/>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59037" h="68579">
                <a:moveTo>
                  <a:pt x="0" y="68579"/>
                </a:moveTo>
                <a:lnTo>
                  <a:pt x="2359037" y="68579"/>
                </a:lnTo>
                <a:lnTo>
                  <a:pt x="2359037"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3" name="object 37">
            <a:extLst>
              <a:ext uri="{FF2B5EF4-FFF2-40B4-BE49-F238E27FC236}">
                <a16:creationId xmlns:a16="http://schemas.microsoft.com/office/drawing/2014/main" id="{BC4E6528-C9CB-4178-9144-6F2D850BB387}"/>
              </a:ext>
            </a:extLst>
          </p:cNvPr>
          <p:cNvSpPr>
            <a:spLocks/>
          </p:cNvSpPr>
          <p:nvPr/>
        </p:nvSpPr>
        <p:spPr bwMode="auto">
          <a:xfrm>
            <a:off x="6158142" y="2966910"/>
            <a:ext cx="40341" cy="1429362"/>
          </a:xfrm>
          <a:custGeom>
            <a:avLst/>
            <a:gdLst>
              <a:gd name="T0" fmla="*/ 70777 w 68935"/>
              <a:gd name="T1" fmla="*/ 0 h 2473921"/>
              <a:gd name="T2" fmla="*/ 0 w 68935"/>
              <a:gd name="T3" fmla="*/ 0 h 2473921"/>
              <a:gd name="T4" fmla="*/ 0 w 68935"/>
              <a:gd name="T5" fmla="*/ 2475905 h 2473921"/>
              <a:gd name="T6" fmla="*/ 70777 w 68935"/>
              <a:gd name="T7" fmla="*/ 2475905 h 2473921"/>
              <a:gd name="T8" fmla="*/ 70777 w 68935"/>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21">
                <a:moveTo>
                  <a:pt x="68935" y="0"/>
                </a:moveTo>
                <a:lnTo>
                  <a:pt x="0" y="0"/>
                </a:lnTo>
                <a:lnTo>
                  <a:pt x="0" y="2473921"/>
                </a:lnTo>
                <a:lnTo>
                  <a:pt x="68935" y="2473921"/>
                </a:lnTo>
                <a:lnTo>
                  <a:pt x="6893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4" name="object 38">
            <a:extLst>
              <a:ext uri="{FF2B5EF4-FFF2-40B4-BE49-F238E27FC236}">
                <a16:creationId xmlns:a16="http://schemas.microsoft.com/office/drawing/2014/main" id="{676FBF66-CF9D-49F5-AB43-136DDC626284}"/>
              </a:ext>
            </a:extLst>
          </p:cNvPr>
          <p:cNvSpPr>
            <a:spLocks/>
          </p:cNvSpPr>
          <p:nvPr/>
        </p:nvSpPr>
        <p:spPr bwMode="auto">
          <a:xfrm>
            <a:off x="6295669" y="4396272"/>
            <a:ext cx="1954713" cy="39424"/>
          </a:xfrm>
          <a:custGeom>
            <a:avLst/>
            <a:gdLst>
              <a:gd name="T0" fmla="*/ 0 w 3385350"/>
              <a:gd name="T1" fmla="*/ 67945 h 68580"/>
              <a:gd name="T2" fmla="*/ 3383750 w 3385350"/>
              <a:gd name="T3" fmla="*/ 67945 h 68580"/>
              <a:gd name="T4" fmla="*/ 3383750 w 3385350"/>
              <a:gd name="T5" fmla="*/ 0 h 68580"/>
              <a:gd name="T6" fmla="*/ 0 w 3385350"/>
              <a:gd name="T7" fmla="*/ 0 h 68580"/>
              <a:gd name="T8" fmla="*/ 0 w 3385350"/>
              <a:gd name="T9" fmla="*/ 67945 h 685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85350" h="68580">
                <a:moveTo>
                  <a:pt x="0" y="68580"/>
                </a:moveTo>
                <a:lnTo>
                  <a:pt x="3385350" y="68580"/>
                </a:lnTo>
                <a:lnTo>
                  <a:pt x="3385350" y="0"/>
                </a:lnTo>
                <a:lnTo>
                  <a:pt x="0" y="0"/>
                </a:lnTo>
                <a:lnTo>
                  <a:pt x="0" y="6858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5" name="object 39">
            <a:extLst>
              <a:ext uri="{FF2B5EF4-FFF2-40B4-BE49-F238E27FC236}">
                <a16:creationId xmlns:a16="http://schemas.microsoft.com/office/drawing/2014/main" id="{177A3A3E-0ED0-4836-98A6-4E020439CA6D}"/>
              </a:ext>
            </a:extLst>
          </p:cNvPr>
          <p:cNvSpPr>
            <a:spLocks/>
          </p:cNvSpPr>
          <p:nvPr/>
        </p:nvSpPr>
        <p:spPr bwMode="auto">
          <a:xfrm>
            <a:off x="6295669" y="2966910"/>
            <a:ext cx="39425" cy="1429362"/>
          </a:xfrm>
          <a:custGeom>
            <a:avLst/>
            <a:gdLst>
              <a:gd name="T0" fmla="*/ 0 w 68935"/>
              <a:gd name="T1" fmla="*/ 2475867 h 2473959"/>
              <a:gd name="T2" fmla="*/ 67598 w 68935"/>
              <a:gd name="T3" fmla="*/ 2475867 h 2473959"/>
              <a:gd name="T4" fmla="*/ 67598 w 68935"/>
              <a:gd name="T5" fmla="*/ 0 h 2473959"/>
              <a:gd name="T6" fmla="*/ 0 w 68935"/>
              <a:gd name="T7" fmla="*/ 0 h 2473959"/>
              <a:gd name="T8" fmla="*/ 0 w 68935"/>
              <a:gd name="T9" fmla="*/ 2475867 h 247395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59">
                <a:moveTo>
                  <a:pt x="0" y="2473959"/>
                </a:moveTo>
                <a:lnTo>
                  <a:pt x="68935" y="2473959"/>
                </a:lnTo>
                <a:lnTo>
                  <a:pt x="68935" y="0"/>
                </a:lnTo>
                <a:lnTo>
                  <a:pt x="0" y="0"/>
                </a:lnTo>
                <a:lnTo>
                  <a:pt x="0" y="247395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6" name="object 40">
            <a:extLst>
              <a:ext uri="{FF2B5EF4-FFF2-40B4-BE49-F238E27FC236}">
                <a16:creationId xmlns:a16="http://schemas.microsoft.com/office/drawing/2014/main" id="{77C49B17-763E-4FBB-891D-F4AF154B6C50}"/>
              </a:ext>
            </a:extLst>
          </p:cNvPr>
          <p:cNvSpPr>
            <a:spLocks/>
          </p:cNvSpPr>
          <p:nvPr/>
        </p:nvSpPr>
        <p:spPr bwMode="auto">
          <a:xfrm>
            <a:off x="6295669" y="2927486"/>
            <a:ext cx="1954713" cy="39424"/>
          </a:xfrm>
          <a:custGeom>
            <a:avLst/>
            <a:gdLst>
              <a:gd name="T0" fmla="*/ 0 w 3385350"/>
              <a:gd name="T1" fmla="*/ 67946 h 68579"/>
              <a:gd name="T2" fmla="*/ 3383750 w 3385350"/>
              <a:gd name="T3" fmla="*/ 67946 h 68579"/>
              <a:gd name="T4" fmla="*/ 3383750 w 3385350"/>
              <a:gd name="T5" fmla="*/ 0 h 68579"/>
              <a:gd name="T6" fmla="*/ 0 w 3385350"/>
              <a:gd name="T7" fmla="*/ 0 h 68579"/>
              <a:gd name="T8" fmla="*/ 0 w 3385350"/>
              <a:gd name="T9" fmla="*/ 67946 h 6857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85350" h="68579">
                <a:moveTo>
                  <a:pt x="0" y="68579"/>
                </a:moveTo>
                <a:lnTo>
                  <a:pt x="3385350" y="68579"/>
                </a:lnTo>
                <a:lnTo>
                  <a:pt x="3385350" y="0"/>
                </a:lnTo>
                <a:lnTo>
                  <a:pt x="0" y="0"/>
                </a:lnTo>
                <a:lnTo>
                  <a:pt x="0" y="6857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57" name="object 41">
            <a:extLst>
              <a:ext uri="{FF2B5EF4-FFF2-40B4-BE49-F238E27FC236}">
                <a16:creationId xmlns:a16="http://schemas.microsoft.com/office/drawing/2014/main" id="{B6B2CE18-77F0-475D-9F98-67255CE3F0BB}"/>
              </a:ext>
            </a:extLst>
          </p:cNvPr>
          <p:cNvSpPr>
            <a:spLocks/>
          </p:cNvSpPr>
          <p:nvPr/>
        </p:nvSpPr>
        <p:spPr bwMode="auto">
          <a:xfrm>
            <a:off x="8210958" y="2966910"/>
            <a:ext cx="39424" cy="1429362"/>
          </a:xfrm>
          <a:custGeom>
            <a:avLst/>
            <a:gdLst>
              <a:gd name="T0" fmla="*/ 67596 w 68935"/>
              <a:gd name="T1" fmla="*/ 0 h 2473921"/>
              <a:gd name="T2" fmla="*/ 0 w 68935"/>
              <a:gd name="T3" fmla="*/ 0 h 2473921"/>
              <a:gd name="T4" fmla="*/ 0 w 68935"/>
              <a:gd name="T5" fmla="*/ 2475905 h 2473921"/>
              <a:gd name="T6" fmla="*/ 67596 w 68935"/>
              <a:gd name="T7" fmla="*/ 2475905 h 2473921"/>
              <a:gd name="T8" fmla="*/ 67596 w 68935"/>
              <a:gd name="T9" fmla="*/ 0 h 24739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8935" h="2473921">
                <a:moveTo>
                  <a:pt x="68935" y="0"/>
                </a:moveTo>
                <a:lnTo>
                  <a:pt x="0" y="0"/>
                </a:lnTo>
                <a:lnTo>
                  <a:pt x="0" y="2473921"/>
                </a:lnTo>
                <a:lnTo>
                  <a:pt x="68935" y="2473921"/>
                </a:lnTo>
                <a:lnTo>
                  <a:pt x="6893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08" name="object 92">
            <a:extLst>
              <a:ext uri="{FF2B5EF4-FFF2-40B4-BE49-F238E27FC236}">
                <a16:creationId xmlns:a16="http://schemas.microsoft.com/office/drawing/2014/main" id="{1C1EC999-22DB-4003-AD7E-777567DDF98B}"/>
              </a:ext>
            </a:extLst>
          </p:cNvPr>
          <p:cNvSpPr>
            <a:spLocks noChangeArrowheads="1"/>
          </p:cNvSpPr>
          <p:nvPr/>
        </p:nvSpPr>
        <p:spPr bwMode="auto">
          <a:xfrm>
            <a:off x="1011892" y="3339149"/>
            <a:ext cx="1298252" cy="707804"/>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altLang="en-US" sz="104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9309" name="object 93">
            <a:extLst>
              <a:ext uri="{FF2B5EF4-FFF2-40B4-BE49-F238E27FC236}">
                <a16:creationId xmlns:a16="http://schemas.microsoft.com/office/drawing/2014/main" id="{130EF3F8-3005-4997-B47F-72A2ECD31FA2}"/>
              </a:ext>
            </a:extLst>
          </p:cNvPr>
          <p:cNvSpPr>
            <a:spLocks/>
          </p:cNvSpPr>
          <p:nvPr/>
        </p:nvSpPr>
        <p:spPr bwMode="auto">
          <a:xfrm>
            <a:off x="1041230" y="4104715"/>
            <a:ext cx="1301003" cy="124691"/>
          </a:xfrm>
          <a:custGeom>
            <a:avLst/>
            <a:gdLst>
              <a:gd name="T0" fmla="*/ 2086074 w 2251606"/>
              <a:gd name="T1" fmla="*/ 0 h 216522"/>
              <a:gd name="T2" fmla="*/ 2079337 w 2251606"/>
              <a:gd name="T3" fmla="*/ 3724 h 216522"/>
              <a:gd name="T4" fmla="*/ 2079337 w 2251606"/>
              <a:gd name="T5" fmla="*/ 73376 h 216522"/>
              <a:gd name="T6" fmla="*/ 32413 w 2251606"/>
              <a:gd name="T7" fmla="*/ 73376 h 216522"/>
              <a:gd name="T8" fmla="*/ 18464 w 2251606"/>
              <a:gd name="T9" fmla="*/ 76292 h 216522"/>
              <a:gd name="T10" fmla="*/ 7240 w 2251606"/>
              <a:gd name="T11" fmla="*/ 84210 h 216522"/>
              <a:gd name="T12" fmla="*/ 0 w 2251606"/>
              <a:gd name="T13" fmla="*/ 95881 h 216522"/>
              <a:gd name="T14" fmla="*/ 950 w 2251606"/>
              <a:gd name="T15" fmla="*/ 113565 h 216522"/>
              <a:gd name="T16" fmla="*/ 5944 w 2251606"/>
              <a:gd name="T17" fmla="*/ 126985 h 216522"/>
              <a:gd name="T18" fmla="*/ 14147 w 2251606"/>
              <a:gd name="T19" fmla="*/ 136141 h 216522"/>
              <a:gd name="T20" fmla="*/ 24723 w 2251606"/>
              <a:gd name="T21" fmla="*/ 141029 h 216522"/>
              <a:gd name="T22" fmla="*/ 2079337 w 2251606"/>
              <a:gd name="T23" fmla="*/ 141916 h 216522"/>
              <a:gd name="T24" fmla="*/ 2079337 w 2251606"/>
              <a:gd name="T25" fmla="*/ 211555 h 216522"/>
              <a:gd name="T26" fmla="*/ 2086074 w 2251606"/>
              <a:gd name="T27" fmla="*/ 215280 h 216522"/>
              <a:gd name="T28" fmla="*/ 2253718 w 2251606"/>
              <a:gd name="T29" fmla="*/ 111800 h 216522"/>
              <a:gd name="T30" fmla="*/ 2253718 w 2251606"/>
              <a:gd name="T31" fmla="*/ 103479 h 216522"/>
              <a:gd name="T32" fmla="*/ 2086074 w 2251606"/>
              <a:gd name="T33" fmla="*/ 0 h 2165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251606" h="216522">
                <a:moveTo>
                  <a:pt x="2084119" y="0"/>
                </a:moveTo>
                <a:lnTo>
                  <a:pt x="2077388" y="3746"/>
                </a:lnTo>
                <a:lnTo>
                  <a:pt x="2077388" y="73799"/>
                </a:lnTo>
                <a:lnTo>
                  <a:pt x="32383" y="73799"/>
                </a:lnTo>
                <a:lnTo>
                  <a:pt x="18446" y="76732"/>
                </a:lnTo>
                <a:lnTo>
                  <a:pt x="7234" y="84696"/>
                </a:lnTo>
                <a:lnTo>
                  <a:pt x="0" y="96434"/>
                </a:lnTo>
                <a:lnTo>
                  <a:pt x="950" y="114220"/>
                </a:lnTo>
                <a:lnTo>
                  <a:pt x="5938" y="127718"/>
                </a:lnTo>
                <a:lnTo>
                  <a:pt x="14133" y="136926"/>
                </a:lnTo>
                <a:lnTo>
                  <a:pt x="24699" y="141842"/>
                </a:lnTo>
                <a:lnTo>
                  <a:pt x="2077388" y="142735"/>
                </a:lnTo>
                <a:lnTo>
                  <a:pt x="2077388" y="212775"/>
                </a:lnTo>
                <a:lnTo>
                  <a:pt x="2084119" y="216522"/>
                </a:lnTo>
                <a:lnTo>
                  <a:pt x="2251606" y="112445"/>
                </a:lnTo>
                <a:lnTo>
                  <a:pt x="2251606" y="104076"/>
                </a:lnTo>
                <a:lnTo>
                  <a:pt x="2084119"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0" name="object 94">
            <a:extLst>
              <a:ext uri="{FF2B5EF4-FFF2-40B4-BE49-F238E27FC236}">
                <a16:creationId xmlns:a16="http://schemas.microsoft.com/office/drawing/2014/main" id="{CB8CCAD4-CAE7-4632-83C8-117D141AF10C}"/>
              </a:ext>
            </a:extLst>
          </p:cNvPr>
          <p:cNvSpPr>
            <a:spLocks/>
          </p:cNvSpPr>
          <p:nvPr/>
        </p:nvSpPr>
        <p:spPr bwMode="auto">
          <a:xfrm>
            <a:off x="3250827" y="3497764"/>
            <a:ext cx="762815" cy="813241"/>
          </a:xfrm>
          <a:custGeom>
            <a:avLst/>
            <a:gdLst>
              <a:gd name="T0" fmla="*/ 1288203 w 1321026"/>
              <a:gd name="T1" fmla="*/ 0 h 1407692"/>
              <a:gd name="T2" fmla="*/ 1002994 w 1321026"/>
              <a:gd name="T3" fmla="*/ 0 h 1407692"/>
              <a:gd name="T4" fmla="*/ 1002994 w 1321026"/>
              <a:gd name="T5" fmla="*/ 268333 h 1407692"/>
              <a:gd name="T6" fmla="*/ 752255 w 1321026"/>
              <a:gd name="T7" fmla="*/ 268333 h 1407692"/>
              <a:gd name="T8" fmla="*/ 752255 w 1321026"/>
              <a:gd name="T9" fmla="*/ 536653 h 1407692"/>
              <a:gd name="T10" fmla="*/ 501490 w 1321026"/>
              <a:gd name="T11" fmla="*/ 536653 h 1407692"/>
              <a:gd name="T12" fmla="*/ 501490 w 1321026"/>
              <a:gd name="T13" fmla="*/ 804986 h 1407692"/>
              <a:gd name="T14" fmla="*/ 250739 w 1321026"/>
              <a:gd name="T15" fmla="*/ 804986 h 1407692"/>
              <a:gd name="T16" fmla="*/ 250739 w 1321026"/>
              <a:gd name="T17" fmla="*/ 1073307 h 1407692"/>
              <a:gd name="T18" fmla="*/ 0 w 1321026"/>
              <a:gd name="T19" fmla="*/ 1073307 h 1407692"/>
              <a:gd name="T20" fmla="*/ 0 w 1321026"/>
              <a:gd name="T21" fmla="*/ 1376128 h 1407692"/>
              <a:gd name="T22" fmla="*/ 2930 w 1321026"/>
              <a:gd name="T23" fmla="*/ 1390070 h 1407692"/>
              <a:gd name="T24" fmla="*/ 10889 w 1321026"/>
              <a:gd name="T25" fmla="*/ 1401292 h 1407692"/>
              <a:gd name="T26" fmla="*/ 22623 w 1321026"/>
              <a:gd name="T27" fmla="*/ 1408532 h 1407692"/>
              <a:gd name="T28" fmla="*/ 40410 w 1321026"/>
              <a:gd name="T29" fmla="*/ 1407580 h 1407692"/>
              <a:gd name="T30" fmla="*/ 53903 w 1321026"/>
              <a:gd name="T31" fmla="*/ 1402583 h 1407692"/>
              <a:gd name="T32" fmla="*/ 63101 w 1321026"/>
              <a:gd name="T33" fmla="*/ 1394381 h 1407692"/>
              <a:gd name="T34" fmla="*/ 68008 w 1321026"/>
              <a:gd name="T35" fmla="*/ 1383807 h 1407692"/>
              <a:gd name="T36" fmla="*/ 68898 w 1321026"/>
              <a:gd name="T37" fmla="*/ 1142285 h 1407692"/>
              <a:gd name="T38" fmla="*/ 285194 w 1321026"/>
              <a:gd name="T39" fmla="*/ 1142285 h 1407692"/>
              <a:gd name="T40" fmla="*/ 299127 w 1321026"/>
              <a:gd name="T41" fmla="*/ 1139349 h 1407692"/>
              <a:gd name="T42" fmla="*/ 310335 w 1321026"/>
              <a:gd name="T43" fmla="*/ 1131380 h 1407692"/>
              <a:gd name="T44" fmla="*/ 317568 w 1321026"/>
              <a:gd name="T45" fmla="*/ 1119636 h 1407692"/>
              <a:gd name="T46" fmla="*/ 319650 w 1321026"/>
              <a:gd name="T47" fmla="*/ 873964 h 1407692"/>
              <a:gd name="T48" fmla="*/ 535946 w 1321026"/>
              <a:gd name="T49" fmla="*/ 873964 h 1407692"/>
              <a:gd name="T50" fmla="*/ 549878 w 1321026"/>
              <a:gd name="T51" fmla="*/ 871027 h 1407692"/>
              <a:gd name="T52" fmla="*/ 561087 w 1321026"/>
              <a:gd name="T53" fmla="*/ 863055 h 1407692"/>
              <a:gd name="T54" fmla="*/ 568319 w 1321026"/>
              <a:gd name="T55" fmla="*/ 851310 h 1407692"/>
              <a:gd name="T56" fmla="*/ 570402 w 1321026"/>
              <a:gd name="T57" fmla="*/ 605631 h 1407692"/>
              <a:gd name="T58" fmla="*/ 786710 w 1321026"/>
              <a:gd name="T59" fmla="*/ 605631 h 1407692"/>
              <a:gd name="T60" fmla="*/ 800643 w 1321026"/>
              <a:gd name="T61" fmla="*/ 602693 h 1407692"/>
              <a:gd name="T62" fmla="*/ 811848 w 1321026"/>
              <a:gd name="T63" fmla="*/ 594718 h 1407692"/>
              <a:gd name="T64" fmla="*/ 819075 w 1321026"/>
              <a:gd name="T65" fmla="*/ 582969 h 1407692"/>
              <a:gd name="T66" fmla="*/ 821154 w 1321026"/>
              <a:gd name="T67" fmla="*/ 337298 h 1407692"/>
              <a:gd name="T68" fmla="*/ 1037449 w 1321026"/>
              <a:gd name="T69" fmla="*/ 337298 h 1407692"/>
              <a:gd name="T70" fmla="*/ 1051382 w 1321026"/>
              <a:gd name="T71" fmla="*/ 334362 h 1407692"/>
              <a:gd name="T72" fmla="*/ 1062590 w 1321026"/>
              <a:gd name="T73" fmla="*/ 326393 h 1407692"/>
              <a:gd name="T74" fmla="*/ 1069823 w 1321026"/>
              <a:gd name="T75" fmla="*/ 314649 h 1407692"/>
              <a:gd name="T76" fmla="*/ 1071907 w 1321026"/>
              <a:gd name="T77" fmla="*/ 68977 h 1407692"/>
              <a:gd name="T78" fmla="*/ 1288203 w 1321026"/>
              <a:gd name="T79" fmla="*/ 68977 h 1407692"/>
              <a:gd name="T80" fmla="*/ 1302133 w 1321026"/>
              <a:gd name="T81" fmla="*/ 66040 h 1407692"/>
              <a:gd name="T82" fmla="*/ 1313342 w 1321026"/>
              <a:gd name="T83" fmla="*/ 58068 h 1407692"/>
              <a:gd name="T84" fmla="*/ 1320574 w 1321026"/>
              <a:gd name="T85" fmla="*/ 46323 h 1407692"/>
              <a:gd name="T86" fmla="*/ 1319624 w 1321026"/>
              <a:gd name="T87" fmla="*/ 28528 h 1407692"/>
              <a:gd name="T88" fmla="*/ 1314637 w 1321026"/>
              <a:gd name="T89" fmla="*/ 15021 h 1407692"/>
              <a:gd name="T90" fmla="*/ 1306443 w 1321026"/>
              <a:gd name="T91" fmla="*/ 5811 h 1407692"/>
              <a:gd name="T92" fmla="*/ 1295879 w 1321026"/>
              <a:gd name="T93" fmla="*/ 892 h 1407692"/>
              <a:gd name="T94" fmla="*/ 1288203 w 1321026"/>
              <a:gd name="T95" fmla="*/ 0 h 14076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321026" h="1407692">
                <a:moveTo>
                  <a:pt x="1288643" y="0"/>
                </a:moveTo>
                <a:lnTo>
                  <a:pt x="1003338" y="0"/>
                </a:lnTo>
                <a:lnTo>
                  <a:pt x="1003338" y="268173"/>
                </a:lnTo>
                <a:lnTo>
                  <a:pt x="752513" y="268173"/>
                </a:lnTo>
                <a:lnTo>
                  <a:pt x="752513" y="536333"/>
                </a:lnTo>
                <a:lnTo>
                  <a:pt x="501662" y="536333"/>
                </a:lnTo>
                <a:lnTo>
                  <a:pt x="501662" y="804506"/>
                </a:lnTo>
                <a:lnTo>
                  <a:pt x="250825" y="804506"/>
                </a:lnTo>
                <a:lnTo>
                  <a:pt x="250825" y="1072667"/>
                </a:lnTo>
                <a:lnTo>
                  <a:pt x="0" y="1072667"/>
                </a:lnTo>
                <a:lnTo>
                  <a:pt x="0" y="1375308"/>
                </a:lnTo>
                <a:lnTo>
                  <a:pt x="2932" y="1389241"/>
                </a:lnTo>
                <a:lnTo>
                  <a:pt x="10893" y="1400456"/>
                </a:lnTo>
                <a:lnTo>
                  <a:pt x="22631" y="1407692"/>
                </a:lnTo>
                <a:lnTo>
                  <a:pt x="40424" y="1406740"/>
                </a:lnTo>
                <a:lnTo>
                  <a:pt x="53921" y="1401747"/>
                </a:lnTo>
                <a:lnTo>
                  <a:pt x="63123" y="1393549"/>
                </a:lnTo>
                <a:lnTo>
                  <a:pt x="68032" y="1382981"/>
                </a:lnTo>
                <a:lnTo>
                  <a:pt x="68922" y="1141603"/>
                </a:lnTo>
                <a:lnTo>
                  <a:pt x="285292" y="1141603"/>
                </a:lnTo>
                <a:lnTo>
                  <a:pt x="299229" y="1138669"/>
                </a:lnTo>
                <a:lnTo>
                  <a:pt x="310441" y="1130706"/>
                </a:lnTo>
                <a:lnTo>
                  <a:pt x="317676" y="1118968"/>
                </a:lnTo>
                <a:lnTo>
                  <a:pt x="319760" y="873442"/>
                </a:lnTo>
                <a:lnTo>
                  <a:pt x="536130" y="873442"/>
                </a:lnTo>
                <a:lnTo>
                  <a:pt x="550066" y="870507"/>
                </a:lnTo>
                <a:lnTo>
                  <a:pt x="561279" y="862541"/>
                </a:lnTo>
                <a:lnTo>
                  <a:pt x="568513" y="850802"/>
                </a:lnTo>
                <a:lnTo>
                  <a:pt x="570598" y="605269"/>
                </a:lnTo>
                <a:lnTo>
                  <a:pt x="786980" y="605269"/>
                </a:lnTo>
                <a:lnTo>
                  <a:pt x="800917" y="602333"/>
                </a:lnTo>
                <a:lnTo>
                  <a:pt x="812126" y="594364"/>
                </a:lnTo>
                <a:lnTo>
                  <a:pt x="819355" y="582621"/>
                </a:lnTo>
                <a:lnTo>
                  <a:pt x="821436" y="337096"/>
                </a:lnTo>
                <a:lnTo>
                  <a:pt x="1037805" y="337096"/>
                </a:lnTo>
                <a:lnTo>
                  <a:pt x="1051742" y="334162"/>
                </a:lnTo>
                <a:lnTo>
                  <a:pt x="1062954" y="326199"/>
                </a:lnTo>
                <a:lnTo>
                  <a:pt x="1070189" y="314461"/>
                </a:lnTo>
                <a:lnTo>
                  <a:pt x="1072273" y="68935"/>
                </a:lnTo>
                <a:lnTo>
                  <a:pt x="1288643" y="68935"/>
                </a:lnTo>
                <a:lnTo>
                  <a:pt x="1302579" y="66000"/>
                </a:lnTo>
                <a:lnTo>
                  <a:pt x="1313792" y="58034"/>
                </a:lnTo>
                <a:lnTo>
                  <a:pt x="1321026" y="46295"/>
                </a:lnTo>
                <a:lnTo>
                  <a:pt x="1320076" y="28510"/>
                </a:lnTo>
                <a:lnTo>
                  <a:pt x="1315087" y="15013"/>
                </a:lnTo>
                <a:lnTo>
                  <a:pt x="1306891" y="5807"/>
                </a:lnTo>
                <a:lnTo>
                  <a:pt x="1296323" y="892"/>
                </a:lnTo>
                <a:lnTo>
                  <a:pt x="1288643"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1" name="object 95">
            <a:extLst>
              <a:ext uri="{FF2B5EF4-FFF2-40B4-BE49-F238E27FC236}">
                <a16:creationId xmlns:a16="http://schemas.microsoft.com/office/drawing/2014/main" id="{88656441-7842-4597-8DDE-59060A085046}"/>
              </a:ext>
            </a:extLst>
          </p:cNvPr>
          <p:cNvSpPr>
            <a:spLocks/>
          </p:cNvSpPr>
          <p:nvPr/>
        </p:nvSpPr>
        <p:spPr bwMode="auto">
          <a:xfrm>
            <a:off x="5019420" y="3672168"/>
            <a:ext cx="818743" cy="523518"/>
          </a:xfrm>
          <a:custGeom>
            <a:avLst/>
            <a:gdLst>
              <a:gd name="T0" fmla="*/ 1387963 w 1416240"/>
              <a:gd name="T1" fmla="*/ 781930 h 907122"/>
              <a:gd name="T2" fmla="*/ 25896 w 1416240"/>
              <a:gd name="T3" fmla="*/ 781930 h 907122"/>
              <a:gd name="T4" fmla="*/ 25896 w 1416240"/>
              <a:gd name="T5" fmla="*/ 905802 h 907122"/>
              <a:gd name="T6" fmla="*/ 1387963 w 1416240"/>
              <a:gd name="T7" fmla="*/ 905802 h 907122"/>
              <a:gd name="T8" fmla="*/ 1387963 w 1416240"/>
              <a:gd name="T9" fmla="*/ 781930 h 907122"/>
              <a:gd name="T10" fmla="*/ 1286976 w 1416240"/>
              <a:gd name="T11" fmla="*/ 0 h 907122"/>
              <a:gd name="T12" fmla="*/ 106178 w 1416240"/>
              <a:gd name="T13" fmla="*/ 0 h 907122"/>
              <a:gd name="T14" fmla="*/ 0 w 1416240"/>
              <a:gd name="T15" fmla="*/ 301934 h 907122"/>
              <a:gd name="T16" fmla="*/ 106178 w 1416240"/>
              <a:gd name="T17" fmla="*/ 301934 h 907122"/>
              <a:gd name="T18" fmla="*/ 106178 w 1416240"/>
              <a:gd name="T19" fmla="*/ 781930 h 907122"/>
              <a:gd name="T20" fmla="*/ 706928 w 1416240"/>
              <a:gd name="T21" fmla="*/ 781930 h 907122"/>
              <a:gd name="T22" fmla="*/ 706928 w 1416240"/>
              <a:gd name="T23" fmla="*/ 699347 h 907122"/>
              <a:gd name="T24" fmla="*/ 233047 w 1416240"/>
              <a:gd name="T25" fmla="*/ 699347 h 907122"/>
              <a:gd name="T26" fmla="*/ 233047 w 1416240"/>
              <a:gd name="T27" fmla="*/ 433542 h 907122"/>
              <a:gd name="T28" fmla="*/ 1286976 w 1416240"/>
              <a:gd name="T29" fmla="*/ 433542 h 907122"/>
              <a:gd name="T30" fmla="*/ 1286976 w 1416240"/>
              <a:gd name="T31" fmla="*/ 334082 h 907122"/>
              <a:gd name="T32" fmla="*/ 218960 w 1416240"/>
              <a:gd name="T33" fmla="*/ 334082 h 907122"/>
              <a:gd name="T34" fmla="*/ 218960 w 1416240"/>
              <a:gd name="T35" fmla="*/ 86627 h 907122"/>
              <a:gd name="T36" fmla="*/ 1324866 w 1416240"/>
              <a:gd name="T37" fmla="*/ 86627 h 907122"/>
              <a:gd name="T38" fmla="*/ 1286976 w 1416240"/>
              <a:gd name="T39" fmla="*/ 0 h 907122"/>
              <a:gd name="T40" fmla="*/ 959407 w 1416240"/>
              <a:gd name="T41" fmla="*/ 433542 h 907122"/>
              <a:gd name="T42" fmla="*/ 916676 w 1416240"/>
              <a:gd name="T43" fmla="*/ 433542 h 907122"/>
              <a:gd name="T44" fmla="*/ 916676 w 1416240"/>
              <a:gd name="T45" fmla="*/ 781930 h 907122"/>
              <a:gd name="T46" fmla="*/ 959407 w 1416240"/>
              <a:gd name="T47" fmla="*/ 781930 h 907122"/>
              <a:gd name="T48" fmla="*/ 959407 w 1416240"/>
              <a:gd name="T49" fmla="*/ 433542 h 907122"/>
              <a:gd name="T50" fmla="*/ 1286976 w 1416240"/>
              <a:gd name="T51" fmla="*/ 433542 h 907122"/>
              <a:gd name="T52" fmla="*/ 1169155 w 1416240"/>
              <a:gd name="T53" fmla="*/ 433542 h 907122"/>
              <a:gd name="T54" fmla="*/ 1169155 w 1416240"/>
              <a:gd name="T55" fmla="*/ 781930 h 907122"/>
              <a:gd name="T56" fmla="*/ 1286976 w 1416240"/>
              <a:gd name="T57" fmla="*/ 781930 h 907122"/>
              <a:gd name="T58" fmla="*/ 1286976 w 1416240"/>
              <a:gd name="T59" fmla="*/ 433542 h 907122"/>
              <a:gd name="T60" fmla="*/ 706928 w 1416240"/>
              <a:gd name="T61" fmla="*/ 433542 h 907122"/>
              <a:gd name="T62" fmla="*/ 624063 w 1416240"/>
              <a:gd name="T63" fmla="*/ 433542 h 907122"/>
              <a:gd name="T64" fmla="*/ 624063 w 1416240"/>
              <a:gd name="T65" fmla="*/ 699347 h 907122"/>
              <a:gd name="T66" fmla="*/ 706928 w 1416240"/>
              <a:gd name="T67" fmla="*/ 699347 h 907122"/>
              <a:gd name="T68" fmla="*/ 706928 w 1416240"/>
              <a:gd name="T69" fmla="*/ 433542 h 907122"/>
              <a:gd name="T70" fmla="*/ 1324866 w 1416240"/>
              <a:gd name="T71" fmla="*/ 86627 h 907122"/>
              <a:gd name="T72" fmla="*/ 1180658 w 1416240"/>
              <a:gd name="T73" fmla="*/ 86627 h 907122"/>
              <a:gd name="T74" fmla="*/ 1180658 w 1416240"/>
              <a:gd name="T75" fmla="*/ 334082 h 907122"/>
              <a:gd name="T76" fmla="*/ 1286976 w 1416240"/>
              <a:gd name="T77" fmla="*/ 334082 h 907122"/>
              <a:gd name="T78" fmla="*/ 1286976 w 1416240"/>
              <a:gd name="T79" fmla="*/ 301934 h 907122"/>
              <a:gd name="T80" fmla="*/ 1419037 w 1416240"/>
              <a:gd name="T81" fmla="*/ 301934 h 907122"/>
              <a:gd name="T82" fmla="*/ 1324866 w 1416240"/>
              <a:gd name="T83" fmla="*/ 86627 h 90712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416240" h="907122">
                <a:moveTo>
                  <a:pt x="1385227" y="783069"/>
                </a:moveTo>
                <a:lnTo>
                  <a:pt x="25844" y="783069"/>
                </a:lnTo>
                <a:lnTo>
                  <a:pt x="25844" y="907122"/>
                </a:lnTo>
                <a:lnTo>
                  <a:pt x="1385227" y="907122"/>
                </a:lnTo>
                <a:lnTo>
                  <a:pt x="1385227" y="783069"/>
                </a:lnTo>
                <a:close/>
              </a:path>
              <a:path w="1416240" h="907122">
                <a:moveTo>
                  <a:pt x="1284439" y="0"/>
                </a:moveTo>
                <a:lnTo>
                  <a:pt x="105968" y="0"/>
                </a:lnTo>
                <a:lnTo>
                  <a:pt x="0" y="302374"/>
                </a:lnTo>
                <a:lnTo>
                  <a:pt x="105968" y="302374"/>
                </a:lnTo>
                <a:lnTo>
                  <a:pt x="105968" y="783069"/>
                </a:lnTo>
                <a:lnTo>
                  <a:pt x="705535" y="783069"/>
                </a:lnTo>
                <a:lnTo>
                  <a:pt x="705535" y="700366"/>
                </a:lnTo>
                <a:lnTo>
                  <a:pt x="232587" y="700366"/>
                </a:lnTo>
                <a:lnTo>
                  <a:pt x="232587" y="434174"/>
                </a:lnTo>
                <a:lnTo>
                  <a:pt x="1284439" y="434174"/>
                </a:lnTo>
                <a:lnTo>
                  <a:pt x="1284439" y="334568"/>
                </a:lnTo>
                <a:lnTo>
                  <a:pt x="218528" y="334568"/>
                </a:lnTo>
                <a:lnTo>
                  <a:pt x="218528" y="86753"/>
                </a:lnTo>
                <a:lnTo>
                  <a:pt x="1322254" y="86753"/>
                </a:lnTo>
                <a:lnTo>
                  <a:pt x="1284439" y="0"/>
                </a:lnTo>
                <a:close/>
              </a:path>
              <a:path w="1416240" h="907122">
                <a:moveTo>
                  <a:pt x="957516" y="434174"/>
                </a:moveTo>
                <a:lnTo>
                  <a:pt x="914869" y="434174"/>
                </a:lnTo>
                <a:lnTo>
                  <a:pt x="914869" y="783069"/>
                </a:lnTo>
                <a:lnTo>
                  <a:pt x="957516" y="783069"/>
                </a:lnTo>
                <a:lnTo>
                  <a:pt x="957516" y="434174"/>
                </a:lnTo>
                <a:close/>
              </a:path>
              <a:path w="1416240" h="907122">
                <a:moveTo>
                  <a:pt x="1284439" y="434174"/>
                </a:moveTo>
                <a:lnTo>
                  <a:pt x="1166850" y="434174"/>
                </a:lnTo>
                <a:lnTo>
                  <a:pt x="1166850" y="783069"/>
                </a:lnTo>
                <a:lnTo>
                  <a:pt x="1284439" y="783069"/>
                </a:lnTo>
                <a:lnTo>
                  <a:pt x="1284439" y="434174"/>
                </a:lnTo>
                <a:close/>
              </a:path>
              <a:path w="1416240" h="907122">
                <a:moveTo>
                  <a:pt x="705535" y="434174"/>
                </a:moveTo>
                <a:lnTo>
                  <a:pt x="622833" y="434174"/>
                </a:lnTo>
                <a:lnTo>
                  <a:pt x="622833" y="700366"/>
                </a:lnTo>
                <a:lnTo>
                  <a:pt x="705535" y="700366"/>
                </a:lnTo>
                <a:lnTo>
                  <a:pt x="705535" y="434174"/>
                </a:lnTo>
                <a:close/>
              </a:path>
              <a:path w="1416240" h="907122">
                <a:moveTo>
                  <a:pt x="1322254" y="86753"/>
                </a:moveTo>
                <a:lnTo>
                  <a:pt x="1178331" y="86753"/>
                </a:lnTo>
                <a:lnTo>
                  <a:pt x="1178331" y="334568"/>
                </a:lnTo>
                <a:lnTo>
                  <a:pt x="1284439" y="334568"/>
                </a:lnTo>
                <a:lnTo>
                  <a:pt x="1284439" y="302374"/>
                </a:lnTo>
                <a:lnTo>
                  <a:pt x="1416240" y="302374"/>
                </a:lnTo>
                <a:lnTo>
                  <a:pt x="1322254" y="86753"/>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2" name="object 96">
            <a:extLst>
              <a:ext uri="{FF2B5EF4-FFF2-40B4-BE49-F238E27FC236}">
                <a16:creationId xmlns:a16="http://schemas.microsoft.com/office/drawing/2014/main" id="{1FBA2605-CB68-4E5F-9E9C-4C425CBB612C}"/>
              </a:ext>
            </a:extLst>
          </p:cNvPr>
          <p:cNvSpPr>
            <a:spLocks/>
          </p:cNvSpPr>
          <p:nvPr/>
        </p:nvSpPr>
        <p:spPr bwMode="auto">
          <a:xfrm>
            <a:off x="5277054" y="3779439"/>
            <a:ext cx="29339" cy="28422"/>
          </a:xfrm>
          <a:custGeom>
            <a:avLst/>
            <a:gdLst>
              <a:gd name="T0" fmla="*/ 29398 w 50977"/>
              <a:gd name="T1" fmla="*/ 0 h 50266"/>
              <a:gd name="T2" fmla="*/ 17416 w 50977"/>
              <a:gd name="T3" fmla="*/ 0 h 50266"/>
              <a:gd name="T4" fmla="*/ 11237 w 50977"/>
              <a:gd name="T5" fmla="*/ 2216 h 50266"/>
              <a:gd name="T6" fmla="*/ 2257 w 50977"/>
              <a:gd name="T7" fmla="*/ 11065 h 50266"/>
              <a:gd name="T8" fmla="*/ 0 w 50977"/>
              <a:gd name="T9" fmla="*/ 16872 h 50266"/>
              <a:gd name="T10" fmla="*/ 0 w 50977"/>
              <a:gd name="T11" fmla="*/ 31237 h 50266"/>
              <a:gd name="T12" fmla="*/ 2257 w 50977"/>
              <a:gd name="T13" fmla="*/ 37055 h 50266"/>
              <a:gd name="T14" fmla="*/ 11300 w 50977"/>
              <a:gd name="T15" fmla="*/ 45955 h 50266"/>
              <a:gd name="T16" fmla="*/ 17454 w 50977"/>
              <a:gd name="T17" fmla="*/ 48182 h 50266"/>
              <a:gd name="T18" fmla="*/ 30659 w 50977"/>
              <a:gd name="T19" fmla="*/ 48182 h 50266"/>
              <a:gd name="T20" fmla="*/ 50624 w 50977"/>
              <a:gd name="T21" fmla="*/ 28754 h 50266"/>
              <a:gd name="T22" fmla="*/ 50624 w 50977"/>
              <a:gd name="T23" fmla="*/ 20536 h 50266"/>
              <a:gd name="T24" fmla="*/ 29398 w 50977"/>
              <a:gd name="T25" fmla="*/ 0 h 502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0977" h="50266">
                <a:moveTo>
                  <a:pt x="29603" y="0"/>
                </a:moveTo>
                <a:lnTo>
                  <a:pt x="17538" y="0"/>
                </a:lnTo>
                <a:lnTo>
                  <a:pt x="11315" y="2311"/>
                </a:lnTo>
                <a:lnTo>
                  <a:pt x="2273" y="11544"/>
                </a:lnTo>
                <a:lnTo>
                  <a:pt x="0" y="17602"/>
                </a:lnTo>
                <a:lnTo>
                  <a:pt x="0" y="32588"/>
                </a:lnTo>
                <a:lnTo>
                  <a:pt x="2273" y="38658"/>
                </a:lnTo>
                <a:lnTo>
                  <a:pt x="11379" y="47942"/>
                </a:lnTo>
                <a:lnTo>
                  <a:pt x="17576" y="50266"/>
                </a:lnTo>
                <a:lnTo>
                  <a:pt x="30873" y="50266"/>
                </a:lnTo>
                <a:lnTo>
                  <a:pt x="50977" y="29997"/>
                </a:lnTo>
                <a:lnTo>
                  <a:pt x="50977" y="21424"/>
                </a:lnTo>
                <a:lnTo>
                  <a:pt x="29603"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3" name="object 97">
            <a:extLst>
              <a:ext uri="{FF2B5EF4-FFF2-40B4-BE49-F238E27FC236}">
                <a16:creationId xmlns:a16="http://schemas.microsoft.com/office/drawing/2014/main" id="{36401BEC-25B6-47A4-995E-A062602B829F}"/>
              </a:ext>
            </a:extLst>
          </p:cNvPr>
          <p:cNvSpPr>
            <a:spLocks/>
          </p:cNvSpPr>
          <p:nvPr/>
        </p:nvSpPr>
        <p:spPr bwMode="auto">
          <a:xfrm>
            <a:off x="5159698" y="3735430"/>
            <a:ext cx="527186" cy="116440"/>
          </a:xfrm>
          <a:custGeom>
            <a:avLst/>
            <a:gdLst>
              <a:gd name="T0" fmla="*/ 0 w 913841"/>
              <a:gd name="T1" fmla="*/ 0 h 201853"/>
              <a:gd name="T2" fmla="*/ 911784 w 913841"/>
              <a:gd name="T3" fmla="*/ 201373 h 201853"/>
              <a:gd name="T4" fmla="*/ 576523 w 913841"/>
              <a:gd name="T5" fmla="*/ 150833 h 201853"/>
              <a:gd name="T6" fmla="*/ 235442 w 913841"/>
              <a:gd name="T7" fmla="*/ 150534 h 201853"/>
              <a:gd name="T8" fmla="*/ 179502 w 913841"/>
              <a:gd name="T9" fmla="*/ 126444 h 201853"/>
              <a:gd name="T10" fmla="*/ 174105 w 913841"/>
              <a:gd name="T11" fmla="*/ 88671 h 201853"/>
              <a:gd name="T12" fmla="*/ 219530 w 913841"/>
              <a:gd name="T13" fmla="*/ 50908 h 201853"/>
              <a:gd name="T14" fmla="*/ 578019 w 913841"/>
              <a:gd name="T15" fmla="*/ 50464 h 201853"/>
              <a:gd name="T16" fmla="*/ 911784 w 913841"/>
              <a:gd name="T17" fmla="*/ 0 h 201853"/>
              <a:gd name="T18" fmla="*/ 623623 w 913841"/>
              <a:gd name="T19" fmla="*/ 117474 h 201853"/>
              <a:gd name="T20" fmla="*/ 619569 w 913841"/>
              <a:gd name="T21" fmla="*/ 144347 h 201853"/>
              <a:gd name="T22" fmla="*/ 911784 w 913841"/>
              <a:gd name="T23" fmla="*/ 150833 h 201853"/>
              <a:gd name="T24" fmla="*/ 643442 w 913841"/>
              <a:gd name="T25" fmla="*/ 149567 h 201853"/>
              <a:gd name="T26" fmla="*/ 574877 w 913841"/>
              <a:gd name="T27" fmla="*/ 50908 h 201853"/>
              <a:gd name="T28" fmla="*/ 236081 w 913841"/>
              <a:gd name="T29" fmla="*/ 51157 h 201853"/>
              <a:gd name="T30" fmla="*/ 277807 w 913841"/>
              <a:gd name="T31" fmla="*/ 75308 h 201853"/>
              <a:gd name="T32" fmla="*/ 283687 w 913841"/>
              <a:gd name="T33" fmla="*/ 100610 h 201853"/>
              <a:gd name="T34" fmla="*/ 235442 w 913841"/>
              <a:gd name="T35" fmla="*/ 150534 h 201853"/>
              <a:gd name="T36" fmla="*/ 568896 w 913841"/>
              <a:gd name="T37" fmla="*/ 149656 h 201853"/>
              <a:gd name="T38" fmla="*/ 302036 w 913841"/>
              <a:gd name="T39" fmla="*/ 149567 h 201853"/>
              <a:gd name="T40" fmla="*/ 569816 w 913841"/>
              <a:gd name="T41" fmla="*/ 51806 h 201853"/>
              <a:gd name="T42" fmla="*/ 574877 w 913841"/>
              <a:gd name="T43" fmla="*/ 50908 h 201853"/>
              <a:gd name="T44" fmla="*/ 372071 w 913841"/>
              <a:gd name="T45" fmla="*/ 51806 h 201853"/>
              <a:gd name="T46" fmla="*/ 331509 w 913841"/>
              <a:gd name="T47" fmla="*/ 71419 h 201853"/>
              <a:gd name="T48" fmla="*/ 372071 w 913841"/>
              <a:gd name="T49" fmla="*/ 90322 h 201853"/>
              <a:gd name="T50" fmla="*/ 331509 w 913841"/>
              <a:gd name="T51" fmla="*/ 109999 h 201853"/>
              <a:gd name="T52" fmla="*/ 391901 w 913841"/>
              <a:gd name="T53" fmla="*/ 149567 h 201853"/>
              <a:gd name="T54" fmla="*/ 481906 w 913841"/>
              <a:gd name="T55" fmla="*/ 51806 h 201853"/>
              <a:gd name="T56" fmla="*/ 461949 w 913841"/>
              <a:gd name="T57" fmla="*/ 71419 h 201853"/>
              <a:gd name="T58" fmla="*/ 421387 w 913841"/>
              <a:gd name="T59" fmla="*/ 90322 h 201853"/>
              <a:gd name="T60" fmla="*/ 461949 w 913841"/>
              <a:gd name="T61" fmla="*/ 109999 h 201853"/>
              <a:gd name="T62" fmla="*/ 421387 w 913841"/>
              <a:gd name="T63" fmla="*/ 149567 h 201853"/>
              <a:gd name="T64" fmla="*/ 481906 w 913841"/>
              <a:gd name="T65" fmla="*/ 51806 h 201853"/>
              <a:gd name="T66" fmla="*/ 511393 w 913841"/>
              <a:gd name="T67" fmla="*/ 51806 h 201853"/>
              <a:gd name="T68" fmla="*/ 568641 w 913841"/>
              <a:gd name="T69" fmla="*/ 149567 h 201853"/>
              <a:gd name="T70" fmla="*/ 549547 w 913841"/>
              <a:gd name="T71" fmla="*/ 141483 h 201853"/>
              <a:gd name="T72" fmla="*/ 535899 w 913841"/>
              <a:gd name="T73" fmla="*/ 126952 h 201853"/>
              <a:gd name="T74" fmla="*/ 529728 w 913841"/>
              <a:gd name="T75" fmla="*/ 107947 h 201853"/>
              <a:gd name="T76" fmla="*/ 551586 w 913841"/>
              <a:gd name="T77" fmla="*/ 58559 h 201853"/>
              <a:gd name="T78" fmla="*/ 569816 w 913841"/>
              <a:gd name="T79" fmla="*/ 51806 h 201853"/>
              <a:gd name="T80" fmla="*/ 715947 w 913841"/>
              <a:gd name="T81" fmla="*/ 51806 h 201853"/>
              <a:gd name="T82" fmla="*/ 672928 w 913841"/>
              <a:gd name="T83" fmla="*/ 71419 h 201853"/>
              <a:gd name="T84" fmla="*/ 713983 w 913841"/>
              <a:gd name="T85" fmla="*/ 89335 h 201853"/>
              <a:gd name="T86" fmla="*/ 672928 w 913841"/>
              <a:gd name="T87" fmla="*/ 109010 h 201853"/>
              <a:gd name="T88" fmla="*/ 717152 w 913841"/>
              <a:gd name="T89" fmla="*/ 129890 h 201853"/>
              <a:gd name="T90" fmla="*/ 911784 w 913841"/>
              <a:gd name="T91" fmla="*/ 149567 h 201853"/>
              <a:gd name="T92" fmla="*/ 598547 w 913841"/>
              <a:gd name="T93" fmla="*/ 73320 h 201853"/>
              <a:gd name="T94" fmla="*/ 581161 w 913841"/>
              <a:gd name="T95" fmla="*/ 74447 h 201853"/>
              <a:gd name="T96" fmla="*/ 567298 w 913841"/>
              <a:gd name="T97" fmla="*/ 82188 h 201853"/>
              <a:gd name="T98" fmla="*/ 559784 w 913841"/>
              <a:gd name="T99" fmla="*/ 95441 h 201853"/>
              <a:gd name="T100" fmla="*/ 584658 w 913841"/>
              <a:gd name="T101" fmla="*/ 128053 h 201853"/>
              <a:gd name="T102" fmla="*/ 623623 w 913841"/>
              <a:gd name="T103" fmla="*/ 117474 h 201853"/>
              <a:gd name="T104" fmla="*/ 643442 w 913841"/>
              <a:gd name="T105" fmla="*/ 83823 h 201853"/>
              <a:gd name="T106" fmla="*/ 618352 w 913841"/>
              <a:gd name="T107" fmla="*/ 80821 h 201853"/>
              <a:gd name="T108" fmla="*/ 604109 w 913841"/>
              <a:gd name="T109" fmla="*/ 74321 h 201853"/>
              <a:gd name="T110" fmla="*/ 911784 w 913841"/>
              <a:gd name="T111" fmla="*/ 50464 h 201853"/>
              <a:gd name="T112" fmla="*/ 596911 w 913841"/>
              <a:gd name="T113" fmla="*/ 51268 h 201853"/>
              <a:gd name="T114" fmla="*/ 622708 w 913841"/>
              <a:gd name="T115" fmla="*/ 57705 h 201853"/>
              <a:gd name="T116" fmla="*/ 643442 w 913841"/>
              <a:gd name="T117" fmla="*/ 83823 h 201853"/>
              <a:gd name="T118" fmla="*/ 911784 w 913841"/>
              <a:gd name="T119" fmla="*/ 51806 h 20185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13841" h="201853">
                <a:moveTo>
                  <a:pt x="913841" y="0"/>
                </a:moveTo>
                <a:lnTo>
                  <a:pt x="0" y="0"/>
                </a:lnTo>
                <a:lnTo>
                  <a:pt x="0" y="201853"/>
                </a:lnTo>
                <a:lnTo>
                  <a:pt x="913841" y="201853"/>
                </a:lnTo>
                <a:lnTo>
                  <a:pt x="913841" y="151193"/>
                </a:lnTo>
                <a:lnTo>
                  <a:pt x="577824" y="151193"/>
                </a:lnTo>
                <a:lnTo>
                  <a:pt x="575876" y="150892"/>
                </a:lnTo>
                <a:lnTo>
                  <a:pt x="235973" y="150892"/>
                </a:lnTo>
                <a:lnTo>
                  <a:pt x="219587" y="150343"/>
                </a:lnTo>
                <a:lnTo>
                  <a:pt x="179907" y="126746"/>
                </a:lnTo>
                <a:lnTo>
                  <a:pt x="173142" y="102190"/>
                </a:lnTo>
                <a:lnTo>
                  <a:pt x="174497" y="88883"/>
                </a:lnTo>
                <a:lnTo>
                  <a:pt x="207721" y="53597"/>
                </a:lnTo>
                <a:lnTo>
                  <a:pt x="220025" y="51030"/>
                </a:lnTo>
                <a:lnTo>
                  <a:pt x="576174" y="51030"/>
                </a:lnTo>
                <a:lnTo>
                  <a:pt x="579323" y="50584"/>
                </a:lnTo>
                <a:lnTo>
                  <a:pt x="913841" y="50584"/>
                </a:lnTo>
                <a:lnTo>
                  <a:pt x="913841" y="0"/>
                </a:lnTo>
                <a:close/>
              </a:path>
              <a:path w="913841" h="201853">
                <a:moveTo>
                  <a:pt x="644893" y="117754"/>
                </a:moveTo>
                <a:lnTo>
                  <a:pt x="625030" y="117754"/>
                </a:lnTo>
                <a:lnTo>
                  <a:pt x="625030" y="142570"/>
                </a:lnTo>
                <a:lnTo>
                  <a:pt x="620966" y="144691"/>
                </a:lnTo>
                <a:lnTo>
                  <a:pt x="590969" y="151193"/>
                </a:lnTo>
                <a:lnTo>
                  <a:pt x="913841" y="151193"/>
                </a:lnTo>
                <a:lnTo>
                  <a:pt x="913841" y="149923"/>
                </a:lnTo>
                <a:lnTo>
                  <a:pt x="644893" y="149923"/>
                </a:lnTo>
                <a:lnTo>
                  <a:pt x="644893" y="117754"/>
                </a:lnTo>
                <a:close/>
              </a:path>
              <a:path w="913841" h="201853">
                <a:moveTo>
                  <a:pt x="576174" y="51030"/>
                </a:moveTo>
                <a:lnTo>
                  <a:pt x="220025" y="51030"/>
                </a:lnTo>
                <a:lnTo>
                  <a:pt x="236613" y="51279"/>
                </a:lnTo>
                <a:lnTo>
                  <a:pt x="247639" y="52950"/>
                </a:lnTo>
                <a:lnTo>
                  <a:pt x="278434" y="75488"/>
                </a:lnTo>
                <a:lnTo>
                  <a:pt x="284327" y="94119"/>
                </a:lnTo>
                <a:lnTo>
                  <a:pt x="284327" y="100850"/>
                </a:lnTo>
                <a:lnTo>
                  <a:pt x="259978" y="143944"/>
                </a:lnTo>
                <a:lnTo>
                  <a:pt x="235973" y="150892"/>
                </a:lnTo>
                <a:lnTo>
                  <a:pt x="575876" y="150892"/>
                </a:lnTo>
                <a:lnTo>
                  <a:pt x="570179" y="150012"/>
                </a:lnTo>
                <a:lnTo>
                  <a:pt x="569924" y="149923"/>
                </a:lnTo>
                <a:lnTo>
                  <a:pt x="302717" y="149923"/>
                </a:lnTo>
                <a:lnTo>
                  <a:pt x="302717" y="51930"/>
                </a:lnTo>
                <a:lnTo>
                  <a:pt x="571101" y="51930"/>
                </a:lnTo>
                <a:lnTo>
                  <a:pt x="572249" y="51587"/>
                </a:lnTo>
                <a:lnTo>
                  <a:pt x="576174" y="51030"/>
                </a:lnTo>
                <a:close/>
              </a:path>
              <a:path w="913841" h="201853">
                <a:moveTo>
                  <a:pt x="392785" y="51930"/>
                </a:moveTo>
                <a:lnTo>
                  <a:pt x="372910" y="51930"/>
                </a:lnTo>
                <a:lnTo>
                  <a:pt x="372910" y="71589"/>
                </a:lnTo>
                <a:lnTo>
                  <a:pt x="332257" y="71589"/>
                </a:lnTo>
                <a:lnTo>
                  <a:pt x="332257" y="90538"/>
                </a:lnTo>
                <a:lnTo>
                  <a:pt x="372910" y="90538"/>
                </a:lnTo>
                <a:lnTo>
                  <a:pt x="372910" y="110261"/>
                </a:lnTo>
                <a:lnTo>
                  <a:pt x="332257" y="110261"/>
                </a:lnTo>
                <a:lnTo>
                  <a:pt x="332257" y="149923"/>
                </a:lnTo>
                <a:lnTo>
                  <a:pt x="392785" y="149923"/>
                </a:lnTo>
                <a:lnTo>
                  <a:pt x="392785" y="51930"/>
                </a:lnTo>
                <a:close/>
              </a:path>
              <a:path w="913841" h="201853">
                <a:moveTo>
                  <a:pt x="482993" y="51930"/>
                </a:moveTo>
                <a:lnTo>
                  <a:pt x="462991" y="51930"/>
                </a:lnTo>
                <a:lnTo>
                  <a:pt x="462991" y="71589"/>
                </a:lnTo>
                <a:lnTo>
                  <a:pt x="422338" y="71589"/>
                </a:lnTo>
                <a:lnTo>
                  <a:pt x="422338" y="90538"/>
                </a:lnTo>
                <a:lnTo>
                  <a:pt x="462991" y="90538"/>
                </a:lnTo>
                <a:lnTo>
                  <a:pt x="462991" y="110261"/>
                </a:lnTo>
                <a:lnTo>
                  <a:pt x="422338" y="110261"/>
                </a:lnTo>
                <a:lnTo>
                  <a:pt x="422338" y="149923"/>
                </a:lnTo>
                <a:lnTo>
                  <a:pt x="482993" y="149923"/>
                </a:lnTo>
                <a:lnTo>
                  <a:pt x="482993" y="51930"/>
                </a:lnTo>
                <a:close/>
              </a:path>
              <a:path w="913841" h="201853">
                <a:moveTo>
                  <a:pt x="571101" y="51930"/>
                </a:moveTo>
                <a:lnTo>
                  <a:pt x="512546" y="51930"/>
                </a:lnTo>
                <a:lnTo>
                  <a:pt x="512546" y="149923"/>
                </a:lnTo>
                <a:lnTo>
                  <a:pt x="569924" y="149923"/>
                </a:lnTo>
                <a:lnTo>
                  <a:pt x="556653" y="145300"/>
                </a:lnTo>
                <a:lnTo>
                  <a:pt x="550786" y="141820"/>
                </a:lnTo>
                <a:lnTo>
                  <a:pt x="540829" y="132626"/>
                </a:lnTo>
                <a:lnTo>
                  <a:pt x="537108" y="127254"/>
                </a:lnTo>
                <a:lnTo>
                  <a:pt x="532155" y="114947"/>
                </a:lnTo>
                <a:lnTo>
                  <a:pt x="530923" y="108204"/>
                </a:lnTo>
                <a:lnTo>
                  <a:pt x="530923" y="92417"/>
                </a:lnTo>
                <a:lnTo>
                  <a:pt x="552830" y="58699"/>
                </a:lnTo>
                <a:lnTo>
                  <a:pt x="558812" y="55600"/>
                </a:lnTo>
                <a:lnTo>
                  <a:pt x="571101" y="51930"/>
                </a:lnTo>
                <a:close/>
              </a:path>
              <a:path w="913841" h="201853">
                <a:moveTo>
                  <a:pt x="913841" y="51930"/>
                </a:moveTo>
                <a:lnTo>
                  <a:pt x="717562" y="51930"/>
                </a:lnTo>
                <a:lnTo>
                  <a:pt x="717562" y="71589"/>
                </a:lnTo>
                <a:lnTo>
                  <a:pt x="674446" y="71589"/>
                </a:lnTo>
                <a:lnTo>
                  <a:pt x="674446" y="89547"/>
                </a:lnTo>
                <a:lnTo>
                  <a:pt x="715594" y="89547"/>
                </a:lnTo>
                <a:lnTo>
                  <a:pt x="715594" y="109270"/>
                </a:lnTo>
                <a:lnTo>
                  <a:pt x="674446" y="109270"/>
                </a:lnTo>
                <a:lnTo>
                  <a:pt x="674446" y="130200"/>
                </a:lnTo>
                <a:lnTo>
                  <a:pt x="718769" y="130200"/>
                </a:lnTo>
                <a:lnTo>
                  <a:pt x="718769" y="149923"/>
                </a:lnTo>
                <a:lnTo>
                  <a:pt x="913841" y="149923"/>
                </a:lnTo>
                <a:lnTo>
                  <a:pt x="913841" y="51930"/>
                </a:lnTo>
                <a:close/>
              </a:path>
              <a:path w="913841" h="201853">
                <a:moveTo>
                  <a:pt x="599897" y="73494"/>
                </a:moveTo>
                <a:lnTo>
                  <a:pt x="587794" y="73494"/>
                </a:lnTo>
                <a:lnTo>
                  <a:pt x="582472" y="74625"/>
                </a:lnTo>
                <a:lnTo>
                  <a:pt x="572566" y="79146"/>
                </a:lnTo>
                <a:lnTo>
                  <a:pt x="568578" y="82384"/>
                </a:lnTo>
                <a:lnTo>
                  <a:pt x="562559" y="90766"/>
                </a:lnTo>
                <a:lnTo>
                  <a:pt x="561047" y="95669"/>
                </a:lnTo>
                <a:lnTo>
                  <a:pt x="561047" y="106222"/>
                </a:lnTo>
                <a:lnTo>
                  <a:pt x="585977" y="128358"/>
                </a:lnTo>
                <a:lnTo>
                  <a:pt x="596633" y="128358"/>
                </a:lnTo>
                <a:lnTo>
                  <a:pt x="625030" y="117754"/>
                </a:lnTo>
                <a:lnTo>
                  <a:pt x="644893" y="117754"/>
                </a:lnTo>
                <a:lnTo>
                  <a:pt x="644893" y="84023"/>
                </a:lnTo>
                <a:lnTo>
                  <a:pt x="624598" y="84023"/>
                </a:lnTo>
                <a:lnTo>
                  <a:pt x="619747" y="81013"/>
                </a:lnTo>
                <a:lnTo>
                  <a:pt x="614946" y="78498"/>
                </a:lnTo>
                <a:lnTo>
                  <a:pt x="605472" y="74498"/>
                </a:lnTo>
                <a:lnTo>
                  <a:pt x="599897" y="73494"/>
                </a:lnTo>
                <a:close/>
              </a:path>
              <a:path w="913841" h="201853">
                <a:moveTo>
                  <a:pt x="913841" y="50584"/>
                </a:moveTo>
                <a:lnTo>
                  <a:pt x="586778" y="50584"/>
                </a:lnTo>
                <a:lnTo>
                  <a:pt x="598258" y="51390"/>
                </a:lnTo>
                <a:lnTo>
                  <a:pt x="610704" y="53810"/>
                </a:lnTo>
                <a:lnTo>
                  <a:pt x="624113" y="57843"/>
                </a:lnTo>
                <a:lnTo>
                  <a:pt x="624598" y="84023"/>
                </a:lnTo>
                <a:lnTo>
                  <a:pt x="644893" y="84023"/>
                </a:lnTo>
                <a:lnTo>
                  <a:pt x="644893" y="51930"/>
                </a:lnTo>
                <a:lnTo>
                  <a:pt x="913841" y="51930"/>
                </a:lnTo>
                <a:lnTo>
                  <a:pt x="913841" y="50584"/>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4" name="object 98">
            <a:extLst>
              <a:ext uri="{FF2B5EF4-FFF2-40B4-BE49-F238E27FC236}">
                <a16:creationId xmlns:a16="http://schemas.microsoft.com/office/drawing/2014/main" id="{303425CD-C2E4-4C8A-95BE-54C176FBDE82}"/>
              </a:ext>
            </a:extLst>
          </p:cNvPr>
          <p:cNvSpPr>
            <a:spLocks/>
          </p:cNvSpPr>
          <p:nvPr/>
        </p:nvSpPr>
        <p:spPr bwMode="auto">
          <a:xfrm>
            <a:off x="5912427" y="3980228"/>
            <a:ext cx="63263" cy="64179"/>
          </a:xfrm>
          <a:custGeom>
            <a:avLst/>
            <a:gdLst>
              <a:gd name="T0" fmla="*/ 59798 w 110297"/>
              <a:gd name="T1" fmla="*/ 0 h 110133"/>
              <a:gd name="T2" fmla="*/ 18988 w 110297"/>
              <a:gd name="T3" fmla="*/ 14082 h 110133"/>
              <a:gd name="T4" fmla="*/ 382 w 110297"/>
              <a:gd name="T5" fmla="*/ 49271 h 110133"/>
              <a:gd name="T6" fmla="*/ 0 w 110297"/>
              <a:gd name="T7" fmla="*/ 55950 h 110133"/>
              <a:gd name="T8" fmla="*/ 1854 w 110297"/>
              <a:gd name="T9" fmla="*/ 70548 h 110133"/>
              <a:gd name="T10" fmla="*/ 25812 w 110297"/>
              <a:gd name="T11" fmla="*/ 103769 h 110133"/>
              <a:gd name="T12" fmla="*/ 52286 w 110297"/>
              <a:gd name="T13" fmla="*/ 112126 h 110133"/>
              <a:gd name="T14" fmla="*/ 67037 w 110297"/>
              <a:gd name="T15" fmla="*/ 110304 h 110133"/>
              <a:gd name="T16" fmla="*/ 100093 w 110297"/>
              <a:gd name="T17" fmla="*/ 86483 h 110133"/>
              <a:gd name="T18" fmla="*/ 108784 w 110297"/>
              <a:gd name="T19" fmla="*/ 60003 h 110133"/>
              <a:gd name="T20" fmla="*/ 107117 w 110297"/>
              <a:gd name="T21" fmla="*/ 44294 h 110133"/>
              <a:gd name="T22" fmla="*/ 84781 w 110297"/>
              <a:gd name="T23" fmla="*/ 9460 h 110133"/>
              <a:gd name="T24" fmla="*/ 59798 w 110297"/>
              <a:gd name="T25" fmla="*/ 0 h 1101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7" h="110133">
                <a:moveTo>
                  <a:pt x="60629" y="0"/>
                </a:moveTo>
                <a:lnTo>
                  <a:pt x="19252" y="13831"/>
                </a:lnTo>
                <a:lnTo>
                  <a:pt x="388" y="48395"/>
                </a:lnTo>
                <a:lnTo>
                  <a:pt x="0" y="54956"/>
                </a:lnTo>
                <a:lnTo>
                  <a:pt x="1880" y="69294"/>
                </a:lnTo>
                <a:lnTo>
                  <a:pt x="26171" y="101925"/>
                </a:lnTo>
                <a:lnTo>
                  <a:pt x="53013" y="110133"/>
                </a:lnTo>
                <a:lnTo>
                  <a:pt x="67970" y="108343"/>
                </a:lnTo>
                <a:lnTo>
                  <a:pt x="101485" y="84946"/>
                </a:lnTo>
                <a:lnTo>
                  <a:pt x="110297" y="58936"/>
                </a:lnTo>
                <a:lnTo>
                  <a:pt x="108606" y="43507"/>
                </a:lnTo>
                <a:lnTo>
                  <a:pt x="85960" y="9292"/>
                </a:lnTo>
                <a:lnTo>
                  <a:pt x="60629"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5" name="object 99">
            <a:extLst>
              <a:ext uri="{FF2B5EF4-FFF2-40B4-BE49-F238E27FC236}">
                <a16:creationId xmlns:a16="http://schemas.microsoft.com/office/drawing/2014/main" id="{9F7CDE17-AE60-47C8-981C-5FBEF127EC69}"/>
              </a:ext>
            </a:extLst>
          </p:cNvPr>
          <p:cNvSpPr>
            <a:spLocks/>
          </p:cNvSpPr>
          <p:nvPr/>
        </p:nvSpPr>
        <p:spPr bwMode="auto">
          <a:xfrm>
            <a:off x="5895008" y="4187434"/>
            <a:ext cx="114605" cy="18337"/>
          </a:xfrm>
          <a:custGeom>
            <a:avLst/>
            <a:gdLst>
              <a:gd name="T0" fmla="*/ 191848 w 198094"/>
              <a:gd name="T1" fmla="*/ 0 h 30886"/>
              <a:gd name="T2" fmla="*/ 6932 w 198094"/>
              <a:gd name="T3" fmla="*/ 0 h 30886"/>
              <a:gd name="T4" fmla="*/ 0 w 198094"/>
              <a:gd name="T5" fmla="*/ 7300 h 30886"/>
              <a:gd name="T6" fmla="*/ 0 w 198094"/>
              <a:gd name="T7" fmla="*/ 25323 h 30886"/>
              <a:gd name="T8" fmla="*/ 6932 w 198094"/>
              <a:gd name="T9" fmla="*/ 32638 h 30886"/>
              <a:gd name="T10" fmla="*/ 191848 w 198094"/>
              <a:gd name="T11" fmla="*/ 32638 h 30886"/>
              <a:gd name="T12" fmla="*/ 198781 w 198094"/>
              <a:gd name="T13" fmla="*/ 25323 h 30886"/>
              <a:gd name="T14" fmla="*/ 198781 w 198094"/>
              <a:gd name="T15" fmla="*/ 7300 h 30886"/>
              <a:gd name="T16" fmla="*/ 191848 w 198094"/>
              <a:gd name="T17" fmla="*/ 0 h 308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8094" h="30886">
                <a:moveTo>
                  <a:pt x="191185" y="0"/>
                </a:moveTo>
                <a:lnTo>
                  <a:pt x="6908" y="0"/>
                </a:lnTo>
                <a:lnTo>
                  <a:pt x="0" y="6908"/>
                </a:lnTo>
                <a:lnTo>
                  <a:pt x="0" y="23964"/>
                </a:lnTo>
                <a:lnTo>
                  <a:pt x="6908" y="30886"/>
                </a:lnTo>
                <a:lnTo>
                  <a:pt x="191185" y="30886"/>
                </a:lnTo>
                <a:lnTo>
                  <a:pt x="198094" y="23964"/>
                </a:lnTo>
                <a:lnTo>
                  <a:pt x="198094" y="6908"/>
                </a:lnTo>
                <a:lnTo>
                  <a:pt x="19118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6" name="object 100">
            <a:extLst>
              <a:ext uri="{FF2B5EF4-FFF2-40B4-BE49-F238E27FC236}">
                <a16:creationId xmlns:a16="http://schemas.microsoft.com/office/drawing/2014/main" id="{29666F29-744C-4DFE-80F4-24C6AD1B82AD}"/>
              </a:ext>
            </a:extLst>
          </p:cNvPr>
          <p:cNvSpPr>
            <a:spLocks/>
          </p:cNvSpPr>
          <p:nvPr/>
        </p:nvSpPr>
        <p:spPr bwMode="auto">
          <a:xfrm>
            <a:off x="5839997" y="4036155"/>
            <a:ext cx="175117" cy="231045"/>
          </a:xfrm>
          <a:custGeom>
            <a:avLst/>
            <a:gdLst>
              <a:gd name="T0" fmla="*/ 78465 w 304642"/>
              <a:gd name="T1" fmla="*/ 346641 h 400024"/>
              <a:gd name="T2" fmla="*/ 26633 w 304642"/>
              <a:gd name="T3" fmla="*/ 346641 h 400024"/>
              <a:gd name="T4" fmla="*/ 22380 w 304642"/>
              <a:gd name="T5" fmla="*/ 368894 h 400024"/>
              <a:gd name="T6" fmla="*/ 44612 w 304642"/>
              <a:gd name="T7" fmla="*/ 399911 h 400024"/>
              <a:gd name="T8" fmla="*/ 46272 w 304642"/>
              <a:gd name="T9" fmla="*/ 400076 h 400024"/>
              <a:gd name="T10" fmla="*/ 47895 w 304642"/>
              <a:gd name="T11" fmla="*/ 400076 h 400024"/>
              <a:gd name="T12" fmla="*/ 60854 w 304642"/>
              <a:gd name="T13" fmla="*/ 396556 h 400024"/>
              <a:gd name="T14" fmla="*/ 70294 w 304642"/>
              <a:gd name="T15" fmla="*/ 387073 h 400024"/>
              <a:gd name="T16" fmla="*/ 78465 w 304642"/>
              <a:gd name="T17" fmla="*/ 346641 h 400024"/>
              <a:gd name="T18" fmla="*/ 245883 w 304642"/>
              <a:gd name="T19" fmla="*/ 0 h 400024"/>
              <a:gd name="T20" fmla="*/ 207626 w 304642"/>
              <a:gd name="T21" fmla="*/ 10395 h 400024"/>
              <a:gd name="T22" fmla="*/ 182933 w 304642"/>
              <a:gd name="T23" fmla="*/ 38122 h 400024"/>
              <a:gd name="T24" fmla="*/ 139347 w 304642"/>
              <a:gd name="T25" fmla="*/ 95554 h 400024"/>
              <a:gd name="T26" fmla="*/ 61583 w 304642"/>
              <a:gd name="T27" fmla="*/ 154261 h 400024"/>
              <a:gd name="T28" fmla="*/ 58815 w 304642"/>
              <a:gd name="T29" fmla="*/ 159049 h 400024"/>
              <a:gd name="T30" fmla="*/ 57733 w 304642"/>
              <a:gd name="T31" fmla="*/ 164169 h 400024"/>
              <a:gd name="T32" fmla="*/ 51681 w 304642"/>
              <a:gd name="T33" fmla="*/ 167192 h 400024"/>
              <a:gd name="T34" fmla="*/ 46800 w 304642"/>
              <a:gd name="T35" fmla="*/ 172475 h 400024"/>
              <a:gd name="T36" fmla="*/ 979 w 304642"/>
              <a:gd name="T37" fmla="*/ 312269 h 400024"/>
              <a:gd name="T38" fmla="*/ 0 w 304642"/>
              <a:gd name="T39" fmla="*/ 324738 h 400024"/>
              <a:gd name="T40" fmla="*/ 4616 w 304642"/>
              <a:gd name="T41" fmla="*/ 335909 h 400024"/>
              <a:gd name="T42" fmla="*/ 13890 w 304642"/>
              <a:gd name="T43" fmla="*/ 343887 h 400024"/>
              <a:gd name="T44" fmla="*/ 17461 w 304642"/>
              <a:gd name="T45" fmla="*/ 345382 h 400024"/>
              <a:gd name="T46" fmla="*/ 20166 w 304642"/>
              <a:gd name="T47" fmla="*/ 346286 h 400024"/>
              <a:gd name="T48" fmla="*/ 22909 w 304642"/>
              <a:gd name="T49" fmla="*/ 346717 h 400024"/>
              <a:gd name="T50" fmla="*/ 26633 w 304642"/>
              <a:gd name="T51" fmla="*/ 346641 h 400024"/>
              <a:gd name="T52" fmla="*/ 78465 w 304642"/>
              <a:gd name="T53" fmla="*/ 346641 h 400024"/>
              <a:gd name="T54" fmla="*/ 97741 w 304642"/>
              <a:gd name="T55" fmla="*/ 251263 h 400024"/>
              <a:gd name="T56" fmla="*/ 260312 w 304642"/>
              <a:gd name="T57" fmla="*/ 251258 h 400024"/>
              <a:gd name="T58" fmla="*/ 275034 w 304642"/>
              <a:gd name="T59" fmla="*/ 246435 h 400024"/>
              <a:gd name="T60" fmla="*/ 294749 w 304642"/>
              <a:gd name="T61" fmla="*/ 202103 h 400024"/>
              <a:gd name="T62" fmla="*/ 296396 w 304642"/>
              <a:gd name="T63" fmla="*/ 184619 h 400024"/>
              <a:gd name="T64" fmla="*/ 296955 w 304642"/>
              <a:gd name="T65" fmla="*/ 178420 h 400024"/>
              <a:gd name="T66" fmla="*/ 170347 w 304642"/>
              <a:gd name="T67" fmla="*/ 178420 h 400024"/>
              <a:gd name="T68" fmla="*/ 129080 w 304642"/>
              <a:gd name="T69" fmla="*/ 171319 h 400024"/>
              <a:gd name="T70" fmla="*/ 116462 w 304642"/>
              <a:gd name="T71" fmla="*/ 168932 h 400024"/>
              <a:gd name="T72" fmla="*/ 169881 w 304642"/>
              <a:gd name="T73" fmla="*/ 128590 h 400024"/>
              <a:gd name="T74" fmla="*/ 171277 w 304642"/>
              <a:gd name="T75" fmla="*/ 127219 h 400024"/>
              <a:gd name="T76" fmla="*/ 173214 w 304642"/>
              <a:gd name="T77" fmla="*/ 124742 h 400024"/>
              <a:gd name="T78" fmla="*/ 301789 w 304642"/>
              <a:gd name="T79" fmla="*/ 124742 h 400024"/>
              <a:gd name="T80" fmla="*/ 306524 w 304642"/>
              <a:gd name="T81" fmla="*/ 72171 h 400024"/>
              <a:gd name="T82" fmla="*/ 298116 w 304642"/>
              <a:gd name="T83" fmla="*/ 32392 h 400024"/>
              <a:gd name="T84" fmla="*/ 269939 w 304642"/>
              <a:gd name="T85" fmla="*/ 5866 h 400024"/>
              <a:gd name="T86" fmla="*/ 257410 w 304642"/>
              <a:gd name="T87" fmla="*/ 1558 h 400024"/>
              <a:gd name="T88" fmla="*/ 245883 w 304642"/>
              <a:gd name="T89" fmla="*/ 0 h 400024"/>
              <a:gd name="T90" fmla="*/ 301789 w 304642"/>
              <a:gd name="T91" fmla="*/ 124742 h 400024"/>
              <a:gd name="T92" fmla="*/ 173214 w 304642"/>
              <a:gd name="T93" fmla="*/ 124742 h 400024"/>
              <a:gd name="T94" fmla="*/ 174373 w 304642"/>
              <a:gd name="T95" fmla="*/ 133710 h 400024"/>
              <a:gd name="T96" fmla="*/ 170347 w 304642"/>
              <a:gd name="T97" fmla="*/ 178420 h 400024"/>
              <a:gd name="T98" fmla="*/ 296955 w 304642"/>
              <a:gd name="T99" fmla="*/ 178420 h 400024"/>
              <a:gd name="T100" fmla="*/ 301789 w 304642"/>
              <a:gd name="T101" fmla="*/ 124742 h 40002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04642" h="400024">
                <a:moveTo>
                  <a:pt x="79207" y="346595"/>
                </a:moveTo>
                <a:lnTo>
                  <a:pt x="26885" y="346595"/>
                </a:lnTo>
                <a:lnTo>
                  <a:pt x="22592" y="368846"/>
                </a:lnTo>
                <a:lnTo>
                  <a:pt x="45033" y="399859"/>
                </a:lnTo>
                <a:lnTo>
                  <a:pt x="46709" y="400024"/>
                </a:lnTo>
                <a:lnTo>
                  <a:pt x="48348" y="400024"/>
                </a:lnTo>
                <a:lnTo>
                  <a:pt x="61429" y="396504"/>
                </a:lnTo>
                <a:lnTo>
                  <a:pt x="70959" y="387023"/>
                </a:lnTo>
                <a:lnTo>
                  <a:pt x="79207" y="346595"/>
                </a:lnTo>
                <a:close/>
              </a:path>
              <a:path w="304642" h="400024">
                <a:moveTo>
                  <a:pt x="248208" y="0"/>
                </a:moveTo>
                <a:lnTo>
                  <a:pt x="209589" y="10393"/>
                </a:lnTo>
                <a:lnTo>
                  <a:pt x="184663" y="38118"/>
                </a:lnTo>
                <a:lnTo>
                  <a:pt x="140664" y="95542"/>
                </a:lnTo>
                <a:lnTo>
                  <a:pt x="62165" y="154241"/>
                </a:lnTo>
                <a:lnTo>
                  <a:pt x="59371" y="159029"/>
                </a:lnTo>
                <a:lnTo>
                  <a:pt x="58279" y="164147"/>
                </a:lnTo>
                <a:lnTo>
                  <a:pt x="52170" y="167170"/>
                </a:lnTo>
                <a:lnTo>
                  <a:pt x="47243" y="172453"/>
                </a:lnTo>
                <a:lnTo>
                  <a:pt x="989" y="312229"/>
                </a:lnTo>
                <a:lnTo>
                  <a:pt x="0" y="324696"/>
                </a:lnTo>
                <a:lnTo>
                  <a:pt x="4660" y="335865"/>
                </a:lnTo>
                <a:lnTo>
                  <a:pt x="14022" y="343843"/>
                </a:lnTo>
                <a:lnTo>
                  <a:pt x="17626" y="345338"/>
                </a:lnTo>
                <a:lnTo>
                  <a:pt x="20357" y="346240"/>
                </a:lnTo>
                <a:lnTo>
                  <a:pt x="23126" y="346671"/>
                </a:lnTo>
                <a:lnTo>
                  <a:pt x="26885" y="346595"/>
                </a:lnTo>
                <a:lnTo>
                  <a:pt x="79207" y="346595"/>
                </a:lnTo>
                <a:lnTo>
                  <a:pt x="98665" y="251231"/>
                </a:lnTo>
                <a:lnTo>
                  <a:pt x="262773" y="251226"/>
                </a:lnTo>
                <a:lnTo>
                  <a:pt x="277634" y="246403"/>
                </a:lnTo>
                <a:lnTo>
                  <a:pt x="297536" y="202077"/>
                </a:lnTo>
                <a:lnTo>
                  <a:pt x="299198" y="184595"/>
                </a:lnTo>
                <a:lnTo>
                  <a:pt x="299762" y="178396"/>
                </a:lnTo>
                <a:lnTo>
                  <a:pt x="171957" y="178396"/>
                </a:lnTo>
                <a:lnTo>
                  <a:pt x="130301" y="171297"/>
                </a:lnTo>
                <a:lnTo>
                  <a:pt x="117563" y="168910"/>
                </a:lnTo>
                <a:lnTo>
                  <a:pt x="171487" y="128574"/>
                </a:lnTo>
                <a:lnTo>
                  <a:pt x="172897" y="127203"/>
                </a:lnTo>
                <a:lnTo>
                  <a:pt x="174852" y="124726"/>
                </a:lnTo>
                <a:lnTo>
                  <a:pt x="304642" y="124726"/>
                </a:lnTo>
                <a:lnTo>
                  <a:pt x="309422" y="72161"/>
                </a:lnTo>
                <a:lnTo>
                  <a:pt x="300935" y="32388"/>
                </a:lnTo>
                <a:lnTo>
                  <a:pt x="272491" y="5866"/>
                </a:lnTo>
                <a:lnTo>
                  <a:pt x="259844" y="1558"/>
                </a:lnTo>
                <a:lnTo>
                  <a:pt x="248208" y="0"/>
                </a:lnTo>
                <a:close/>
              </a:path>
              <a:path w="304642" h="400024">
                <a:moveTo>
                  <a:pt x="304642" y="124726"/>
                </a:moveTo>
                <a:lnTo>
                  <a:pt x="174852" y="124726"/>
                </a:lnTo>
                <a:lnTo>
                  <a:pt x="176021" y="133692"/>
                </a:lnTo>
                <a:lnTo>
                  <a:pt x="171957" y="178396"/>
                </a:lnTo>
                <a:lnTo>
                  <a:pt x="299762" y="178396"/>
                </a:lnTo>
                <a:lnTo>
                  <a:pt x="304642" y="124726"/>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7" name="object 101">
            <a:extLst>
              <a:ext uri="{FF2B5EF4-FFF2-40B4-BE49-F238E27FC236}">
                <a16:creationId xmlns:a16="http://schemas.microsoft.com/office/drawing/2014/main" id="{0336CC82-3ED9-494C-9F31-302418642429}"/>
              </a:ext>
            </a:extLst>
          </p:cNvPr>
          <p:cNvSpPr>
            <a:spLocks/>
          </p:cNvSpPr>
          <p:nvPr/>
        </p:nvSpPr>
        <p:spPr bwMode="auto">
          <a:xfrm>
            <a:off x="5976607" y="4200271"/>
            <a:ext cx="22004" cy="66929"/>
          </a:xfrm>
          <a:custGeom>
            <a:avLst/>
            <a:gdLst>
              <a:gd name="T0" fmla="*/ 22159 w 38557"/>
              <a:gd name="T1" fmla="*/ 0 h 115646"/>
              <a:gd name="T2" fmla="*/ 0 w 38557"/>
              <a:gd name="T3" fmla="*/ 0 h 115646"/>
              <a:gd name="T4" fmla="*/ 15873 w 38557"/>
              <a:gd name="T5" fmla="*/ 112086 h 115646"/>
              <a:gd name="T6" fmla="*/ 20548 w 38557"/>
              <a:gd name="T7" fmla="*/ 116129 h 115646"/>
              <a:gd name="T8" fmla="*/ 27504 w 38557"/>
              <a:gd name="T9" fmla="*/ 116013 h 115646"/>
              <a:gd name="T10" fmla="*/ 33493 w 38557"/>
              <a:gd name="T11" fmla="*/ 115108 h 115646"/>
              <a:gd name="T12" fmla="*/ 37648 w 38557"/>
              <a:gd name="T13" fmla="*/ 109394 h 115646"/>
              <a:gd name="T14" fmla="*/ 22159 w 38557"/>
              <a:gd name="T15" fmla="*/ 0 h 1156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8557" h="115646">
                <a:moveTo>
                  <a:pt x="22694" y="0"/>
                </a:moveTo>
                <a:lnTo>
                  <a:pt x="0" y="0"/>
                </a:lnTo>
                <a:lnTo>
                  <a:pt x="16256" y="111620"/>
                </a:lnTo>
                <a:lnTo>
                  <a:pt x="21043" y="115646"/>
                </a:lnTo>
                <a:lnTo>
                  <a:pt x="28168" y="115531"/>
                </a:lnTo>
                <a:lnTo>
                  <a:pt x="34302" y="114630"/>
                </a:lnTo>
                <a:lnTo>
                  <a:pt x="38557" y="108940"/>
                </a:lnTo>
                <a:lnTo>
                  <a:pt x="22694"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8" name="object 102">
            <a:extLst>
              <a:ext uri="{FF2B5EF4-FFF2-40B4-BE49-F238E27FC236}">
                <a16:creationId xmlns:a16="http://schemas.microsoft.com/office/drawing/2014/main" id="{AFB45F0E-1879-4630-A148-C4967336E5D8}"/>
              </a:ext>
            </a:extLst>
          </p:cNvPr>
          <p:cNvSpPr>
            <a:spLocks/>
          </p:cNvSpPr>
          <p:nvPr/>
        </p:nvSpPr>
        <p:spPr bwMode="auto">
          <a:xfrm>
            <a:off x="5908760" y="4200271"/>
            <a:ext cx="22921" cy="66929"/>
          </a:xfrm>
          <a:custGeom>
            <a:avLst/>
            <a:gdLst>
              <a:gd name="T0" fmla="*/ 40852 w 38557"/>
              <a:gd name="T1" fmla="*/ 0 h 115646"/>
              <a:gd name="T2" fmla="*/ 16806 w 38557"/>
              <a:gd name="T3" fmla="*/ 0 h 115646"/>
              <a:gd name="T4" fmla="*/ 0 w 38557"/>
              <a:gd name="T5" fmla="*/ 109394 h 115646"/>
              <a:gd name="T6" fmla="*/ 4507 w 38557"/>
              <a:gd name="T7" fmla="*/ 115108 h 115646"/>
              <a:gd name="T8" fmla="*/ 11007 w 38557"/>
              <a:gd name="T9" fmla="*/ 116013 h 115646"/>
              <a:gd name="T10" fmla="*/ 18556 w 38557"/>
              <a:gd name="T11" fmla="*/ 116129 h 115646"/>
              <a:gd name="T12" fmla="*/ 23628 w 38557"/>
              <a:gd name="T13" fmla="*/ 112086 h 115646"/>
              <a:gd name="T14" fmla="*/ 40852 w 38557"/>
              <a:gd name="T15" fmla="*/ 0 h 11564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8557" h="115646">
                <a:moveTo>
                  <a:pt x="38557" y="0"/>
                </a:moveTo>
                <a:lnTo>
                  <a:pt x="15862" y="0"/>
                </a:lnTo>
                <a:lnTo>
                  <a:pt x="0" y="108940"/>
                </a:lnTo>
                <a:lnTo>
                  <a:pt x="4254" y="114630"/>
                </a:lnTo>
                <a:lnTo>
                  <a:pt x="10388" y="115531"/>
                </a:lnTo>
                <a:lnTo>
                  <a:pt x="17513" y="115646"/>
                </a:lnTo>
                <a:lnTo>
                  <a:pt x="22301" y="111620"/>
                </a:lnTo>
                <a:lnTo>
                  <a:pt x="38557"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19" name="object 103">
            <a:extLst>
              <a:ext uri="{FF2B5EF4-FFF2-40B4-BE49-F238E27FC236}">
                <a16:creationId xmlns:a16="http://schemas.microsoft.com/office/drawing/2014/main" id="{0334EB4D-68C1-45B5-91C0-77018A4B75CB}"/>
              </a:ext>
            </a:extLst>
          </p:cNvPr>
          <p:cNvSpPr>
            <a:spLocks/>
          </p:cNvSpPr>
          <p:nvPr/>
        </p:nvSpPr>
        <p:spPr bwMode="auto">
          <a:xfrm>
            <a:off x="6926458" y="3605952"/>
            <a:ext cx="538188" cy="537271"/>
          </a:xfrm>
          <a:custGeom>
            <a:avLst/>
            <a:gdLst>
              <a:gd name="T0" fmla="*/ 428363 w 930579"/>
              <a:gd name="T1" fmla="*/ 1543 h 930592"/>
              <a:gd name="T2" fmla="*/ 285134 w 930579"/>
              <a:gd name="T3" fmla="*/ 36598 h 930592"/>
              <a:gd name="T4" fmla="*/ 163099 w 930579"/>
              <a:gd name="T5" fmla="*/ 112064 h 930592"/>
              <a:gd name="T6" fmla="*/ 70000 w 930579"/>
              <a:gd name="T7" fmla="*/ 220229 h 930592"/>
              <a:gd name="T8" fmla="*/ 13583 w 930579"/>
              <a:gd name="T9" fmla="*/ 353375 h 930592"/>
              <a:gd name="T10" fmla="*/ 0 w 930579"/>
              <a:gd name="T11" fmla="*/ 464985 h 930592"/>
              <a:gd name="T12" fmla="*/ 13583 w 930579"/>
              <a:gd name="T13" fmla="*/ 576591 h 930592"/>
              <a:gd name="T14" fmla="*/ 70000 w 930579"/>
              <a:gd name="T15" fmla="*/ 709732 h 930592"/>
              <a:gd name="T16" fmla="*/ 163099 w 930579"/>
              <a:gd name="T17" fmla="*/ 817894 h 930592"/>
              <a:gd name="T18" fmla="*/ 285134 w 930579"/>
              <a:gd name="T19" fmla="*/ 893361 h 930592"/>
              <a:gd name="T20" fmla="*/ 428363 w 930579"/>
              <a:gd name="T21" fmla="*/ 928415 h 930592"/>
              <a:gd name="T22" fmla="*/ 504786 w 930579"/>
              <a:gd name="T23" fmla="*/ 928415 h 930592"/>
              <a:gd name="T24" fmla="*/ 648014 w 930579"/>
              <a:gd name="T25" fmla="*/ 893361 h 930592"/>
              <a:gd name="T26" fmla="*/ 466574 w 930579"/>
              <a:gd name="T27" fmla="*/ 861069 h 930592"/>
              <a:gd name="T28" fmla="*/ 371175 w 930579"/>
              <a:gd name="T29" fmla="*/ 849538 h 930592"/>
              <a:gd name="T30" fmla="*/ 257366 w 930579"/>
              <a:gd name="T31" fmla="*/ 801645 h 930592"/>
              <a:gd name="T32" fmla="*/ 164907 w 930579"/>
              <a:gd name="T33" fmla="*/ 722612 h 930592"/>
              <a:gd name="T34" fmla="*/ 100397 w 930579"/>
              <a:gd name="T35" fmla="*/ 619013 h 930592"/>
              <a:gd name="T36" fmla="*/ 70433 w 930579"/>
              <a:gd name="T37" fmla="*/ 497422 h 930592"/>
              <a:gd name="T38" fmla="*/ 70433 w 930579"/>
              <a:gd name="T39" fmla="*/ 432548 h 930592"/>
              <a:gd name="T40" fmla="*/ 100397 w 930579"/>
              <a:gd name="T41" fmla="*/ 310955 h 930592"/>
              <a:gd name="T42" fmla="*/ 164907 w 930579"/>
              <a:gd name="T43" fmla="*/ 207353 h 930592"/>
              <a:gd name="T44" fmla="*/ 257366 w 930579"/>
              <a:gd name="T45" fmla="*/ 128316 h 930592"/>
              <a:gd name="T46" fmla="*/ 371175 w 930579"/>
              <a:gd name="T47" fmla="*/ 80421 h 930592"/>
              <a:gd name="T48" fmla="*/ 466574 w 930579"/>
              <a:gd name="T49" fmla="*/ 68889 h 930592"/>
              <a:gd name="T50" fmla="*/ 680812 w 930579"/>
              <a:gd name="T51" fmla="*/ 51976 h 930592"/>
              <a:gd name="T52" fmla="*/ 542156 w 930579"/>
              <a:gd name="T53" fmla="*/ 6096 h 930592"/>
              <a:gd name="T54" fmla="*/ 466574 w 930579"/>
              <a:gd name="T55" fmla="*/ 0 h 930592"/>
              <a:gd name="T56" fmla="*/ 466574 w 930579"/>
              <a:gd name="T57" fmla="*/ 68889 h 930592"/>
              <a:gd name="T58" fmla="*/ 530959 w 930579"/>
              <a:gd name="T59" fmla="*/ 74082 h 930592"/>
              <a:gd name="T60" fmla="*/ 649074 w 930579"/>
              <a:gd name="T61" fmla="*/ 113166 h 930592"/>
              <a:gd name="T62" fmla="*/ 747490 w 930579"/>
              <a:gd name="T63" fmla="*/ 185035 h 930592"/>
              <a:gd name="T64" fmla="*/ 819605 w 930579"/>
              <a:gd name="T65" fmla="*/ 283111 h 930592"/>
              <a:gd name="T66" fmla="*/ 858824 w 930579"/>
              <a:gd name="T67" fmla="*/ 400821 h 930592"/>
              <a:gd name="T68" fmla="*/ 862716 w 930579"/>
              <a:gd name="T69" fmla="*/ 497422 h 930592"/>
              <a:gd name="T70" fmla="*/ 832751 w 930579"/>
              <a:gd name="T71" fmla="*/ 619013 h 930592"/>
              <a:gd name="T72" fmla="*/ 768242 w 930579"/>
              <a:gd name="T73" fmla="*/ 722612 h 930592"/>
              <a:gd name="T74" fmla="*/ 675783 w 930579"/>
              <a:gd name="T75" fmla="*/ 801645 h 930592"/>
              <a:gd name="T76" fmla="*/ 561973 w 930579"/>
              <a:gd name="T77" fmla="*/ 849538 h 930592"/>
              <a:gd name="T78" fmla="*/ 466574 w 930579"/>
              <a:gd name="T79" fmla="*/ 861069 h 930592"/>
              <a:gd name="T80" fmla="*/ 770050 w 930579"/>
              <a:gd name="T81" fmla="*/ 817894 h 930592"/>
              <a:gd name="T82" fmla="*/ 863148 w 930579"/>
              <a:gd name="T83" fmla="*/ 709732 h 930592"/>
              <a:gd name="T84" fmla="*/ 919565 w 930579"/>
              <a:gd name="T85" fmla="*/ 576591 h 930592"/>
              <a:gd name="T86" fmla="*/ 933149 w 930579"/>
              <a:gd name="T87" fmla="*/ 464985 h 930592"/>
              <a:gd name="T88" fmla="*/ 919565 w 930579"/>
              <a:gd name="T89" fmla="*/ 353375 h 930592"/>
              <a:gd name="T90" fmla="*/ 863148 w 930579"/>
              <a:gd name="T91" fmla="*/ 220229 h 930592"/>
              <a:gd name="T92" fmla="*/ 770050 w 930579"/>
              <a:gd name="T93" fmla="*/ 112064 h 930592"/>
              <a:gd name="T94" fmla="*/ 710626 w 930579"/>
              <a:gd name="T95" fmla="*/ 68889 h 93059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930579" h="930592">
                <a:moveTo>
                  <a:pt x="465289" y="0"/>
                </a:moveTo>
                <a:lnTo>
                  <a:pt x="427184" y="1545"/>
                </a:lnTo>
                <a:lnTo>
                  <a:pt x="353607" y="13545"/>
                </a:lnTo>
                <a:lnTo>
                  <a:pt x="284349" y="36622"/>
                </a:lnTo>
                <a:lnTo>
                  <a:pt x="220375" y="69808"/>
                </a:lnTo>
                <a:lnTo>
                  <a:pt x="162650" y="112140"/>
                </a:lnTo>
                <a:lnTo>
                  <a:pt x="112139" y="162652"/>
                </a:lnTo>
                <a:lnTo>
                  <a:pt x="69808" y="220379"/>
                </a:lnTo>
                <a:lnTo>
                  <a:pt x="36622" y="284355"/>
                </a:lnTo>
                <a:lnTo>
                  <a:pt x="13545" y="353615"/>
                </a:lnTo>
                <a:lnTo>
                  <a:pt x="1545" y="427194"/>
                </a:lnTo>
                <a:lnTo>
                  <a:pt x="0" y="465302"/>
                </a:lnTo>
                <a:lnTo>
                  <a:pt x="1545" y="503408"/>
                </a:lnTo>
                <a:lnTo>
                  <a:pt x="13545" y="576984"/>
                </a:lnTo>
                <a:lnTo>
                  <a:pt x="36622" y="646242"/>
                </a:lnTo>
                <a:lnTo>
                  <a:pt x="69808" y="710216"/>
                </a:lnTo>
                <a:lnTo>
                  <a:pt x="112139" y="767942"/>
                </a:lnTo>
                <a:lnTo>
                  <a:pt x="162650" y="818452"/>
                </a:lnTo>
                <a:lnTo>
                  <a:pt x="220375" y="860784"/>
                </a:lnTo>
                <a:lnTo>
                  <a:pt x="284349" y="893970"/>
                </a:lnTo>
                <a:lnTo>
                  <a:pt x="353607" y="917046"/>
                </a:lnTo>
                <a:lnTo>
                  <a:pt x="427184" y="929047"/>
                </a:lnTo>
                <a:lnTo>
                  <a:pt x="465289" y="930592"/>
                </a:lnTo>
                <a:lnTo>
                  <a:pt x="503395" y="929047"/>
                </a:lnTo>
                <a:lnTo>
                  <a:pt x="576972" y="917046"/>
                </a:lnTo>
                <a:lnTo>
                  <a:pt x="646229" y="893970"/>
                </a:lnTo>
                <a:lnTo>
                  <a:pt x="708670" y="861656"/>
                </a:lnTo>
                <a:lnTo>
                  <a:pt x="465289" y="861656"/>
                </a:lnTo>
                <a:lnTo>
                  <a:pt x="432829" y="860340"/>
                </a:lnTo>
                <a:lnTo>
                  <a:pt x="370153" y="850117"/>
                </a:lnTo>
                <a:lnTo>
                  <a:pt x="311154" y="830460"/>
                </a:lnTo>
                <a:lnTo>
                  <a:pt x="256657" y="802191"/>
                </a:lnTo>
                <a:lnTo>
                  <a:pt x="207482" y="766131"/>
                </a:lnTo>
                <a:lnTo>
                  <a:pt x="164453" y="723104"/>
                </a:lnTo>
                <a:lnTo>
                  <a:pt x="128392" y="673931"/>
                </a:lnTo>
                <a:lnTo>
                  <a:pt x="100121" y="619435"/>
                </a:lnTo>
                <a:lnTo>
                  <a:pt x="80462" y="560438"/>
                </a:lnTo>
                <a:lnTo>
                  <a:pt x="70239" y="497762"/>
                </a:lnTo>
                <a:lnTo>
                  <a:pt x="68922" y="465302"/>
                </a:lnTo>
                <a:lnTo>
                  <a:pt x="70239" y="432842"/>
                </a:lnTo>
                <a:lnTo>
                  <a:pt x="80462" y="370165"/>
                </a:lnTo>
                <a:lnTo>
                  <a:pt x="100121" y="311167"/>
                </a:lnTo>
                <a:lnTo>
                  <a:pt x="128392" y="256670"/>
                </a:lnTo>
                <a:lnTo>
                  <a:pt x="164453" y="207495"/>
                </a:lnTo>
                <a:lnTo>
                  <a:pt x="207482" y="164466"/>
                </a:lnTo>
                <a:lnTo>
                  <a:pt x="256657" y="128404"/>
                </a:lnTo>
                <a:lnTo>
                  <a:pt x="311154" y="100133"/>
                </a:lnTo>
                <a:lnTo>
                  <a:pt x="370153" y="80475"/>
                </a:lnTo>
                <a:lnTo>
                  <a:pt x="432829" y="70252"/>
                </a:lnTo>
                <a:lnTo>
                  <a:pt x="465289" y="68935"/>
                </a:lnTo>
                <a:lnTo>
                  <a:pt x="708669" y="68935"/>
                </a:lnTo>
                <a:lnTo>
                  <a:pt x="678937" y="52012"/>
                </a:lnTo>
                <a:lnTo>
                  <a:pt x="612201" y="23759"/>
                </a:lnTo>
                <a:lnTo>
                  <a:pt x="540663" y="6100"/>
                </a:lnTo>
                <a:lnTo>
                  <a:pt x="503395" y="1545"/>
                </a:lnTo>
                <a:lnTo>
                  <a:pt x="465289" y="0"/>
                </a:lnTo>
                <a:close/>
              </a:path>
              <a:path w="930579" h="930592">
                <a:moveTo>
                  <a:pt x="708669" y="68935"/>
                </a:moveTo>
                <a:lnTo>
                  <a:pt x="465289" y="68935"/>
                </a:lnTo>
                <a:lnTo>
                  <a:pt x="497750" y="70252"/>
                </a:lnTo>
                <a:lnTo>
                  <a:pt x="529496" y="74132"/>
                </a:lnTo>
                <a:lnTo>
                  <a:pt x="590436" y="89176"/>
                </a:lnTo>
                <a:lnTo>
                  <a:pt x="647287" y="113244"/>
                </a:lnTo>
                <a:lnTo>
                  <a:pt x="699226" y="145513"/>
                </a:lnTo>
                <a:lnTo>
                  <a:pt x="745431" y="185161"/>
                </a:lnTo>
                <a:lnTo>
                  <a:pt x="785079" y="231365"/>
                </a:lnTo>
                <a:lnTo>
                  <a:pt x="817348" y="283304"/>
                </a:lnTo>
                <a:lnTo>
                  <a:pt x="841415" y="340155"/>
                </a:lnTo>
                <a:lnTo>
                  <a:pt x="856459" y="401095"/>
                </a:lnTo>
                <a:lnTo>
                  <a:pt x="861656" y="465302"/>
                </a:lnTo>
                <a:lnTo>
                  <a:pt x="860340" y="497762"/>
                </a:lnTo>
                <a:lnTo>
                  <a:pt x="850117" y="560438"/>
                </a:lnTo>
                <a:lnTo>
                  <a:pt x="830458" y="619435"/>
                </a:lnTo>
                <a:lnTo>
                  <a:pt x="802187" y="673931"/>
                </a:lnTo>
                <a:lnTo>
                  <a:pt x="766126" y="723104"/>
                </a:lnTo>
                <a:lnTo>
                  <a:pt x="723097" y="766131"/>
                </a:lnTo>
                <a:lnTo>
                  <a:pt x="673922" y="802191"/>
                </a:lnTo>
                <a:lnTo>
                  <a:pt x="619424" y="830460"/>
                </a:lnTo>
                <a:lnTo>
                  <a:pt x="560426" y="850117"/>
                </a:lnTo>
                <a:lnTo>
                  <a:pt x="497750" y="860340"/>
                </a:lnTo>
                <a:lnTo>
                  <a:pt x="465289" y="861656"/>
                </a:lnTo>
                <a:lnTo>
                  <a:pt x="708670" y="861656"/>
                </a:lnTo>
                <a:lnTo>
                  <a:pt x="767929" y="818452"/>
                </a:lnTo>
                <a:lnTo>
                  <a:pt x="818440" y="767942"/>
                </a:lnTo>
                <a:lnTo>
                  <a:pt x="860771" y="710216"/>
                </a:lnTo>
                <a:lnTo>
                  <a:pt x="893957" y="646242"/>
                </a:lnTo>
                <a:lnTo>
                  <a:pt x="917033" y="576984"/>
                </a:lnTo>
                <a:lnTo>
                  <a:pt x="929034" y="503408"/>
                </a:lnTo>
                <a:lnTo>
                  <a:pt x="930579" y="465302"/>
                </a:lnTo>
                <a:lnTo>
                  <a:pt x="929034" y="427194"/>
                </a:lnTo>
                <a:lnTo>
                  <a:pt x="917033" y="353615"/>
                </a:lnTo>
                <a:lnTo>
                  <a:pt x="893957" y="284355"/>
                </a:lnTo>
                <a:lnTo>
                  <a:pt x="860771" y="220379"/>
                </a:lnTo>
                <a:lnTo>
                  <a:pt x="818440" y="162652"/>
                </a:lnTo>
                <a:lnTo>
                  <a:pt x="767929" y="112140"/>
                </a:lnTo>
                <a:lnTo>
                  <a:pt x="710204" y="69808"/>
                </a:lnTo>
                <a:lnTo>
                  <a:pt x="708669" y="68935"/>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0" name="object 104">
            <a:extLst>
              <a:ext uri="{FF2B5EF4-FFF2-40B4-BE49-F238E27FC236}">
                <a16:creationId xmlns:a16="http://schemas.microsoft.com/office/drawing/2014/main" id="{518F1BC1-A2A2-4318-A775-721764C42BBC}"/>
              </a:ext>
            </a:extLst>
          </p:cNvPr>
          <p:cNvSpPr>
            <a:spLocks/>
          </p:cNvSpPr>
          <p:nvPr/>
        </p:nvSpPr>
        <p:spPr bwMode="auto">
          <a:xfrm>
            <a:off x="7047481" y="3719640"/>
            <a:ext cx="121941" cy="146695"/>
          </a:xfrm>
          <a:custGeom>
            <a:avLst/>
            <a:gdLst>
              <a:gd name="T0" fmla="*/ 89832 w 210244"/>
              <a:gd name="T1" fmla="*/ 76061 h 252966"/>
              <a:gd name="T2" fmla="*/ 88795 w 210244"/>
              <a:gd name="T3" fmla="*/ 76061 h 252966"/>
              <a:gd name="T4" fmla="*/ 74107 w 210244"/>
              <a:gd name="T5" fmla="*/ 77255 h 252966"/>
              <a:gd name="T6" fmla="*/ 35380 w 210244"/>
              <a:gd name="T7" fmla="*/ 93662 h 252966"/>
              <a:gd name="T8" fmla="*/ 8639 w 210244"/>
              <a:gd name="T9" fmla="*/ 125319 h 252966"/>
              <a:gd name="T10" fmla="*/ 0 w 210244"/>
              <a:gd name="T11" fmla="*/ 152367 h 252966"/>
              <a:gd name="T12" fmla="*/ 754 w 210244"/>
              <a:gd name="T13" fmla="*/ 169120 h 252966"/>
              <a:gd name="T14" fmla="*/ 14394 w 210244"/>
              <a:gd name="T15" fmla="*/ 212417 h 252966"/>
              <a:gd name="T16" fmla="*/ 41773 w 210244"/>
              <a:gd name="T17" fmla="*/ 241729 h 252966"/>
              <a:gd name="T18" fmla="*/ 78738 w 210244"/>
              <a:gd name="T19" fmla="*/ 255038 h 252966"/>
              <a:gd name="T20" fmla="*/ 95195 w 210244"/>
              <a:gd name="T21" fmla="*/ 254125 h 252966"/>
              <a:gd name="T22" fmla="*/ 137094 w 210244"/>
              <a:gd name="T23" fmla="*/ 239784 h 252966"/>
              <a:gd name="T24" fmla="*/ 165644 w 210244"/>
              <a:gd name="T25" fmla="*/ 211422 h 252966"/>
              <a:gd name="T26" fmla="*/ 178095 w 210244"/>
              <a:gd name="T27" fmla="*/ 173389 h 252966"/>
              <a:gd name="T28" fmla="*/ 181872 w 210244"/>
              <a:gd name="T29" fmla="*/ 169837 h 252966"/>
              <a:gd name="T30" fmla="*/ 198767 w 210244"/>
              <a:gd name="T31" fmla="*/ 169837 h 252966"/>
              <a:gd name="T32" fmla="*/ 200751 w 210244"/>
              <a:gd name="T33" fmla="*/ 169120 h 252966"/>
              <a:gd name="T34" fmla="*/ 205222 w 210244"/>
              <a:gd name="T35" fmla="*/ 165023 h 252966"/>
              <a:gd name="T36" fmla="*/ 211735 w 210244"/>
              <a:gd name="T37" fmla="*/ 154546 h 252966"/>
              <a:gd name="T38" fmla="*/ 212036 w 210244"/>
              <a:gd name="T39" fmla="*/ 142572 h 252966"/>
              <a:gd name="T40" fmla="*/ 206528 w 210244"/>
              <a:gd name="T41" fmla="*/ 132283 h 252966"/>
              <a:gd name="T42" fmla="*/ 154898 w 210244"/>
              <a:gd name="T43" fmla="*/ 76368 h 252966"/>
              <a:gd name="T44" fmla="*/ 91818 w 210244"/>
              <a:gd name="T45" fmla="*/ 76368 h 252966"/>
              <a:gd name="T46" fmla="*/ 90793 w 210244"/>
              <a:gd name="T47" fmla="*/ 76329 h 252966"/>
              <a:gd name="T48" fmla="*/ 89832 w 210244"/>
              <a:gd name="T49" fmla="*/ 76061 h 252966"/>
              <a:gd name="T50" fmla="*/ 198767 w 210244"/>
              <a:gd name="T51" fmla="*/ 169837 h 252966"/>
              <a:gd name="T52" fmla="*/ 181872 w 210244"/>
              <a:gd name="T53" fmla="*/ 169837 h 252966"/>
              <a:gd name="T54" fmla="*/ 185600 w 210244"/>
              <a:gd name="T55" fmla="*/ 171156 h 252966"/>
              <a:gd name="T56" fmla="*/ 195116 w 210244"/>
              <a:gd name="T57" fmla="*/ 171156 h 252966"/>
              <a:gd name="T58" fmla="*/ 198767 w 210244"/>
              <a:gd name="T59" fmla="*/ 169837 h 252966"/>
              <a:gd name="T60" fmla="*/ 68216 w 210244"/>
              <a:gd name="T61" fmla="*/ 0 h 252966"/>
              <a:gd name="T62" fmla="*/ 56336 w 210244"/>
              <a:gd name="T63" fmla="*/ 11341 h 252966"/>
              <a:gd name="T64" fmla="*/ 51505 w 210244"/>
              <a:gd name="T65" fmla="*/ 22238 h 252966"/>
              <a:gd name="T66" fmla="*/ 52602 w 210244"/>
              <a:gd name="T67" fmla="*/ 32031 h 252966"/>
              <a:gd name="T68" fmla="*/ 91818 w 210244"/>
              <a:gd name="T69" fmla="*/ 76368 h 252966"/>
              <a:gd name="T70" fmla="*/ 154898 w 210244"/>
              <a:gd name="T71" fmla="*/ 76368 h 252966"/>
              <a:gd name="T72" fmla="*/ 90665 w 210244"/>
              <a:gd name="T73" fmla="*/ 6804 h 252966"/>
              <a:gd name="T74" fmla="*/ 80189 w 210244"/>
              <a:gd name="T75" fmla="*/ 295 h 252966"/>
              <a:gd name="T76" fmla="*/ 68216 w 210244"/>
              <a:gd name="T77" fmla="*/ 0 h 2529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0244" h="252966">
                <a:moveTo>
                  <a:pt x="89073" y="75443"/>
                </a:moveTo>
                <a:lnTo>
                  <a:pt x="88045" y="75443"/>
                </a:lnTo>
                <a:lnTo>
                  <a:pt x="73481" y="76628"/>
                </a:lnTo>
                <a:lnTo>
                  <a:pt x="35081" y="92901"/>
                </a:lnTo>
                <a:lnTo>
                  <a:pt x="8566" y="124301"/>
                </a:lnTo>
                <a:lnTo>
                  <a:pt x="0" y="151129"/>
                </a:lnTo>
                <a:lnTo>
                  <a:pt x="748" y="167746"/>
                </a:lnTo>
                <a:lnTo>
                  <a:pt x="14272" y="210691"/>
                </a:lnTo>
                <a:lnTo>
                  <a:pt x="41420" y="239765"/>
                </a:lnTo>
                <a:lnTo>
                  <a:pt x="78073" y="252966"/>
                </a:lnTo>
                <a:lnTo>
                  <a:pt x="94391" y="252060"/>
                </a:lnTo>
                <a:lnTo>
                  <a:pt x="135936" y="237836"/>
                </a:lnTo>
                <a:lnTo>
                  <a:pt x="164245" y="209704"/>
                </a:lnTo>
                <a:lnTo>
                  <a:pt x="176590" y="171980"/>
                </a:lnTo>
                <a:lnTo>
                  <a:pt x="180335" y="168457"/>
                </a:lnTo>
                <a:lnTo>
                  <a:pt x="197087" y="168457"/>
                </a:lnTo>
                <a:lnTo>
                  <a:pt x="199055" y="167746"/>
                </a:lnTo>
                <a:lnTo>
                  <a:pt x="203488" y="163682"/>
                </a:lnTo>
                <a:lnTo>
                  <a:pt x="209945" y="153290"/>
                </a:lnTo>
                <a:lnTo>
                  <a:pt x="210244" y="141414"/>
                </a:lnTo>
                <a:lnTo>
                  <a:pt x="204783" y="131208"/>
                </a:lnTo>
                <a:lnTo>
                  <a:pt x="153589" y="75747"/>
                </a:lnTo>
                <a:lnTo>
                  <a:pt x="91042" y="75747"/>
                </a:lnTo>
                <a:lnTo>
                  <a:pt x="90026" y="75709"/>
                </a:lnTo>
                <a:lnTo>
                  <a:pt x="89073" y="75443"/>
                </a:lnTo>
                <a:close/>
              </a:path>
              <a:path w="210244" h="252966">
                <a:moveTo>
                  <a:pt x="197087" y="168457"/>
                </a:moveTo>
                <a:lnTo>
                  <a:pt x="180335" y="168457"/>
                </a:lnTo>
                <a:lnTo>
                  <a:pt x="184031" y="169765"/>
                </a:lnTo>
                <a:lnTo>
                  <a:pt x="193467" y="169765"/>
                </a:lnTo>
                <a:lnTo>
                  <a:pt x="197087" y="168457"/>
                </a:lnTo>
                <a:close/>
              </a:path>
              <a:path w="210244" h="252966">
                <a:moveTo>
                  <a:pt x="67639" y="0"/>
                </a:moveTo>
                <a:lnTo>
                  <a:pt x="55859" y="11249"/>
                </a:lnTo>
                <a:lnTo>
                  <a:pt x="51070" y="22057"/>
                </a:lnTo>
                <a:lnTo>
                  <a:pt x="52157" y="31771"/>
                </a:lnTo>
                <a:lnTo>
                  <a:pt x="91042" y="75747"/>
                </a:lnTo>
                <a:lnTo>
                  <a:pt x="153589" y="75747"/>
                </a:lnTo>
                <a:lnTo>
                  <a:pt x="89899" y="6748"/>
                </a:lnTo>
                <a:lnTo>
                  <a:pt x="79511" y="293"/>
                </a:lnTo>
                <a:lnTo>
                  <a:pt x="67639"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1" name="object 105">
            <a:extLst>
              <a:ext uri="{FF2B5EF4-FFF2-40B4-BE49-F238E27FC236}">
                <a16:creationId xmlns:a16="http://schemas.microsoft.com/office/drawing/2014/main" id="{15F8DFFE-2DDF-492F-B0B4-A97A803BD822}"/>
              </a:ext>
            </a:extLst>
          </p:cNvPr>
          <p:cNvSpPr>
            <a:spLocks/>
          </p:cNvSpPr>
          <p:nvPr/>
        </p:nvSpPr>
        <p:spPr bwMode="auto">
          <a:xfrm>
            <a:off x="7227183" y="3720557"/>
            <a:ext cx="122857" cy="145779"/>
          </a:xfrm>
          <a:custGeom>
            <a:avLst/>
            <a:gdLst>
              <a:gd name="T0" fmla="*/ 211469 w 213480"/>
              <a:gd name="T1" fmla="*/ 165121 h 251797"/>
              <a:gd name="T2" fmla="*/ 35713 w 213480"/>
              <a:gd name="T3" fmla="*/ 165121 h 251797"/>
              <a:gd name="T4" fmla="*/ 36991 w 213480"/>
              <a:gd name="T5" fmla="*/ 179720 h 251797"/>
              <a:gd name="T6" fmla="*/ 53376 w 213480"/>
              <a:gd name="T7" fmla="*/ 218156 h 251797"/>
              <a:gd name="T8" fmla="*/ 84685 w 213480"/>
              <a:gd name="T9" fmla="*/ 244593 h 251797"/>
              <a:gd name="T10" fmla="*/ 111373 w 213480"/>
              <a:gd name="T11" fmla="*/ 253031 h 251797"/>
              <a:gd name="T12" fmla="*/ 128036 w 213480"/>
              <a:gd name="T13" fmla="*/ 252239 h 251797"/>
              <a:gd name="T14" fmla="*/ 170257 w 213480"/>
              <a:gd name="T15" fmla="*/ 238524 h 251797"/>
              <a:gd name="T16" fmla="*/ 199014 w 213480"/>
              <a:gd name="T17" fmla="*/ 211053 h 251797"/>
              <a:gd name="T18" fmla="*/ 211973 w 213480"/>
              <a:gd name="T19" fmla="*/ 174011 h 251797"/>
              <a:gd name="T20" fmla="*/ 211469 w 213480"/>
              <a:gd name="T21" fmla="*/ 165121 h 251797"/>
              <a:gd name="T22" fmla="*/ 135082 w 213480"/>
              <a:gd name="T23" fmla="*/ 0 h 251797"/>
              <a:gd name="T24" fmla="*/ 125592 w 213480"/>
              <a:gd name="T25" fmla="*/ 1763 h 251797"/>
              <a:gd name="T26" fmla="*/ 5562 w 213480"/>
              <a:gd name="T27" fmla="*/ 131378 h 251797"/>
              <a:gd name="T28" fmla="*/ 0 w 213480"/>
              <a:gd name="T29" fmla="*/ 142306 h 251797"/>
              <a:gd name="T30" fmla="*/ 653 w 213480"/>
              <a:gd name="T31" fmla="*/ 154228 h 251797"/>
              <a:gd name="T32" fmla="*/ 12795 w 213480"/>
              <a:gd name="T33" fmla="*/ 166971 h 251797"/>
              <a:gd name="T34" fmla="*/ 21366 w 213480"/>
              <a:gd name="T35" fmla="*/ 170102 h 251797"/>
              <a:gd name="T36" fmla="*/ 27138 w 213480"/>
              <a:gd name="T37" fmla="*/ 170124 h 251797"/>
              <a:gd name="T38" fmla="*/ 31703 w 213480"/>
              <a:gd name="T39" fmla="*/ 168145 h 251797"/>
              <a:gd name="T40" fmla="*/ 35713 w 213480"/>
              <a:gd name="T41" fmla="*/ 165121 h 251797"/>
              <a:gd name="T42" fmla="*/ 211469 w 213480"/>
              <a:gd name="T43" fmla="*/ 165121 h 251797"/>
              <a:gd name="T44" fmla="*/ 196752 w 213480"/>
              <a:gd name="T45" fmla="*/ 115955 h 251797"/>
              <a:gd name="T46" fmla="*/ 168543 w 213480"/>
              <a:gd name="T47" fmla="*/ 87488 h 251797"/>
              <a:gd name="T48" fmla="*/ 132726 w 213480"/>
              <a:gd name="T49" fmla="*/ 75556 h 251797"/>
              <a:gd name="T50" fmla="*/ 118589 w 213480"/>
              <a:gd name="T51" fmla="*/ 75556 h 251797"/>
              <a:gd name="T52" fmla="*/ 153178 w 213480"/>
              <a:gd name="T53" fmla="*/ 37627 h 251797"/>
              <a:gd name="T54" fmla="*/ 158742 w 213480"/>
              <a:gd name="T55" fmla="*/ 26697 h 251797"/>
              <a:gd name="T56" fmla="*/ 158088 w 213480"/>
              <a:gd name="T57" fmla="*/ 14775 h 251797"/>
              <a:gd name="T58" fmla="*/ 146092 w 213480"/>
              <a:gd name="T59" fmla="*/ 3953 h 251797"/>
              <a:gd name="T60" fmla="*/ 135082 w 213480"/>
              <a:gd name="T61" fmla="*/ 0 h 251797"/>
              <a:gd name="T62" fmla="*/ 124062 w 213480"/>
              <a:gd name="T63" fmla="*/ 74995 h 251797"/>
              <a:gd name="T64" fmla="*/ 122182 w 213480"/>
              <a:gd name="T65" fmla="*/ 74995 h 251797"/>
              <a:gd name="T66" fmla="*/ 120430 w 213480"/>
              <a:gd name="T67" fmla="*/ 75441 h 251797"/>
              <a:gd name="T68" fmla="*/ 118589 w 213480"/>
              <a:gd name="T69" fmla="*/ 75556 h 251797"/>
              <a:gd name="T70" fmla="*/ 132726 w 213480"/>
              <a:gd name="T71" fmla="*/ 75556 h 251797"/>
              <a:gd name="T72" fmla="*/ 130756 w 213480"/>
              <a:gd name="T73" fmla="*/ 75248 h 251797"/>
              <a:gd name="T74" fmla="*/ 124062 w 213480"/>
              <a:gd name="T75" fmla="*/ 74995 h 25179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13480" h="251797">
                <a:moveTo>
                  <a:pt x="212973" y="164316"/>
                </a:moveTo>
                <a:lnTo>
                  <a:pt x="35967" y="164316"/>
                </a:lnTo>
                <a:lnTo>
                  <a:pt x="37254" y="178843"/>
                </a:lnTo>
                <a:lnTo>
                  <a:pt x="53755" y="217093"/>
                </a:lnTo>
                <a:lnTo>
                  <a:pt x="85288" y="243401"/>
                </a:lnTo>
                <a:lnTo>
                  <a:pt x="112165" y="251797"/>
                </a:lnTo>
                <a:lnTo>
                  <a:pt x="128946" y="251009"/>
                </a:lnTo>
                <a:lnTo>
                  <a:pt x="171467" y="237361"/>
                </a:lnTo>
                <a:lnTo>
                  <a:pt x="200429" y="210024"/>
                </a:lnTo>
                <a:lnTo>
                  <a:pt x="213480" y="173162"/>
                </a:lnTo>
                <a:lnTo>
                  <a:pt x="212973" y="164316"/>
                </a:lnTo>
                <a:close/>
              </a:path>
              <a:path w="213480" h="251797">
                <a:moveTo>
                  <a:pt x="136042" y="0"/>
                </a:moveTo>
                <a:lnTo>
                  <a:pt x="126485" y="1755"/>
                </a:lnTo>
                <a:lnTo>
                  <a:pt x="5602" y="130737"/>
                </a:lnTo>
                <a:lnTo>
                  <a:pt x="0" y="141613"/>
                </a:lnTo>
                <a:lnTo>
                  <a:pt x="657" y="153477"/>
                </a:lnTo>
                <a:lnTo>
                  <a:pt x="12886" y="166158"/>
                </a:lnTo>
                <a:lnTo>
                  <a:pt x="21518" y="169273"/>
                </a:lnTo>
                <a:lnTo>
                  <a:pt x="27331" y="169295"/>
                </a:lnTo>
                <a:lnTo>
                  <a:pt x="31929" y="167326"/>
                </a:lnTo>
                <a:lnTo>
                  <a:pt x="35967" y="164316"/>
                </a:lnTo>
                <a:lnTo>
                  <a:pt x="212973" y="164316"/>
                </a:lnTo>
                <a:lnTo>
                  <a:pt x="198151" y="115390"/>
                </a:lnTo>
                <a:lnTo>
                  <a:pt x="169741" y="87061"/>
                </a:lnTo>
                <a:lnTo>
                  <a:pt x="133670" y="75188"/>
                </a:lnTo>
                <a:lnTo>
                  <a:pt x="119432" y="75188"/>
                </a:lnTo>
                <a:lnTo>
                  <a:pt x="154268" y="37443"/>
                </a:lnTo>
                <a:lnTo>
                  <a:pt x="159870" y="26567"/>
                </a:lnTo>
                <a:lnTo>
                  <a:pt x="159212" y="14703"/>
                </a:lnTo>
                <a:lnTo>
                  <a:pt x="147131" y="3933"/>
                </a:lnTo>
                <a:lnTo>
                  <a:pt x="136042" y="0"/>
                </a:lnTo>
                <a:close/>
              </a:path>
              <a:path w="213480" h="251797">
                <a:moveTo>
                  <a:pt x="124944" y="74629"/>
                </a:moveTo>
                <a:lnTo>
                  <a:pt x="123051" y="74629"/>
                </a:lnTo>
                <a:lnTo>
                  <a:pt x="121286" y="75073"/>
                </a:lnTo>
                <a:lnTo>
                  <a:pt x="119432" y="75188"/>
                </a:lnTo>
                <a:lnTo>
                  <a:pt x="133670" y="75188"/>
                </a:lnTo>
                <a:lnTo>
                  <a:pt x="131686" y="74881"/>
                </a:lnTo>
                <a:lnTo>
                  <a:pt x="124944" y="7462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2" name="object 106">
            <a:extLst>
              <a:ext uri="{FF2B5EF4-FFF2-40B4-BE49-F238E27FC236}">
                <a16:creationId xmlns:a16="http://schemas.microsoft.com/office/drawing/2014/main" id="{2E7E8E93-5E84-491F-B97D-4B424A1DCACC}"/>
              </a:ext>
            </a:extLst>
          </p:cNvPr>
          <p:cNvSpPr>
            <a:spLocks/>
          </p:cNvSpPr>
          <p:nvPr/>
        </p:nvSpPr>
        <p:spPr bwMode="auto">
          <a:xfrm>
            <a:off x="7047482" y="3887423"/>
            <a:ext cx="295224" cy="171450"/>
          </a:xfrm>
          <a:custGeom>
            <a:avLst/>
            <a:gdLst>
              <a:gd name="T0" fmla="*/ 244752 w 510786"/>
              <a:gd name="T1" fmla="*/ 222494 h 297573"/>
              <a:gd name="T2" fmla="*/ 292098 w 510786"/>
              <a:gd name="T3" fmla="*/ 225696 h 297573"/>
              <a:gd name="T4" fmla="*/ 371362 w 510786"/>
              <a:gd name="T5" fmla="*/ 250735 h 297573"/>
              <a:gd name="T6" fmla="*/ 420212 w 510786"/>
              <a:gd name="T7" fmla="*/ 296155 h 297573"/>
              <a:gd name="T8" fmla="*/ 458839 w 510786"/>
              <a:gd name="T9" fmla="*/ 259463 h 297573"/>
              <a:gd name="T10" fmla="*/ 479251 w 510786"/>
              <a:gd name="T11" fmla="*/ 233363 h 297573"/>
              <a:gd name="T12" fmla="*/ 416824 w 510786"/>
              <a:gd name="T13" fmla="*/ 228614 h 297573"/>
              <a:gd name="T14" fmla="*/ 408076 w 510786"/>
              <a:gd name="T15" fmla="*/ 222494 h 297573"/>
              <a:gd name="T16" fmla="*/ 30732 w 510786"/>
              <a:gd name="T17" fmla="*/ 30983 h 297573"/>
              <a:gd name="T18" fmla="*/ 1048 w 510786"/>
              <a:gd name="T19" fmla="*/ 114897 h 297573"/>
              <a:gd name="T20" fmla="*/ 557 w 510786"/>
              <a:gd name="T21" fmla="*/ 148045 h 297573"/>
              <a:gd name="T22" fmla="*/ 36871 w 510786"/>
              <a:gd name="T23" fmla="*/ 240252 h 297573"/>
              <a:gd name="T24" fmla="*/ 91148 w 510786"/>
              <a:gd name="T25" fmla="*/ 295738 h 297573"/>
              <a:gd name="T26" fmla="*/ 108240 w 510786"/>
              <a:gd name="T27" fmla="*/ 274704 h 297573"/>
              <a:gd name="T28" fmla="*/ 182874 w 510786"/>
              <a:gd name="T29" fmla="*/ 232152 h 297573"/>
              <a:gd name="T30" fmla="*/ 92610 w 510786"/>
              <a:gd name="T31" fmla="*/ 230221 h 297573"/>
              <a:gd name="T32" fmla="*/ 48843 w 510786"/>
              <a:gd name="T33" fmla="*/ 154766 h 297573"/>
              <a:gd name="T34" fmla="*/ 46646 w 510786"/>
              <a:gd name="T35" fmla="*/ 120522 h 297573"/>
              <a:gd name="T36" fmla="*/ 65483 w 510786"/>
              <a:gd name="T37" fmla="*/ 59834 h 297573"/>
              <a:gd name="T38" fmla="*/ 437440 w 510786"/>
              <a:gd name="T39" fmla="*/ 58214 h 297573"/>
              <a:gd name="T40" fmla="*/ 491146 w 510786"/>
              <a:gd name="T41" fmla="*/ 49815 h 297573"/>
              <a:gd name="T42" fmla="*/ 249403 w 510786"/>
              <a:gd name="T43" fmla="*/ 49400 h 297573"/>
              <a:gd name="T44" fmla="*/ 152718 w 510786"/>
              <a:gd name="T45" fmla="*/ 37627 h 297573"/>
              <a:gd name="T46" fmla="*/ 76049 w 510786"/>
              <a:gd name="T47" fmla="*/ 12406 h 297573"/>
              <a:gd name="T48" fmla="*/ 54440 w 510786"/>
              <a:gd name="T49" fmla="*/ 0 h 297573"/>
              <a:gd name="T50" fmla="*/ 437440 w 510786"/>
              <a:gd name="T51" fmla="*/ 58214 h 297573"/>
              <a:gd name="T52" fmla="*/ 446229 w 510786"/>
              <a:gd name="T53" fmla="*/ 69837 h 297573"/>
              <a:gd name="T54" fmla="*/ 465512 w 510786"/>
              <a:gd name="T55" fmla="*/ 133955 h 297573"/>
              <a:gd name="T56" fmla="*/ 450326 w 510786"/>
              <a:gd name="T57" fmla="*/ 194906 h 297573"/>
              <a:gd name="T58" fmla="*/ 479251 w 510786"/>
              <a:gd name="T59" fmla="*/ 233363 h 297573"/>
              <a:gd name="T60" fmla="*/ 511564 w 510786"/>
              <a:gd name="T61" fmla="*/ 131100 h 297573"/>
              <a:gd name="T62" fmla="*/ 508131 w 510786"/>
              <a:gd name="T63" fmla="*/ 99540 h 297573"/>
              <a:gd name="T64" fmla="*/ 500428 w 510786"/>
              <a:gd name="T65" fmla="*/ 71779 h 297573"/>
              <a:gd name="T66" fmla="*/ 495017 w 510786"/>
              <a:gd name="T67" fmla="*/ 58214 h 297573"/>
              <a:gd name="T68" fmla="*/ 254172 w 510786"/>
              <a:gd name="T69" fmla="*/ 180630 h 297573"/>
              <a:gd name="T70" fmla="*/ 186500 w 510786"/>
              <a:gd name="T71" fmla="*/ 188010 h 297573"/>
              <a:gd name="T72" fmla="*/ 106883 w 510786"/>
              <a:gd name="T73" fmla="*/ 220230 h 297573"/>
              <a:gd name="T74" fmla="*/ 190697 w 510786"/>
              <a:gd name="T75" fmla="*/ 230221 h 297573"/>
              <a:gd name="T76" fmla="*/ 221861 w 510786"/>
              <a:gd name="T77" fmla="*/ 224293 h 297573"/>
              <a:gd name="T78" fmla="*/ 408076 w 510786"/>
              <a:gd name="T79" fmla="*/ 222494 h 297573"/>
              <a:gd name="T80" fmla="*/ 361013 w 510786"/>
              <a:gd name="T81" fmla="*/ 198616 h 297573"/>
              <a:gd name="T82" fmla="*/ 269841 w 510786"/>
              <a:gd name="T83" fmla="*/ 180937 h 297573"/>
              <a:gd name="T84" fmla="*/ 433376 w 510786"/>
              <a:gd name="T85" fmla="*/ 59834 h 297573"/>
              <a:gd name="T86" fmla="*/ 98698 w 510786"/>
              <a:gd name="T87" fmla="*/ 69335 h 297573"/>
              <a:gd name="T88" fmla="*/ 186825 w 510786"/>
              <a:gd name="T89" fmla="*/ 87394 h 297573"/>
              <a:gd name="T90" fmla="*/ 257150 w 510786"/>
              <a:gd name="T91" fmla="*/ 91812 h 297573"/>
              <a:gd name="T92" fmla="*/ 324222 w 510786"/>
              <a:gd name="T93" fmla="*/ 87372 h 297573"/>
              <a:gd name="T94" fmla="*/ 412221 w 510786"/>
              <a:gd name="T95" fmla="*/ 67542 h 297573"/>
              <a:gd name="T96" fmla="*/ 457136 w 510786"/>
              <a:gd name="T97" fmla="*/ 139 h 297573"/>
              <a:gd name="T98" fmla="*/ 367147 w 510786"/>
              <a:gd name="T99" fmla="*/ 36725 h 297573"/>
              <a:gd name="T100" fmla="*/ 273107 w 510786"/>
              <a:gd name="T101" fmla="*/ 49815 h 297573"/>
              <a:gd name="T102" fmla="*/ 470956 w 510786"/>
              <a:gd name="T103" fmla="*/ 16547 h 297573"/>
              <a:gd name="T104" fmla="*/ 457136 w 510786"/>
              <a:gd name="T105" fmla="*/ 139 h 29757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10786" h="297573">
                <a:moveTo>
                  <a:pt x="407455" y="223559"/>
                </a:moveTo>
                <a:lnTo>
                  <a:pt x="244380" y="223559"/>
                </a:lnTo>
                <a:lnTo>
                  <a:pt x="269214" y="224418"/>
                </a:lnTo>
                <a:lnTo>
                  <a:pt x="291654" y="226777"/>
                </a:lnTo>
                <a:lnTo>
                  <a:pt x="329681" y="234948"/>
                </a:lnTo>
                <a:lnTo>
                  <a:pt x="370797" y="251936"/>
                </a:lnTo>
                <a:lnTo>
                  <a:pt x="402244" y="275494"/>
                </a:lnTo>
                <a:lnTo>
                  <a:pt x="419572" y="297573"/>
                </a:lnTo>
                <a:lnTo>
                  <a:pt x="438825" y="280022"/>
                </a:lnTo>
                <a:lnTo>
                  <a:pt x="458141" y="260706"/>
                </a:lnTo>
                <a:lnTo>
                  <a:pt x="473971" y="241403"/>
                </a:lnTo>
                <a:lnTo>
                  <a:pt x="478522" y="234480"/>
                </a:lnTo>
                <a:lnTo>
                  <a:pt x="422277" y="234480"/>
                </a:lnTo>
                <a:lnTo>
                  <a:pt x="416190" y="229709"/>
                </a:lnTo>
                <a:lnTo>
                  <a:pt x="409213" y="224706"/>
                </a:lnTo>
                <a:lnTo>
                  <a:pt x="407455" y="223559"/>
                </a:lnTo>
                <a:close/>
              </a:path>
              <a:path w="510786" h="297573">
                <a:moveTo>
                  <a:pt x="54358" y="0"/>
                </a:moveTo>
                <a:lnTo>
                  <a:pt x="30686" y="31131"/>
                </a:lnTo>
                <a:lnTo>
                  <a:pt x="11120" y="72123"/>
                </a:lnTo>
                <a:lnTo>
                  <a:pt x="1046" y="115447"/>
                </a:lnTo>
                <a:lnTo>
                  <a:pt x="0" y="131728"/>
                </a:lnTo>
                <a:lnTo>
                  <a:pt x="557" y="148754"/>
                </a:lnTo>
                <a:lnTo>
                  <a:pt x="14541" y="203257"/>
                </a:lnTo>
                <a:lnTo>
                  <a:pt x="36815" y="241403"/>
                </a:lnTo>
                <a:lnTo>
                  <a:pt x="71960" y="280022"/>
                </a:lnTo>
                <a:lnTo>
                  <a:pt x="91010" y="297154"/>
                </a:lnTo>
                <a:lnTo>
                  <a:pt x="106847" y="277456"/>
                </a:lnTo>
                <a:lnTo>
                  <a:pt x="108076" y="276020"/>
                </a:lnTo>
                <a:lnTo>
                  <a:pt x="140222" y="251116"/>
                </a:lnTo>
                <a:lnTo>
                  <a:pt x="182596" y="233264"/>
                </a:lnTo>
                <a:lnTo>
                  <a:pt x="190407" y="231324"/>
                </a:lnTo>
                <a:lnTo>
                  <a:pt x="92470" y="231324"/>
                </a:lnTo>
                <a:lnTo>
                  <a:pt x="62763" y="192742"/>
                </a:lnTo>
                <a:lnTo>
                  <a:pt x="48769" y="155507"/>
                </a:lnTo>
                <a:lnTo>
                  <a:pt x="46237" y="132163"/>
                </a:lnTo>
                <a:lnTo>
                  <a:pt x="46576" y="121099"/>
                </a:lnTo>
                <a:lnTo>
                  <a:pt x="55250" y="82176"/>
                </a:lnTo>
                <a:lnTo>
                  <a:pt x="65383" y="60120"/>
                </a:lnTo>
                <a:lnTo>
                  <a:pt x="432716" y="60120"/>
                </a:lnTo>
                <a:lnTo>
                  <a:pt x="436774" y="58493"/>
                </a:lnTo>
                <a:lnTo>
                  <a:pt x="494264" y="58493"/>
                </a:lnTo>
                <a:lnTo>
                  <a:pt x="490399" y="50053"/>
                </a:lnTo>
                <a:lnTo>
                  <a:pt x="272691" y="50053"/>
                </a:lnTo>
                <a:lnTo>
                  <a:pt x="249023" y="49636"/>
                </a:lnTo>
                <a:lnTo>
                  <a:pt x="206019" y="46515"/>
                </a:lnTo>
                <a:lnTo>
                  <a:pt x="152486" y="37807"/>
                </a:lnTo>
                <a:lnTo>
                  <a:pt x="112350" y="26973"/>
                </a:lnTo>
                <a:lnTo>
                  <a:pt x="75933" y="12466"/>
                </a:lnTo>
                <a:lnTo>
                  <a:pt x="72176" y="10490"/>
                </a:lnTo>
                <a:lnTo>
                  <a:pt x="54358" y="0"/>
                </a:lnTo>
                <a:close/>
              </a:path>
              <a:path w="510786" h="297573">
                <a:moveTo>
                  <a:pt x="494264" y="58493"/>
                </a:moveTo>
                <a:lnTo>
                  <a:pt x="436774" y="58493"/>
                </a:lnTo>
                <a:lnTo>
                  <a:pt x="441173" y="63890"/>
                </a:lnTo>
                <a:lnTo>
                  <a:pt x="445550" y="70171"/>
                </a:lnTo>
                <a:lnTo>
                  <a:pt x="462622" y="113051"/>
                </a:lnTo>
                <a:lnTo>
                  <a:pt x="464804" y="134596"/>
                </a:lnTo>
                <a:lnTo>
                  <a:pt x="464385" y="146104"/>
                </a:lnTo>
                <a:lnTo>
                  <a:pt x="449641" y="195839"/>
                </a:lnTo>
                <a:lnTo>
                  <a:pt x="422277" y="234480"/>
                </a:lnTo>
                <a:lnTo>
                  <a:pt x="478522" y="234480"/>
                </a:lnTo>
                <a:lnTo>
                  <a:pt x="503227" y="184623"/>
                </a:lnTo>
                <a:lnTo>
                  <a:pt x="510786" y="131728"/>
                </a:lnTo>
                <a:lnTo>
                  <a:pt x="509739" y="115447"/>
                </a:lnTo>
                <a:lnTo>
                  <a:pt x="507358" y="100017"/>
                </a:lnTo>
                <a:lnTo>
                  <a:pt x="503910" y="85540"/>
                </a:lnTo>
                <a:lnTo>
                  <a:pt x="499666" y="72123"/>
                </a:lnTo>
                <a:lnTo>
                  <a:pt x="494894" y="59869"/>
                </a:lnTo>
                <a:lnTo>
                  <a:pt x="494264" y="58493"/>
                </a:lnTo>
                <a:close/>
              </a:path>
              <a:path w="510786" h="297573">
                <a:moveTo>
                  <a:pt x="256771" y="181495"/>
                </a:moveTo>
                <a:lnTo>
                  <a:pt x="253786" y="181495"/>
                </a:lnTo>
                <a:lnTo>
                  <a:pt x="235307" y="182113"/>
                </a:lnTo>
                <a:lnTo>
                  <a:pt x="186216" y="188911"/>
                </a:lnTo>
                <a:lnTo>
                  <a:pt x="146321" y="201106"/>
                </a:lnTo>
                <a:lnTo>
                  <a:pt x="106721" y="221285"/>
                </a:lnTo>
                <a:lnTo>
                  <a:pt x="92470" y="231324"/>
                </a:lnTo>
                <a:lnTo>
                  <a:pt x="190407" y="231324"/>
                </a:lnTo>
                <a:lnTo>
                  <a:pt x="200949" y="228707"/>
                </a:lnTo>
                <a:lnTo>
                  <a:pt x="221523" y="225367"/>
                </a:lnTo>
                <a:lnTo>
                  <a:pt x="244380" y="223559"/>
                </a:lnTo>
                <a:lnTo>
                  <a:pt x="407455" y="223559"/>
                </a:lnTo>
                <a:lnTo>
                  <a:pt x="401333" y="219567"/>
                </a:lnTo>
                <a:lnTo>
                  <a:pt x="360463" y="199567"/>
                </a:lnTo>
                <a:lnTo>
                  <a:pt x="319567" y="187842"/>
                </a:lnTo>
                <a:lnTo>
                  <a:pt x="269431" y="181804"/>
                </a:lnTo>
                <a:lnTo>
                  <a:pt x="256771" y="181495"/>
                </a:lnTo>
                <a:close/>
              </a:path>
              <a:path w="510786" h="297573">
                <a:moveTo>
                  <a:pt x="432716" y="60120"/>
                </a:moveTo>
                <a:lnTo>
                  <a:pt x="65383" y="60120"/>
                </a:lnTo>
                <a:lnTo>
                  <a:pt x="98548" y="69667"/>
                </a:lnTo>
                <a:lnTo>
                  <a:pt x="144326" y="80795"/>
                </a:lnTo>
                <a:lnTo>
                  <a:pt x="186541" y="87813"/>
                </a:lnTo>
                <a:lnTo>
                  <a:pt x="235203" y="91850"/>
                </a:lnTo>
                <a:lnTo>
                  <a:pt x="256758" y="92252"/>
                </a:lnTo>
                <a:lnTo>
                  <a:pt x="274569" y="91886"/>
                </a:lnTo>
                <a:lnTo>
                  <a:pt x="323728" y="87790"/>
                </a:lnTo>
                <a:lnTo>
                  <a:pt x="366166" y="80362"/>
                </a:lnTo>
                <a:lnTo>
                  <a:pt x="411594" y="67866"/>
                </a:lnTo>
                <a:lnTo>
                  <a:pt x="432716" y="60120"/>
                </a:lnTo>
                <a:close/>
              </a:path>
              <a:path w="510786" h="297573">
                <a:moveTo>
                  <a:pt x="456440" y="139"/>
                </a:moveTo>
                <a:lnTo>
                  <a:pt x="415333" y="21240"/>
                </a:lnTo>
                <a:lnTo>
                  <a:pt x="366589" y="36901"/>
                </a:lnTo>
                <a:lnTo>
                  <a:pt x="314335" y="46666"/>
                </a:lnTo>
                <a:lnTo>
                  <a:pt x="272691" y="50053"/>
                </a:lnTo>
                <a:lnTo>
                  <a:pt x="490399" y="50053"/>
                </a:lnTo>
                <a:lnTo>
                  <a:pt x="470240" y="16627"/>
                </a:lnTo>
                <a:lnTo>
                  <a:pt x="469305" y="15443"/>
                </a:lnTo>
                <a:lnTo>
                  <a:pt x="456440" y="13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3" name="object 107">
            <a:extLst>
              <a:ext uri="{FF2B5EF4-FFF2-40B4-BE49-F238E27FC236}">
                <a16:creationId xmlns:a16="http://schemas.microsoft.com/office/drawing/2014/main" id="{2C4BC9B1-01CC-440A-A32F-75347BC03211}"/>
              </a:ext>
            </a:extLst>
          </p:cNvPr>
          <p:cNvSpPr>
            <a:spLocks/>
          </p:cNvSpPr>
          <p:nvPr/>
        </p:nvSpPr>
        <p:spPr bwMode="auto">
          <a:xfrm>
            <a:off x="7410552" y="3370322"/>
            <a:ext cx="186120" cy="270470"/>
          </a:xfrm>
          <a:custGeom>
            <a:avLst/>
            <a:gdLst>
              <a:gd name="T0" fmla="*/ 178373 w 320916"/>
              <a:gd name="T1" fmla="*/ 0 h 469849"/>
              <a:gd name="T2" fmla="*/ 0 w 320916"/>
              <a:gd name="T3" fmla="*/ 260542 h 469849"/>
              <a:gd name="T4" fmla="*/ 136994 w 320916"/>
              <a:gd name="T5" fmla="*/ 266674 h 469849"/>
              <a:gd name="T6" fmla="*/ 319 w 320916"/>
              <a:gd name="T7" fmla="*/ 466782 h 469849"/>
              <a:gd name="T8" fmla="*/ 323616 w 320916"/>
              <a:gd name="T9" fmla="*/ 185268 h 469849"/>
              <a:gd name="T10" fmla="*/ 184149 w 320916"/>
              <a:gd name="T11" fmla="*/ 179024 h 469849"/>
              <a:gd name="T12" fmla="*/ 302881 w 320916"/>
              <a:gd name="T13" fmla="*/ 5564 h 469849"/>
              <a:gd name="T14" fmla="*/ 178373 w 320916"/>
              <a:gd name="T15" fmla="*/ 0 h 46984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0916" h="469849">
                <a:moveTo>
                  <a:pt x="176885" y="0"/>
                </a:moveTo>
                <a:lnTo>
                  <a:pt x="0" y="262254"/>
                </a:lnTo>
                <a:lnTo>
                  <a:pt x="135851" y="268427"/>
                </a:lnTo>
                <a:lnTo>
                  <a:pt x="317" y="469849"/>
                </a:lnTo>
                <a:lnTo>
                  <a:pt x="320916" y="186486"/>
                </a:lnTo>
                <a:lnTo>
                  <a:pt x="182613" y="180200"/>
                </a:lnTo>
                <a:lnTo>
                  <a:pt x="300354" y="5600"/>
                </a:lnTo>
                <a:lnTo>
                  <a:pt x="17688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4" name="object 108">
            <a:extLst>
              <a:ext uri="{FF2B5EF4-FFF2-40B4-BE49-F238E27FC236}">
                <a16:creationId xmlns:a16="http://schemas.microsoft.com/office/drawing/2014/main" id="{313B6EBC-C25A-4997-955A-9F7F181F923C}"/>
              </a:ext>
            </a:extLst>
          </p:cNvPr>
          <p:cNvSpPr>
            <a:spLocks/>
          </p:cNvSpPr>
          <p:nvPr/>
        </p:nvSpPr>
        <p:spPr bwMode="auto">
          <a:xfrm>
            <a:off x="7258356" y="3434501"/>
            <a:ext cx="81599" cy="178785"/>
          </a:xfrm>
          <a:custGeom>
            <a:avLst/>
            <a:gdLst>
              <a:gd name="T0" fmla="*/ 138727 w 141668"/>
              <a:gd name="T1" fmla="*/ 172698 h 309879"/>
              <a:gd name="T2" fmla="*/ 103140 w 141668"/>
              <a:gd name="T3" fmla="*/ 172698 h 309879"/>
              <a:gd name="T4" fmla="*/ 140909 w 141668"/>
              <a:gd name="T5" fmla="*/ 309248 h 309879"/>
              <a:gd name="T6" fmla="*/ 138727 w 141668"/>
              <a:gd name="T7" fmla="*/ 172698 h 309879"/>
              <a:gd name="T8" fmla="*/ 49176 w 141668"/>
              <a:gd name="T9" fmla="*/ 0 h 309879"/>
              <a:gd name="T10" fmla="*/ 0 w 141668"/>
              <a:gd name="T11" fmla="*/ 52635 h 309879"/>
              <a:gd name="T12" fmla="*/ 49024 w 141668"/>
              <a:gd name="T13" fmla="*/ 230618 h 309879"/>
              <a:gd name="T14" fmla="*/ 103140 w 141668"/>
              <a:gd name="T15" fmla="*/ 172698 h 309879"/>
              <a:gd name="T16" fmla="*/ 138727 w 141668"/>
              <a:gd name="T17" fmla="*/ 172698 h 309879"/>
              <a:gd name="T18" fmla="*/ 137859 w 141668"/>
              <a:gd name="T19" fmla="*/ 118477 h 309879"/>
              <a:gd name="T20" fmla="*/ 81816 w 141668"/>
              <a:gd name="T21" fmla="*/ 118477 h 309879"/>
              <a:gd name="T22" fmla="*/ 49176 w 141668"/>
              <a:gd name="T23" fmla="*/ 0 h 309879"/>
              <a:gd name="T24" fmla="*/ 136918 w 141668"/>
              <a:gd name="T25" fmla="*/ 59529 h 309879"/>
              <a:gd name="T26" fmla="*/ 81816 w 141668"/>
              <a:gd name="T27" fmla="*/ 118477 h 309879"/>
              <a:gd name="T28" fmla="*/ 137859 w 141668"/>
              <a:gd name="T29" fmla="*/ 118477 h 309879"/>
              <a:gd name="T30" fmla="*/ 136918 w 141668"/>
              <a:gd name="T31" fmla="*/ 59529 h 30987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41668" h="309879">
                <a:moveTo>
                  <a:pt x="139474" y="173050"/>
                </a:moveTo>
                <a:lnTo>
                  <a:pt x="103695" y="173050"/>
                </a:lnTo>
                <a:lnTo>
                  <a:pt x="141668" y="309880"/>
                </a:lnTo>
                <a:lnTo>
                  <a:pt x="139474" y="173050"/>
                </a:lnTo>
                <a:close/>
              </a:path>
              <a:path w="141668" h="309879">
                <a:moveTo>
                  <a:pt x="49441" y="0"/>
                </a:moveTo>
                <a:lnTo>
                  <a:pt x="0" y="52743"/>
                </a:lnTo>
                <a:lnTo>
                  <a:pt x="49288" y="231089"/>
                </a:lnTo>
                <a:lnTo>
                  <a:pt x="103695" y="173050"/>
                </a:lnTo>
                <a:lnTo>
                  <a:pt x="139474" y="173050"/>
                </a:lnTo>
                <a:lnTo>
                  <a:pt x="138602" y="118719"/>
                </a:lnTo>
                <a:lnTo>
                  <a:pt x="82257" y="118719"/>
                </a:lnTo>
                <a:lnTo>
                  <a:pt x="49441" y="0"/>
                </a:lnTo>
                <a:close/>
              </a:path>
              <a:path w="141668" h="309879">
                <a:moveTo>
                  <a:pt x="137655" y="59651"/>
                </a:moveTo>
                <a:lnTo>
                  <a:pt x="82257" y="118719"/>
                </a:lnTo>
                <a:lnTo>
                  <a:pt x="138602" y="118719"/>
                </a:lnTo>
                <a:lnTo>
                  <a:pt x="137655" y="59651"/>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5" name="object 109">
            <a:extLst>
              <a:ext uri="{FF2B5EF4-FFF2-40B4-BE49-F238E27FC236}">
                <a16:creationId xmlns:a16="http://schemas.microsoft.com/office/drawing/2014/main" id="{E0845889-E355-4041-8A8F-B8B28B724720}"/>
              </a:ext>
            </a:extLst>
          </p:cNvPr>
          <p:cNvSpPr>
            <a:spLocks/>
          </p:cNvSpPr>
          <p:nvPr/>
        </p:nvSpPr>
        <p:spPr bwMode="auto">
          <a:xfrm>
            <a:off x="3958631" y="1455033"/>
            <a:ext cx="1123135" cy="421749"/>
          </a:xfrm>
          <a:custGeom>
            <a:avLst/>
            <a:gdLst>
              <a:gd name="T0" fmla="*/ 0 w 1944001"/>
              <a:gd name="T1" fmla="*/ 731497 h 729005"/>
              <a:gd name="T2" fmla="*/ 1945373 w 1944001"/>
              <a:gd name="T3" fmla="*/ 731497 h 729005"/>
              <a:gd name="T4" fmla="*/ 1945373 w 1944001"/>
              <a:gd name="T5" fmla="*/ 0 h 729005"/>
              <a:gd name="T6" fmla="*/ 0 w 1944001"/>
              <a:gd name="T7" fmla="*/ 0 h 729005"/>
              <a:gd name="T8" fmla="*/ 0 w 1944001"/>
              <a:gd name="T9" fmla="*/ 731497 h 72900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44001" h="729005">
                <a:moveTo>
                  <a:pt x="0" y="729005"/>
                </a:moveTo>
                <a:lnTo>
                  <a:pt x="1944001" y="729005"/>
                </a:lnTo>
                <a:lnTo>
                  <a:pt x="1944001" y="0"/>
                </a:lnTo>
                <a:lnTo>
                  <a:pt x="0" y="0"/>
                </a:lnTo>
                <a:lnTo>
                  <a:pt x="0" y="729005"/>
                </a:lnTo>
                <a:close/>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6" name="object 110">
            <a:extLst>
              <a:ext uri="{FF2B5EF4-FFF2-40B4-BE49-F238E27FC236}">
                <a16:creationId xmlns:a16="http://schemas.microsoft.com/office/drawing/2014/main" id="{EA52E00A-D318-41EB-BD27-41864089D33D}"/>
              </a:ext>
            </a:extLst>
          </p:cNvPr>
          <p:cNvSpPr>
            <a:spLocks/>
          </p:cNvSpPr>
          <p:nvPr/>
        </p:nvSpPr>
        <p:spPr bwMode="auto">
          <a:xfrm>
            <a:off x="1758203" y="1944629"/>
            <a:ext cx="2159169" cy="907676"/>
          </a:xfrm>
          <a:custGeom>
            <a:avLst/>
            <a:gdLst>
              <a:gd name="T0" fmla="*/ 0 w 3738626"/>
              <a:gd name="T1" fmla="*/ 1570762 h 1572488"/>
              <a:gd name="T2" fmla="*/ 3738498 w 3738626"/>
              <a:gd name="T3" fmla="*/ 0 h 1572488"/>
              <a:gd name="T4" fmla="*/ 0 60000 65536"/>
              <a:gd name="T5" fmla="*/ 0 60000 65536"/>
            </a:gdLst>
            <a:ahLst/>
            <a:cxnLst>
              <a:cxn ang="T4">
                <a:pos x="T0" y="T1"/>
              </a:cxn>
              <a:cxn ang="T5">
                <a:pos x="T2" y="T3"/>
              </a:cxn>
            </a:cxnLst>
            <a:rect l="0" t="0" r="r" b="b"/>
            <a:pathLst>
              <a:path w="3738626" h="1572488">
                <a:moveTo>
                  <a:pt x="0" y="1572488"/>
                </a:moveTo>
                <a:lnTo>
                  <a:pt x="3738626" y="0"/>
                </a:lnTo>
              </a:path>
            </a:pathLst>
          </a:custGeom>
          <a:noFill/>
          <a:ln w="50800">
            <a:solidFill>
              <a:srgbClr val="ED1C2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8" name="object 112">
            <a:extLst>
              <a:ext uri="{FF2B5EF4-FFF2-40B4-BE49-F238E27FC236}">
                <a16:creationId xmlns:a16="http://schemas.microsoft.com/office/drawing/2014/main" id="{7776D945-F3AD-487B-B300-E8DE995F885A}"/>
              </a:ext>
            </a:extLst>
          </p:cNvPr>
          <p:cNvSpPr>
            <a:spLocks/>
          </p:cNvSpPr>
          <p:nvPr/>
        </p:nvSpPr>
        <p:spPr bwMode="auto">
          <a:xfrm>
            <a:off x="3943962"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29" name="object 113">
            <a:extLst>
              <a:ext uri="{FF2B5EF4-FFF2-40B4-BE49-F238E27FC236}">
                <a16:creationId xmlns:a16="http://schemas.microsoft.com/office/drawing/2014/main" id="{39ACB8C4-C842-4769-AC05-F3DD977E8DCB}"/>
              </a:ext>
            </a:extLst>
          </p:cNvPr>
          <p:cNvSpPr>
            <a:spLocks/>
          </p:cNvSpPr>
          <p:nvPr/>
        </p:nvSpPr>
        <p:spPr bwMode="auto">
          <a:xfrm>
            <a:off x="5150530" y="1956547"/>
            <a:ext cx="2081238" cy="906760"/>
          </a:xfrm>
          <a:custGeom>
            <a:avLst/>
            <a:gdLst>
              <a:gd name="T0" fmla="*/ 0 w 3603409"/>
              <a:gd name="T1" fmla="*/ 0 h 1570990"/>
              <a:gd name="T2" fmla="*/ 3603841 w 3603409"/>
              <a:gd name="T3" fmla="*/ 1569087 h 1570990"/>
              <a:gd name="T4" fmla="*/ 0 60000 65536"/>
              <a:gd name="T5" fmla="*/ 0 60000 65536"/>
            </a:gdLst>
            <a:ahLst/>
            <a:cxnLst>
              <a:cxn ang="T4">
                <a:pos x="T0" y="T1"/>
              </a:cxn>
              <a:cxn ang="T5">
                <a:pos x="T2" y="T3"/>
              </a:cxn>
            </a:cxnLst>
            <a:rect l="0" t="0" r="r" b="b"/>
            <a:pathLst>
              <a:path w="3603409" h="1570990">
                <a:moveTo>
                  <a:pt x="0" y="0"/>
                </a:moveTo>
                <a:lnTo>
                  <a:pt x="3603409" y="1570990"/>
                </a:lnTo>
              </a:path>
            </a:pathLst>
          </a:custGeom>
          <a:noFill/>
          <a:ln w="50800">
            <a:solidFill>
              <a:srgbClr val="ED1C2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0" name="object 114">
            <a:extLst>
              <a:ext uri="{FF2B5EF4-FFF2-40B4-BE49-F238E27FC236}">
                <a16:creationId xmlns:a16="http://schemas.microsoft.com/office/drawing/2014/main" id="{DC5A51FB-51D2-4660-BA94-5CF872E69E81}"/>
              </a:ext>
            </a:extLst>
          </p:cNvPr>
          <p:cNvSpPr>
            <a:spLocks/>
          </p:cNvSpPr>
          <p:nvPr/>
        </p:nvSpPr>
        <p:spPr bwMode="auto">
          <a:xfrm>
            <a:off x="5096435"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2" name="object 116">
            <a:extLst>
              <a:ext uri="{FF2B5EF4-FFF2-40B4-BE49-F238E27FC236}">
                <a16:creationId xmlns:a16="http://schemas.microsoft.com/office/drawing/2014/main" id="{245CCBA8-F942-4143-A5B9-F88097DE20F8}"/>
              </a:ext>
            </a:extLst>
          </p:cNvPr>
          <p:cNvSpPr>
            <a:spLocks/>
          </p:cNvSpPr>
          <p:nvPr/>
        </p:nvSpPr>
        <p:spPr bwMode="auto">
          <a:xfrm>
            <a:off x="3639569" y="1957464"/>
            <a:ext cx="587697" cy="868252"/>
          </a:xfrm>
          <a:custGeom>
            <a:avLst/>
            <a:gdLst>
              <a:gd name="T0" fmla="*/ 0 w 1017943"/>
              <a:gd name="T1" fmla="*/ 1503375 h 1503349"/>
              <a:gd name="T2" fmla="*/ 1017231 w 1017943"/>
              <a:gd name="T3" fmla="*/ 0 h 1503349"/>
              <a:gd name="T4" fmla="*/ 0 60000 65536"/>
              <a:gd name="T5" fmla="*/ 0 60000 65536"/>
            </a:gdLst>
            <a:ahLst/>
            <a:cxnLst>
              <a:cxn ang="T4">
                <a:pos x="T0" y="T1"/>
              </a:cxn>
              <a:cxn ang="T5">
                <a:pos x="T2" y="T3"/>
              </a:cxn>
            </a:cxnLst>
            <a:rect l="0" t="0" r="r" b="b"/>
            <a:pathLst>
              <a:path w="1017943" h="1503349">
                <a:moveTo>
                  <a:pt x="0" y="1503349"/>
                </a:moveTo>
                <a:lnTo>
                  <a:pt x="1017943" y="0"/>
                </a:lnTo>
              </a:path>
            </a:pathLst>
          </a:custGeom>
          <a:noFill/>
          <a:ln w="50799">
            <a:solidFill>
              <a:srgbClr val="ED1C24"/>
            </a:solidFill>
            <a:prstDash val="lg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4" name="object 118">
            <a:extLst>
              <a:ext uri="{FF2B5EF4-FFF2-40B4-BE49-F238E27FC236}">
                <a16:creationId xmlns:a16="http://schemas.microsoft.com/office/drawing/2014/main" id="{142F68C1-0A10-4D35-9447-E8B9BD6D0ECB}"/>
              </a:ext>
            </a:extLst>
          </p:cNvPr>
          <p:cNvSpPr>
            <a:spLocks/>
          </p:cNvSpPr>
          <p:nvPr/>
        </p:nvSpPr>
        <p:spPr bwMode="auto">
          <a:xfrm>
            <a:off x="4243770"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5" name="object 119">
            <a:extLst>
              <a:ext uri="{FF2B5EF4-FFF2-40B4-BE49-F238E27FC236}">
                <a16:creationId xmlns:a16="http://schemas.microsoft.com/office/drawing/2014/main" id="{4A3DA760-9DF3-42E3-BE98-D55FE9D9753B}"/>
              </a:ext>
            </a:extLst>
          </p:cNvPr>
          <p:cNvSpPr>
            <a:spLocks/>
          </p:cNvSpPr>
          <p:nvPr/>
        </p:nvSpPr>
        <p:spPr bwMode="auto">
          <a:xfrm>
            <a:off x="4800295" y="1977635"/>
            <a:ext cx="720640" cy="875587"/>
          </a:xfrm>
          <a:custGeom>
            <a:avLst/>
            <a:gdLst>
              <a:gd name="T0" fmla="*/ 0 w 1246886"/>
              <a:gd name="T1" fmla="*/ 0 h 1515618"/>
              <a:gd name="T2" fmla="*/ 1248665 w 1246886"/>
              <a:gd name="T3" fmla="*/ 1516506 h 1515618"/>
              <a:gd name="T4" fmla="*/ 0 60000 65536"/>
              <a:gd name="T5" fmla="*/ 0 60000 65536"/>
            </a:gdLst>
            <a:ahLst/>
            <a:cxnLst>
              <a:cxn ang="T4">
                <a:pos x="T0" y="T1"/>
              </a:cxn>
              <a:cxn ang="T5">
                <a:pos x="T2" y="T3"/>
              </a:cxn>
            </a:cxnLst>
            <a:rect l="0" t="0" r="r" b="b"/>
            <a:pathLst>
              <a:path w="1246886" h="1515618">
                <a:moveTo>
                  <a:pt x="0" y="0"/>
                </a:moveTo>
                <a:lnTo>
                  <a:pt x="1246886" y="1515618"/>
                </a:lnTo>
              </a:path>
            </a:pathLst>
          </a:custGeom>
          <a:noFill/>
          <a:ln w="50800">
            <a:solidFill>
              <a:srgbClr val="ED1C24"/>
            </a:solidFill>
            <a:prstDash val="dash"/>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6" name="object 120">
            <a:extLst>
              <a:ext uri="{FF2B5EF4-FFF2-40B4-BE49-F238E27FC236}">
                <a16:creationId xmlns:a16="http://schemas.microsoft.com/office/drawing/2014/main" id="{14EF66C5-2180-4AFD-9169-773DA8A02265}"/>
              </a:ext>
            </a:extLst>
          </p:cNvPr>
          <p:cNvSpPr>
            <a:spLocks/>
          </p:cNvSpPr>
          <p:nvPr/>
        </p:nvSpPr>
        <p:spPr bwMode="auto">
          <a:xfrm>
            <a:off x="4763621" y="1932709"/>
            <a:ext cx="0" cy="0"/>
          </a:xfrm>
          <a:custGeom>
            <a:avLst/>
            <a:gdLst>
              <a:gd name="T0" fmla="*/ 0 60000 65536"/>
              <a:gd name="T1" fmla="*/ 0 60000 65536"/>
            </a:gdLst>
            <a:ahLst/>
            <a:cxnLst>
              <a:cxn ang="T0">
                <a:pos x="0" y="0"/>
              </a:cxn>
              <a:cxn ang="T1">
                <a:pos x="0" y="0"/>
              </a:cxn>
            </a:cxnLst>
            <a:rect l="0" t="0" r="r" b="b"/>
            <a:pathLst>
              <a:path>
                <a:moveTo>
                  <a:pt x="0" y="0"/>
                </a:moveTo>
                <a:lnTo>
                  <a:pt x="0"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38" name="object 122">
            <a:extLst>
              <a:ext uri="{FF2B5EF4-FFF2-40B4-BE49-F238E27FC236}">
                <a16:creationId xmlns:a16="http://schemas.microsoft.com/office/drawing/2014/main" id="{96C2A6D3-9395-4B82-ACD9-943BC84F01D4}"/>
              </a:ext>
            </a:extLst>
          </p:cNvPr>
          <p:cNvSpPr>
            <a:spLocks/>
          </p:cNvSpPr>
          <p:nvPr/>
        </p:nvSpPr>
        <p:spPr bwMode="auto">
          <a:xfrm>
            <a:off x="1466647" y="3596783"/>
            <a:ext cx="170533" cy="0"/>
          </a:xfrm>
          <a:custGeom>
            <a:avLst/>
            <a:gdLst>
              <a:gd name="T0" fmla="*/ 0 w 296379"/>
              <a:gd name="T1" fmla="*/ 294175 w 296379"/>
              <a:gd name="T2" fmla="*/ 0 60000 65536"/>
              <a:gd name="T3" fmla="*/ 0 60000 65536"/>
            </a:gdLst>
            <a:ahLst/>
            <a:cxnLst>
              <a:cxn ang="T2">
                <a:pos x="T0" y="0"/>
              </a:cxn>
              <a:cxn ang="T3">
                <a:pos x="T1" y="0"/>
              </a:cxn>
            </a:cxnLst>
            <a:rect l="0" t="0" r="r" b="b"/>
            <a:pathLst>
              <a:path w="296379">
                <a:moveTo>
                  <a:pt x="0" y="0"/>
                </a:moveTo>
                <a:lnTo>
                  <a:pt x="296379" y="0"/>
                </a:lnTo>
              </a:path>
            </a:pathLst>
          </a:custGeom>
          <a:noFill/>
          <a:ln w="50800">
            <a:solidFill>
              <a:srgbClr val="ED1C24"/>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object 123">
            <a:extLst>
              <a:ext uri="{FF2B5EF4-FFF2-40B4-BE49-F238E27FC236}">
                <a16:creationId xmlns:a16="http://schemas.microsoft.com/office/drawing/2014/main" id="{CD95CAD1-DC86-4462-93AA-D44A21B54888}"/>
              </a:ext>
            </a:extLst>
          </p:cNvPr>
          <p:cNvSpPr>
            <a:spLocks noGrp="1"/>
          </p:cNvSpPr>
          <p:nvPr>
            <p:ph type="ftr" sz="quarter" idx="10"/>
          </p:nvPr>
        </p:nvSpPr>
        <p:spPr/>
        <p:txBody>
          <a:bodyPr vert="horz"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e</a:t>
            </a:r>
            <a:r>
              <a:rPr kumimoji="0" sz="899" b="0" i="0" u="none" strike="noStrike" kern="1200" cap="none" spc="9"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12" normalizeH="0" baseline="0" noProof="0">
                <a:ln>
                  <a:noFill/>
                </a:ln>
                <a:solidFill>
                  <a:prstClr val="black">
                    <a:tint val="75000"/>
                  </a:prstClr>
                </a:solidFill>
                <a:effectLst/>
                <a:uLnTx/>
                <a:uFillTx/>
                <a:latin typeface="Calibri" panose="020F0502020204030204"/>
                <a:ea typeface="+mn-ea"/>
                <a:cs typeface="+mn-cs"/>
              </a:rPr>
              <a:t>t</a:t>
            </a:r>
            <a:r>
              <a:rPr kumimoji="0" sz="899" b="0" i="0" u="none" strike="noStrike" kern="1200" cap="none" spc="-6" normalizeH="0" baseline="0" noProof="0">
                <a:ln>
                  <a:noFill/>
                </a:ln>
                <a:solidFill>
                  <a:prstClr val="black">
                    <a:tint val="75000"/>
                  </a:prstClr>
                </a:solidFill>
                <a:effectLst/>
                <a:uLnTx/>
                <a:uFillTx/>
                <a:latin typeface="Calibri" panose="020F0502020204030204"/>
                <a:ea typeface="+mn-ea"/>
                <a:cs typeface="+mn-cs"/>
              </a:rPr>
              <a:t>i</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n</a:t>
            </a:r>
            <a:r>
              <a:rPr kumimoji="0" sz="899" b="0" i="0" u="none" strike="noStrike" kern="1200" cap="none" spc="3" normalizeH="0" baseline="0" noProof="0">
                <a:ln>
                  <a:noFill/>
                </a:ln>
                <a:solidFill>
                  <a:prstClr val="black">
                    <a:tint val="75000"/>
                  </a:prstClr>
                </a:solidFill>
                <a:effectLst/>
                <a:uLnTx/>
                <a:uFillTx/>
                <a:latin typeface="Calibri" panose="020F0502020204030204"/>
                <a:ea typeface="+mn-ea"/>
                <a:cs typeface="+mn-cs"/>
              </a:rPr>
              <a:t> </a:t>
            </a:r>
            <a:r>
              <a:rPr kumimoji="0" sz="899" b="0" i="0" u="none" strike="noStrike" kern="1200" cap="none" spc="17"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
            </a:r>
            <a:endParaRPr kumimoji="0" sz="8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2F567623-A5B9-4FC3-88D4-144465A9CB8C}"/>
              </a:ext>
            </a:extLst>
          </p:cNvPr>
          <p:cNvSpPr txBox="1"/>
          <p:nvPr/>
        </p:nvSpPr>
        <p:spPr>
          <a:xfrm>
            <a:off x="960957" y="3032163"/>
            <a:ext cx="1593476"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FA0007"/>
                </a:solidFill>
                <a:effectLst/>
                <a:uLnTx/>
                <a:uFillTx/>
                <a:latin typeface="Calibri" panose="020F0502020204030204"/>
                <a:ea typeface="+mn-ea"/>
                <a:cs typeface="+mn-cs"/>
              </a:rPr>
              <a:t>ပုံမှန</a:t>
            </a:r>
            <a:r>
              <a:rPr kumimoji="0" lang="en-US" sz="1500" b="1" i="0" u="none" strike="noStrike" kern="1200" cap="none" spc="0" normalizeH="0" baseline="0" noProof="0" dirty="0">
                <a:ln>
                  <a:noFill/>
                </a:ln>
                <a:solidFill>
                  <a:srgbClr val="FA0007"/>
                </a:solidFill>
                <a:effectLst/>
                <a:uLnTx/>
                <a:uFillTx/>
                <a:latin typeface="Calibri" panose="020F0502020204030204"/>
                <a:ea typeface="+mn-ea"/>
                <a:cs typeface="+mn-cs"/>
              </a:rPr>
              <a:t>် </a:t>
            </a:r>
            <a:r>
              <a:rPr kumimoji="0" lang="en-US" sz="1500" b="1" i="0" u="none" strike="noStrike" kern="1200" cap="none" spc="0" normalizeH="0" baseline="0" noProof="0" dirty="0" err="1">
                <a:ln>
                  <a:noFill/>
                </a:ln>
                <a:solidFill>
                  <a:srgbClr val="FA0007"/>
                </a:solidFill>
                <a:effectLst/>
                <a:uLnTx/>
                <a:uFillTx/>
                <a:latin typeface="Calibri" panose="020F0502020204030204"/>
                <a:ea typeface="+mn-ea"/>
                <a:cs typeface="+mn-cs"/>
              </a:rPr>
              <a:t>စိတ်ဖိစီးမှု</a:t>
            </a:r>
            <a:endParaRPr kumimoji="0" lang="en-US" sz="1500" b="1" i="0" u="none" strike="noStrike" kern="1200" cap="none" spc="0" normalizeH="0" baseline="0" noProof="0" dirty="0">
              <a:ln>
                <a:noFill/>
              </a:ln>
              <a:solidFill>
                <a:srgbClr val="FA0007"/>
              </a:solidFill>
              <a:effectLst/>
              <a:uLnTx/>
              <a:uFillTx/>
              <a:latin typeface="Calibri" panose="020F0502020204030204"/>
              <a:ea typeface="+mn-ea"/>
              <a:cs typeface="+mn-cs"/>
            </a:endParaRPr>
          </a:p>
        </p:txBody>
      </p:sp>
      <p:sp>
        <p:nvSpPr>
          <p:cNvPr id="125" name="TextBox 124">
            <a:extLst>
              <a:ext uri="{FF2B5EF4-FFF2-40B4-BE49-F238E27FC236}">
                <a16:creationId xmlns:a16="http://schemas.microsoft.com/office/drawing/2014/main" id="{CF77D5EC-704A-43E8-81F1-96E944B13E36}"/>
              </a:ext>
            </a:extLst>
          </p:cNvPr>
          <p:cNvSpPr txBox="1"/>
          <p:nvPr/>
        </p:nvSpPr>
        <p:spPr>
          <a:xfrm>
            <a:off x="2740144" y="3032163"/>
            <a:ext cx="1729169"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FA0007"/>
                </a:solidFill>
                <a:effectLst/>
                <a:uLnTx/>
                <a:uFillTx/>
                <a:latin typeface="Calibri" panose="020F0502020204030204"/>
                <a:ea typeface="+mn-ea"/>
                <a:cs typeface="+mn-cs"/>
              </a:rPr>
              <a:t>စိတ်ဖိစီးမှု</a:t>
            </a:r>
            <a:r>
              <a:rPr kumimoji="0" lang="en-US" sz="1500" b="1" i="0" u="none" strike="noStrike" kern="1200" cap="none" spc="0" normalizeH="0" baseline="0" noProof="0" dirty="0">
                <a:ln>
                  <a:noFill/>
                </a:ln>
                <a:solidFill>
                  <a:srgbClr val="FA0007"/>
                </a:solidFill>
                <a:effectLst/>
                <a:uLnTx/>
                <a:uFillTx/>
                <a:latin typeface="Calibri" panose="020F0502020204030204"/>
                <a:ea typeface="+mn-ea"/>
                <a:cs typeface="+mn-cs"/>
              </a:rPr>
              <a:t> </a:t>
            </a:r>
            <a:r>
              <a:rPr kumimoji="0" lang="en-US" sz="1500" b="1" i="0" u="none" strike="noStrike" kern="1200" cap="none" spc="0" normalizeH="0" baseline="0" noProof="0" dirty="0" err="1">
                <a:ln>
                  <a:noFill/>
                </a:ln>
                <a:solidFill>
                  <a:srgbClr val="FA0007"/>
                </a:solidFill>
                <a:effectLst/>
                <a:uLnTx/>
                <a:uFillTx/>
                <a:latin typeface="Calibri" panose="020F0502020204030204"/>
                <a:ea typeface="+mn-ea"/>
                <a:cs typeface="+mn-cs"/>
              </a:rPr>
              <a:t>စုပြုံခြင်း</a:t>
            </a:r>
            <a:endParaRPr kumimoji="0" lang="en-US" sz="1500" b="1" i="0" u="none" strike="noStrike" kern="1200" cap="none" spc="0" normalizeH="0" baseline="0" noProof="0" dirty="0">
              <a:ln>
                <a:noFill/>
              </a:ln>
              <a:solidFill>
                <a:srgbClr val="FA0007"/>
              </a:solidFill>
              <a:effectLst/>
              <a:uLnTx/>
              <a:uFillTx/>
              <a:latin typeface="Calibri" panose="020F0502020204030204"/>
              <a:ea typeface="+mn-ea"/>
              <a:cs typeface="+mn-cs"/>
            </a:endParaRPr>
          </a:p>
        </p:txBody>
      </p:sp>
      <p:sp>
        <p:nvSpPr>
          <p:cNvPr id="126" name="TextBox 125">
            <a:extLst>
              <a:ext uri="{FF2B5EF4-FFF2-40B4-BE49-F238E27FC236}">
                <a16:creationId xmlns:a16="http://schemas.microsoft.com/office/drawing/2014/main" id="{E56336F0-B2F9-4ADF-B1AF-D4D3FC0C761F}"/>
              </a:ext>
            </a:extLst>
          </p:cNvPr>
          <p:cNvSpPr txBox="1"/>
          <p:nvPr/>
        </p:nvSpPr>
        <p:spPr>
          <a:xfrm>
            <a:off x="4656350" y="2888921"/>
            <a:ext cx="1729169" cy="711733"/>
          </a:xfrm>
          <a:prstGeom prst="rect">
            <a:avLst/>
          </a:prstGeom>
          <a:noFill/>
        </p:spPr>
        <p:txBody>
          <a:bodyPr wrap="square" rtlCol="0">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srgbClr val="FA0007"/>
                </a:solidFill>
                <a:effectLst/>
                <a:uLnTx/>
                <a:uFillTx/>
                <a:latin typeface="Calibri" panose="020F0502020204030204"/>
                <a:ea typeface="+mn-ea"/>
                <a:cs typeface="+mn-cs"/>
              </a:rPr>
              <a:t>စိတ်နှလုံး</a:t>
            </a:r>
            <a:r>
              <a:rPr kumimoji="0" lang="en-US" sz="1400" b="1" i="0" u="none" strike="noStrike" kern="1200" cap="none" spc="0" normalizeH="0" baseline="0" noProof="0" dirty="0">
                <a:ln>
                  <a:noFill/>
                </a:ln>
                <a:solidFill>
                  <a:srgbClr val="FA0007"/>
                </a:solidFill>
                <a:effectLst/>
                <a:uLnTx/>
                <a:uFillTx/>
                <a:latin typeface="Calibri" panose="020F0502020204030204"/>
                <a:ea typeface="+mn-ea"/>
                <a:cs typeface="+mn-cs"/>
              </a:rPr>
              <a:t> ချွ</a:t>
            </a:r>
            <a:r>
              <a:rPr kumimoji="0" lang="en-US" sz="1400" b="1" i="0" u="none" strike="noStrike" kern="1200" cap="none" spc="0" normalizeH="0" baseline="0" noProof="0" dirty="0" err="1">
                <a:ln>
                  <a:noFill/>
                </a:ln>
                <a:solidFill>
                  <a:srgbClr val="FA0007"/>
                </a:solidFill>
                <a:effectLst/>
                <a:uLnTx/>
                <a:uFillTx/>
                <a:latin typeface="Calibri" panose="020F0502020204030204"/>
                <a:ea typeface="+mn-ea"/>
                <a:cs typeface="+mn-cs"/>
              </a:rPr>
              <a:t>တ်ခြုံကျခြင်း</a:t>
            </a:r>
            <a:endParaRPr kumimoji="0" lang="en-US" sz="1400" b="1" i="0" u="none" strike="noStrike" kern="1200" cap="none" spc="0" normalizeH="0" baseline="0" noProof="0" dirty="0">
              <a:ln>
                <a:noFill/>
              </a:ln>
              <a:solidFill>
                <a:srgbClr val="FA0007"/>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FBE0A3D5-14AC-4006-914C-14B5C90B318F}"/>
              </a:ext>
            </a:extLst>
          </p:cNvPr>
          <p:cNvSpPr txBox="1"/>
          <p:nvPr/>
        </p:nvSpPr>
        <p:spPr>
          <a:xfrm>
            <a:off x="6398356" y="3068615"/>
            <a:ext cx="1593476" cy="3231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FA0007"/>
                </a:solidFill>
                <a:effectLst/>
                <a:uLnTx/>
                <a:uFillTx/>
                <a:latin typeface="Calibri" panose="020F0502020204030204"/>
                <a:ea typeface="+mn-ea"/>
                <a:cs typeface="+mn-cs"/>
              </a:rPr>
              <a:t>စိတ်ဒဏ်ရာ</a:t>
            </a:r>
            <a:endParaRPr kumimoji="0" lang="en-US" sz="1500" b="1" i="0" u="none" strike="noStrike" kern="1200" cap="none" spc="0" normalizeH="0" baseline="0" noProof="0" dirty="0">
              <a:ln>
                <a:noFill/>
              </a:ln>
              <a:solidFill>
                <a:srgbClr val="FA0007"/>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9723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object 2">
            <a:extLst>
              <a:ext uri="{FF2B5EF4-FFF2-40B4-BE49-F238E27FC236}">
                <a16:creationId xmlns:a16="http://schemas.microsoft.com/office/drawing/2014/main" id="{37E955E5-08A1-4460-AE12-4C07EAC8B74A}"/>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16</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17411" name="object 3">
            <a:extLst>
              <a:ext uri="{FF2B5EF4-FFF2-40B4-BE49-F238E27FC236}">
                <a16:creationId xmlns:a16="http://schemas.microsoft.com/office/drawing/2014/main" id="{01A2E0A5-0C84-4162-80E9-80EFE7BBF7E6}"/>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2" name="object 4">
            <a:extLst>
              <a:ext uri="{FF2B5EF4-FFF2-40B4-BE49-F238E27FC236}">
                <a16:creationId xmlns:a16="http://schemas.microsoft.com/office/drawing/2014/main" id="{BA799D95-CABF-47D6-9940-D14093AF4077}"/>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3" name="object 5">
            <a:extLst>
              <a:ext uri="{FF2B5EF4-FFF2-40B4-BE49-F238E27FC236}">
                <a16:creationId xmlns:a16="http://schemas.microsoft.com/office/drawing/2014/main" id="{2E035E1F-83A5-4BBC-8116-A3A1B764320A}"/>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4" name="object 6">
            <a:extLst>
              <a:ext uri="{FF2B5EF4-FFF2-40B4-BE49-F238E27FC236}">
                <a16:creationId xmlns:a16="http://schemas.microsoft.com/office/drawing/2014/main" id="{7C99C362-B9E2-43BA-B7A1-3AAEBDBB7EAA}"/>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5" name="object 7">
            <a:extLst>
              <a:ext uri="{FF2B5EF4-FFF2-40B4-BE49-F238E27FC236}">
                <a16:creationId xmlns:a16="http://schemas.microsoft.com/office/drawing/2014/main" id="{72533B6B-5415-46C2-B0AA-5D6E3D13E778}"/>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6" name="object 8">
            <a:extLst>
              <a:ext uri="{FF2B5EF4-FFF2-40B4-BE49-F238E27FC236}">
                <a16:creationId xmlns:a16="http://schemas.microsoft.com/office/drawing/2014/main" id="{BB33A885-7CC0-467A-8A05-CA5453445B76}"/>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7" name="object 9">
            <a:extLst>
              <a:ext uri="{FF2B5EF4-FFF2-40B4-BE49-F238E27FC236}">
                <a16:creationId xmlns:a16="http://schemas.microsoft.com/office/drawing/2014/main" id="{330B65CF-4C67-41C2-B5B7-34D9BA72E354}"/>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8" name="object 10">
            <a:extLst>
              <a:ext uri="{FF2B5EF4-FFF2-40B4-BE49-F238E27FC236}">
                <a16:creationId xmlns:a16="http://schemas.microsoft.com/office/drawing/2014/main" id="{54BD7EED-7921-4763-A538-1991B2A01DB4}"/>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19" name="object 11">
            <a:extLst>
              <a:ext uri="{FF2B5EF4-FFF2-40B4-BE49-F238E27FC236}">
                <a16:creationId xmlns:a16="http://schemas.microsoft.com/office/drawing/2014/main" id="{FEED9A73-674D-4991-9319-B4561A11C43A}"/>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0" name="object 12">
            <a:extLst>
              <a:ext uri="{FF2B5EF4-FFF2-40B4-BE49-F238E27FC236}">
                <a16:creationId xmlns:a16="http://schemas.microsoft.com/office/drawing/2014/main" id="{AF76EEC8-1058-4468-B6B6-93B03DA02821}"/>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1" name="object 13">
            <a:extLst>
              <a:ext uri="{FF2B5EF4-FFF2-40B4-BE49-F238E27FC236}">
                <a16:creationId xmlns:a16="http://schemas.microsoft.com/office/drawing/2014/main" id="{E98CAF2D-6F21-4EFD-8FFC-26030DE35691}"/>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2" name="object 14">
            <a:extLst>
              <a:ext uri="{FF2B5EF4-FFF2-40B4-BE49-F238E27FC236}">
                <a16:creationId xmlns:a16="http://schemas.microsoft.com/office/drawing/2014/main" id="{934AE503-76C4-44F1-9C78-028E716B2B75}"/>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3" name="object 15">
            <a:extLst>
              <a:ext uri="{FF2B5EF4-FFF2-40B4-BE49-F238E27FC236}">
                <a16:creationId xmlns:a16="http://schemas.microsoft.com/office/drawing/2014/main" id="{BFF3D335-D2DC-4C80-9349-9EDCDBDFFF45}"/>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4" name="object 16">
            <a:extLst>
              <a:ext uri="{FF2B5EF4-FFF2-40B4-BE49-F238E27FC236}">
                <a16:creationId xmlns:a16="http://schemas.microsoft.com/office/drawing/2014/main" id="{F2CE28CB-89F8-4600-A21C-EF7F775D7A46}"/>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5" name="object 17">
            <a:extLst>
              <a:ext uri="{FF2B5EF4-FFF2-40B4-BE49-F238E27FC236}">
                <a16:creationId xmlns:a16="http://schemas.microsoft.com/office/drawing/2014/main" id="{FAB586DD-EF6B-41D2-B04E-0F9E8132A6A8}"/>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6" name="object 18">
            <a:extLst>
              <a:ext uri="{FF2B5EF4-FFF2-40B4-BE49-F238E27FC236}">
                <a16:creationId xmlns:a16="http://schemas.microsoft.com/office/drawing/2014/main" id="{2D7200BD-1208-4912-ADB2-6A1C95514E48}"/>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27" name="object 19">
            <a:extLst>
              <a:ext uri="{FF2B5EF4-FFF2-40B4-BE49-F238E27FC236}">
                <a16:creationId xmlns:a16="http://schemas.microsoft.com/office/drawing/2014/main" id="{BF19F756-E767-4738-8A58-67F7C181CDBC}"/>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bject 20">
            <a:extLst>
              <a:ext uri="{FF2B5EF4-FFF2-40B4-BE49-F238E27FC236}">
                <a16:creationId xmlns:a16="http://schemas.microsoft.com/office/drawing/2014/main" id="{BC81241A-BB52-44A8-A9DC-E4F4EE3F4947}"/>
              </a:ext>
            </a:extLst>
          </p:cNvPr>
          <p:cNvSpPr txBox="1">
            <a:spLocks noGrp="1"/>
          </p:cNvSpPr>
          <p:nvPr>
            <p:ph type="title"/>
          </p:nvPr>
        </p:nvSpPr>
        <p:spPr/>
        <p:txBody>
          <a:bodyPr vert="horz" wrap="square" lIns="91440" tIns="432468" rIns="91440" bIns="45720" numCol="1" rtlCol="0" anchor="ctr" anchorCtr="0" compatLnSpc="1">
            <a:prstTxWarp prst="textNoShape">
              <a:avLst/>
            </a:prstTxWarp>
            <a:noAutofit/>
          </a:bodyPr>
          <a:lstStyle/>
          <a:p>
            <a:pPr marL="2135000" eaLnBrk="1" fontAlgn="auto" hangingPunct="1">
              <a:lnSpc>
                <a:spcPct val="100000"/>
              </a:lnSpc>
              <a:spcAft>
                <a:spcPts val="0"/>
              </a:spcAft>
              <a:defRPr/>
            </a:pPr>
            <a:r>
              <a:rPr lang="en-US" dirty="0" err="1"/>
              <a:t>စိတ်ဒဏ်ရာ</a:t>
            </a:r>
            <a:r>
              <a:rPr lang="en-US" dirty="0"/>
              <a:t> </a:t>
            </a:r>
            <a:r>
              <a:rPr lang="en-US" dirty="0" err="1"/>
              <a:t>ရစေသောနည်း</a:t>
            </a:r>
            <a:r>
              <a:rPr lang="en-US" dirty="0"/>
              <a:t> ၂ခု</a:t>
            </a:r>
            <a:endParaRPr dirty="0"/>
          </a:p>
        </p:txBody>
      </p:sp>
      <p:sp>
        <p:nvSpPr>
          <p:cNvPr id="17429" name="object 21">
            <a:extLst>
              <a:ext uri="{FF2B5EF4-FFF2-40B4-BE49-F238E27FC236}">
                <a16:creationId xmlns:a16="http://schemas.microsoft.com/office/drawing/2014/main" id="{770A0893-805B-4054-A9EF-D907D4CC94DB}"/>
              </a:ext>
            </a:extLst>
          </p:cNvPr>
          <p:cNvSpPr>
            <a:spLocks/>
          </p:cNvSpPr>
          <p:nvPr/>
        </p:nvSpPr>
        <p:spPr bwMode="auto">
          <a:xfrm>
            <a:off x="778096" y="1980386"/>
            <a:ext cx="3331814" cy="2510321"/>
          </a:xfrm>
          <a:custGeom>
            <a:avLst/>
            <a:gdLst>
              <a:gd name="T0" fmla="*/ 0 w 5769000"/>
              <a:gd name="T1" fmla="*/ 4346182 h 4346968"/>
              <a:gd name="T2" fmla="*/ 5768950 w 5769000"/>
              <a:gd name="T3" fmla="*/ 4346182 h 4346968"/>
              <a:gd name="T4" fmla="*/ 5768950 w 5769000"/>
              <a:gd name="T5" fmla="*/ 0 h 4346968"/>
              <a:gd name="T6" fmla="*/ 0 w 5769000"/>
              <a:gd name="T7" fmla="*/ 0 h 4346968"/>
              <a:gd name="T8" fmla="*/ 0 w 5769000"/>
              <a:gd name="T9" fmla="*/ 4346182 h 4346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9000" h="4346968">
                <a:moveTo>
                  <a:pt x="0" y="4346968"/>
                </a:moveTo>
                <a:lnTo>
                  <a:pt x="5769000" y="4346968"/>
                </a:lnTo>
                <a:lnTo>
                  <a:pt x="5769000" y="0"/>
                </a:lnTo>
                <a:lnTo>
                  <a:pt x="0" y="0"/>
                </a:lnTo>
                <a:lnTo>
                  <a:pt x="0" y="43469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0" name="object 22">
            <a:extLst>
              <a:ext uri="{FF2B5EF4-FFF2-40B4-BE49-F238E27FC236}">
                <a16:creationId xmlns:a16="http://schemas.microsoft.com/office/drawing/2014/main" id="{BC8E42FB-27CB-4E11-A7BE-80FF0D77B144}"/>
              </a:ext>
            </a:extLst>
          </p:cNvPr>
          <p:cNvSpPr>
            <a:spLocks/>
          </p:cNvSpPr>
          <p:nvPr/>
        </p:nvSpPr>
        <p:spPr bwMode="auto">
          <a:xfrm>
            <a:off x="5195455" y="1980386"/>
            <a:ext cx="3331814" cy="2510321"/>
          </a:xfrm>
          <a:custGeom>
            <a:avLst/>
            <a:gdLst>
              <a:gd name="T0" fmla="*/ 0 w 5769000"/>
              <a:gd name="T1" fmla="*/ 4346182 h 4346968"/>
              <a:gd name="T2" fmla="*/ 5768950 w 5769000"/>
              <a:gd name="T3" fmla="*/ 4346182 h 4346968"/>
              <a:gd name="T4" fmla="*/ 5768950 w 5769000"/>
              <a:gd name="T5" fmla="*/ 0 h 4346968"/>
              <a:gd name="T6" fmla="*/ 0 w 5769000"/>
              <a:gd name="T7" fmla="*/ 0 h 4346968"/>
              <a:gd name="T8" fmla="*/ 0 w 5769000"/>
              <a:gd name="T9" fmla="*/ 4346182 h 43469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769000" h="4346968">
                <a:moveTo>
                  <a:pt x="0" y="4346968"/>
                </a:moveTo>
                <a:lnTo>
                  <a:pt x="5769000" y="4346968"/>
                </a:lnTo>
                <a:lnTo>
                  <a:pt x="5769000" y="0"/>
                </a:lnTo>
                <a:lnTo>
                  <a:pt x="0" y="0"/>
                </a:lnTo>
                <a:lnTo>
                  <a:pt x="0" y="434696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1" name="object 23">
            <a:extLst>
              <a:ext uri="{FF2B5EF4-FFF2-40B4-BE49-F238E27FC236}">
                <a16:creationId xmlns:a16="http://schemas.microsoft.com/office/drawing/2014/main" id="{1A945DC0-A292-4256-8804-AB96CD861EA7}"/>
              </a:ext>
            </a:extLst>
          </p:cNvPr>
          <p:cNvSpPr txBox="1">
            <a:spLocks noChangeArrowheads="1"/>
          </p:cNvSpPr>
          <p:nvPr/>
        </p:nvSpPr>
        <p:spPr bwMode="auto">
          <a:xfrm>
            <a:off x="1285111" y="2583211"/>
            <a:ext cx="2317784" cy="1304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888" b="0" i="0" u="none" strike="noStrike" kern="1200" cap="none" spc="0" normalizeH="0" baseline="0" noProof="0" dirty="0" err="1">
                <a:ln>
                  <a:noFill/>
                </a:ln>
                <a:solidFill>
                  <a:srgbClr val="231F20"/>
                </a:solidFill>
                <a:effectLst/>
                <a:uLnTx/>
                <a:uFillTx/>
                <a:latin typeface="Gill Sans" pitchFamily="34" charset="0"/>
                <a:ea typeface="+mn-ea"/>
                <a:cs typeface="Gill Sans" pitchFamily="34" charset="0"/>
              </a:rPr>
              <a:t>ပြင်းထန်သော</a:t>
            </a:r>
            <a:r>
              <a:rPr kumimoji="0" lang="en-US" altLang="en-US" sz="2888" b="0" i="0" u="none" strike="noStrike" kern="1200" cap="none" spc="0" normalizeH="0" baseline="0" noProof="0" dirty="0">
                <a:ln>
                  <a:noFill/>
                </a:ln>
                <a:solidFill>
                  <a:srgbClr val="231F20"/>
                </a:solidFill>
                <a:effectLst/>
                <a:uLnTx/>
                <a:uFillTx/>
                <a:latin typeface="Gill Sans" pitchFamily="34" charset="0"/>
                <a:ea typeface="+mn-ea"/>
                <a:cs typeface="Gill Sans" pitchFamily="34" charset="0"/>
              </a:rPr>
              <a:t> </a:t>
            </a:r>
            <a:r>
              <a:rPr lang="en-US" altLang="en-US" sz="2888" dirty="0" err="1">
                <a:solidFill>
                  <a:srgbClr val="231F20"/>
                </a:solidFill>
                <a:latin typeface="Gill Sans" pitchFamily="34" charset="0"/>
                <a:cs typeface="Gill Sans" pitchFamily="34" charset="0"/>
              </a:rPr>
              <a:t>ထိခိုက်မှု</a:t>
            </a:r>
            <a:r>
              <a:rPr lang="en-US" altLang="en-US" sz="2888" dirty="0">
                <a:solidFill>
                  <a:srgbClr val="231F20"/>
                </a:solidFill>
                <a:latin typeface="Gill Sans" pitchFamily="34" charset="0"/>
                <a:cs typeface="Gill Sans" pitchFamily="34" charset="0"/>
              </a:rPr>
              <a:t> </a:t>
            </a:r>
            <a:endParaRPr kumimoji="0" lang="en-US" altLang="en-US" sz="2888"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17432" name="object 24">
            <a:extLst>
              <a:ext uri="{FF2B5EF4-FFF2-40B4-BE49-F238E27FC236}">
                <a16:creationId xmlns:a16="http://schemas.microsoft.com/office/drawing/2014/main" id="{551F2424-10BB-4B60-BC1D-D938A7B86AED}"/>
              </a:ext>
            </a:extLst>
          </p:cNvPr>
          <p:cNvSpPr txBox="1">
            <a:spLocks noChangeArrowheads="1"/>
          </p:cNvSpPr>
          <p:nvPr/>
        </p:nvSpPr>
        <p:spPr bwMode="auto">
          <a:xfrm>
            <a:off x="5781319" y="2506654"/>
            <a:ext cx="2600172" cy="1327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888" b="0" i="0" u="none" strike="noStrike" kern="1200" cap="none" spc="0" normalizeH="0" baseline="0" noProof="0" dirty="0" err="1">
                <a:ln>
                  <a:noFill/>
                </a:ln>
                <a:solidFill>
                  <a:srgbClr val="231F20"/>
                </a:solidFill>
                <a:effectLst/>
                <a:uLnTx/>
                <a:uFillTx/>
                <a:latin typeface="Gill Sans" pitchFamily="34" charset="0"/>
                <a:ea typeface="+mn-ea"/>
                <a:cs typeface="Gill Sans" pitchFamily="34" charset="0"/>
              </a:rPr>
              <a:t>တဆင</a:t>
            </a:r>
            <a:r>
              <a:rPr kumimoji="0" lang="en-US" altLang="en-US" sz="2888" b="0" i="0" u="none" strike="noStrike" kern="1200" cap="none" spc="0" normalizeH="0" baseline="0" noProof="0" dirty="0">
                <a:ln>
                  <a:noFill/>
                </a:ln>
                <a:solidFill>
                  <a:srgbClr val="231F20"/>
                </a:solidFill>
                <a:effectLst/>
                <a:uLnTx/>
                <a:uFillTx/>
                <a:latin typeface="Gill Sans" pitchFamily="34" charset="0"/>
                <a:ea typeface="+mn-ea"/>
                <a:cs typeface="Gill Sans" pitchFamily="34" charset="0"/>
              </a:rPr>
              <a:t>့်</a:t>
            </a:r>
            <a:r>
              <a:rPr kumimoji="0" lang="en-US" altLang="en-US" sz="2888" b="0" i="0" u="none" strike="noStrike" kern="1200" cap="none" spc="0" normalizeH="0" baseline="0" noProof="0" dirty="0" err="1">
                <a:ln>
                  <a:noFill/>
                </a:ln>
                <a:solidFill>
                  <a:srgbClr val="231F20"/>
                </a:solidFill>
                <a:effectLst/>
                <a:uLnTx/>
                <a:uFillTx/>
                <a:latin typeface="Gill Sans" pitchFamily="34" charset="0"/>
                <a:ea typeface="+mn-ea"/>
                <a:cs typeface="Gill Sans" pitchFamily="34" charset="0"/>
              </a:rPr>
              <a:t>ခံ</a:t>
            </a:r>
            <a:r>
              <a:rPr kumimoji="0" lang="en-US" altLang="en-US" sz="2888" b="0" i="0" u="none" strike="noStrike" kern="1200" cap="none" spc="0" normalizeH="0" baseline="0" noProof="0" dirty="0">
                <a:ln>
                  <a:noFill/>
                </a:ln>
                <a:solidFill>
                  <a:srgbClr val="231F20"/>
                </a:solidFill>
                <a:effectLst/>
                <a:uLnTx/>
                <a:uFillTx/>
                <a:latin typeface="Gill Sans" pitchFamily="34" charset="0"/>
                <a:ea typeface="+mn-ea"/>
                <a:cs typeface="Gill Sans" pitchFamily="34" charset="0"/>
              </a:rPr>
              <a:t> </a:t>
            </a:r>
            <a:r>
              <a:rPr kumimoji="0" lang="en-US" altLang="en-US" sz="2888" b="0" i="0" u="none" strike="noStrike" kern="1200" cap="none" spc="0" normalizeH="0" baseline="0" noProof="0" dirty="0" err="1">
                <a:ln>
                  <a:noFill/>
                </a:ln>
                <a:solidFill>
                  <a:srgbClr val="231F20"/>
                </a:solidFill>
                <a:effectLst/>
                <a:uLnTx/>
                <a:uFillTx/>
                <a:latin typeface="Gill Sans" pitchFamily="34" charset="0"/>
                <a:ea typeface="+mn-ea"/>
                <a:cs typeface="Gill Sans" pitchFamily="34" charset="0"/>
              </a:rPr>
              <a:t>စိတ်ဒဏ်ရာ</a:t>
            </a:r>
            <a:endParaRPr kumimoji="0" lang="en-US" altLang="en-US" sz="2888"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17433" name="object 25">
            <a:extLst>
              <a:ext uri="{FF2B5EF4-FFF2-40B4-BE49-F238E27FC236}">
                <a16:creationId xmlns:a16="http://schemas.microsoft.com/office/drawing/2014/main" id="{90F24205-243D-49AB-BD64-29F1D6544FF3}"/>
              </a:ext>
            </a:extLst>
          </p:cNvPr>
          <p:cNvSpPr>
            <a:spLocks/>
          </p:cNvSpPr>
          <p:nvPr/>
        </p:nvSpPr>
        <p:spPr bwMode="auto">
          <a:xfrm>
            <a:off x="778096" y="2061068"/>
            <a:ext cx="80682" cy="296141"/>
          </a:xfrm>
          <a:custGeom>
            <a:avLst/>
            <a:gdLst>
              <a:gd name="T0" fmla="*/ 0 w 140398"/>
              <a:gd name="T1" fmla="*/ 513720 h 511809"/>
              <a:gd name="T2" fmla="*/ 139005 w 140398"/>
              <a:gd name="T3" fmla="*/ 513720 h 511809"/>
              <a:gd name="T4" fmla="*/ 139005 w 140398"/>
              <a:gd name="T5" fmla="*/ 0 h 511809"/>
              <a:gd name="T6" fmla="*/ 0 w 140398"/>
              <a:gd name="T7" fmla="*/ 0 h 511809"/>
              <a:gd name="T8" fmla="*/ 0 w 140398"/>
              <a:gd name="T9" fmla="*/ 513720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10"/>
                </a:moveTo>
                <a:lnTo>
                  <a:pt x="140398" y="511810"/>
                </a:lnTo>
                <a:lnTo>
                  <a:pt x="140398" y="0"/>
                </a:lnTo>
                <a:lnTo>
                  <a:pt x="0" y="0"/>
                </a:lnTo>
                <a:lnTo>
                  <a:pt x="0" y="5118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4" name="object 26">
            <a:extLst>
              <a:ext uri="{FF2B5EF4-FFF2-40B4-BE49-F238E27FC236}">
                <a16:creationId xmlns:a16="http://schemas.microsoft.com/office/drawing/2014/main" id="{A58C6A24-99FE-4F20-9A24-B0FDE3C56326}"/>
              </a:ext>
            </a:extLst>
          </p:cNvPr>
          <p:cNvSpPr>
            <a:spLocks/>
          </p:cNvSpPr>
          <p:nvPr/>
        </p:nvSpPr>
        <p:spPr bwMode="auto">
          <a:xfrm>
            <a:off x="778096" y="1980385"/>
            <a:ext cx="375906" cy="80682"/>
          </a:xfrm>
          <a:custGeom>
            <a:avLst/>
            <a:gdLst>
              <a:gd name="T0" fmla="*/ 0 w 651573"/>
              <a:gd name="T1" fmla="*/ 138441 h 140970"/>
              <a:gd name="T2" fmla="*/ 650178 w 651573"/>
              <a:gd name="T3" fmla="*/ 138441 h 140970"/>
              <a:gd name="T4" fmla="*/ 650178 w 651573"/>
              <a:gd name="T5" fmla="*/ 0 h 140970"/>
              <a:gd name="T6" fmla="*/ 0 w 651573"/>
              <a:gd name="T7" fmla="*/ 0 h 140970"/>
              <a:gd name="T8" fmla="*/ 0 w 651573"/>
              <a:gd name="T9" fmla="*/ 138441 h 1409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73" h="140970">
                <a:moveTo>
                  <a:pt x="0" y="140970"/>
                </a:moveTo>
                <a:lnTo>
                  <a:pt x="651573" y="140970"/>
                </a:lnTo>
                <a:lnTo>
                  <a:pt x="651573" y="0"/>
                </a:lnTo>
                <a:lnTo>
                  <a:pt x="0" y="0"/>
                </a:lnTo>
                <a:lnTo>
                  <a:pt x="0" y="14097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5" name="object 27">
            <a:extLst>
              <a:ext uri="{FF2B5EF4-FFF2-40B4-BE49-F238E27FC236}">
                <a16:creationId xmlns:a16="http://schemas.microsoft.com/office/drawing/2014/main" id="{7A04AE52-F2A7-41BF-BE3F-430247084108}"/>
              </a:ext>
            </a:extLst>
          </p:cNvPr>
          <p:cNvSpPr>
            <a:spLocks/>
          </p:cNvSpPr>
          <p:nvPr/>
        </p:nvSpPr>
        <p:spPr bwMode="auto">
          <a:xfrm>
            <a:off x="5195455" y="2061068"/>
            <a:ext cx="80682" cy="296141"/>
          </a:xfrm>
          <a:custGeom>
            <a:avLst/>
            <a:gdLst>
              <a:gd name="T0" fmla="*/ 0 w 140398"/>
              <a:gd name="T1" fmla="*/ 513720 h 511809"/>
              <a:gd name="T2" fmla="*/ 139005 w 140398"/>
              <a:gd name="T3" fmla="*/ 513720 h 511809"/>
              <a:gd name="T4" fmla="*/ 139005 w 140398"/>
              <a:gd name="T5" fmla="*/ 0 h 511809"/>
              <a:gd name="T6" fmla="*/ 0 w 140398"/>
              <a:gd name="T7" fmla="*/ 0 h 511809"/>
              <a:gd name="T8" fmla="*/ 0 w 140398"/>
              <a:gd name="T9" fmla="*/ 513720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10"/>
                </a:moveTo>
                <a:lnTo>
                  <a:pt x="140398" y="511810"/>
                </a:lnTo>
                <a:lnTo>
                  <a:pt x="140398" y="0"/>
                </a:lnTo>
                <a:lnTo>
                  <a:pt x="0" y="0"/>
                </a:lnTo>
                <a:lnTo>
                  <a:pt x="0" y="5118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6" name="object 28">
            <a:extLst>
              <a:ext uri="{FF2B5EF4-FFF2-40B4-BE49-F238E27FC236}">
                <a16:creationId xmlns:a16="http://schemas.microsoft.com/office/drawing/2014/main" id="{36F771E9-742F-47E1-BC62-AF6D60C9B17F}"/>
              </a:ext>
            </a:extLst>
          </p:cNvPr>
          <p:cNvSpPr>
            <a:spLocks/>
          </p:cNvSpPr>
          <p:nvPr/>
        </p:nvSpPr>
        <p:spPr bwMode="auto">
          <a:xfrm>
            <a:off x="5195455" y="1980385"/>
            <a:ext cx="375906" cy="80682"/>
          </a:xfrm>
          <a:custGeom>
            <a:avLst/>
            <a:gdLst>
              <a:gd name="T0" fmla="*/ 0 w 651573"/>
              <a:gd name="T1" fmla="*/ 138441 h 140970"/>
              <a:gd name="T2" fmla="*/ 650178 w 651573"/>
              <a:gd name="T3" fmla="*/ 138441 h 140970"/>
              <a:gd name="T4" fmla="*/ 650178 w 651573"/>
              <a:gd name="T5" fmla="*/ 0 h 140970"/>
              <a:gd name="T6" fmla="*/ 0 w 651573"/>
              <a:gd name="T7" fmla="*/ 0 h 140970"/>
              <a:gd name="T8" fmla="*/ 0 w 651573"/>
              <a:gd name="T9" fmla="*/ 138441 h 1409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73" h="140970">
                <a:moveTo>
                  <a:pt x="0" y="140970"/>
                </a:moveTo>
                <a:lnTo>
                  <a:pt x="651573" y="140970"/>
                </a:lnTo>
                <a:lnTo>
                  <a:pt x="651573" y="0"/>
                </a:lnTo>
                <a:lnTo>
                  <a:pt x="0" y="0"/>
                </a:lnTo>
                <a:lnTo>
                  <a:pt x="0" y="14097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7" name="object 29">
            <a:extLst>
              <a:ext uri="{FF2B5EF4-FFF2-40B4-BE49-F238E27FC236}">
                <a16:creationId xmlns:a16="http://schemas.microsoft.com/office/drawing/2014/main" id="{E4AE500C-549A-483D-A109-0B4EA13AAB7E}"/>
              </a:ext>
            </a:extLst>
          </p:cNvPr>
          <p:cNvSpPr>
            <a:spLocks/>
          </p:cNvSpPr>
          <p:nvPr/>
        </p:nvSpPr>
        <p:spPr bwMode="auto">
          <a:xfrm>
            <a:off x="3733087" y="4395355"/>
            <a:ext cx="376823" cy="81599"/>
          </a:xfrm>
          <a:custGeom>
            <a:avLst/>
            <a:gdLst>
              <a:gd name="T0" fmla="*/ 0 w 651573"/>
              <a:gd name="T1" fmla="*/ 141607 h 140970"/>
              <a:gd name="T2" fmla="*/ 653352 w 651573"/>
              <a:gd name="T3" fmla="*/ 141607 h 140970"/>
              <a:gd name="T4" fmla="*/ 653352 w 651573"/>
              <a:gd name="T5" fmla="*/ 0 h 140970"/>
              <a:gd name="T6" fmla="*/ 0 w 651573"/>
              <a:gd name="T7" fmla="*/ 0 h 140970"/>
              <a:gd name="T8" fmla="*/ 0 w 651573"/>
              <a:gd name="T9" fmla="*/ 141607 h 1409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73" h="140970">
                <a:moveTo>
                  <a:pt x="0" y="140970"/>
                </a:moveTo>
                <a:lnTo>
                  <a:pt x="651573" y="140970"/>
                </a:lnTo>
                <a:lnTo>
                  <a:pt x="651573" y="0"/>
                </a:lnTo>
                <a:lnTo>
                  <a:pt x="0" y="0"/>
                </a:lnTo>
                <a:lnTo>
                  <a:pt x="0" y="14097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8" name="object 30">
            <a:extLst>
              <a:ext uri="{FF2B5EF4-FFF2-40B4-BE49-F238E27FC236}">
                <a16:creationId xmlns:a16="http://schemas.microsoft.com/office/drawing/2014/main" id="{83CFB560-4048-4806-AC42-F5C657994B1A}"/>
              </a:ext>
            </a:extLst>
          </p:cNvPr>
          <p:cNvSpPr>
            <a:spLocks/>
          </p:cNvSpPr>
          <p:nvPr/>
        </p:nvSpPr>
        <p:spPr bwMode="auto">
          <a:xfrm>
            <a:off x="4028311" y="4099214"/>
            <a:ext cx="81599" cy="296141"/>
          </a:xfrm>
          <a:custGeom>
            <a:avLst/>
            <a:gdLst>
              <a:gd name="T0" fmla="*/ 0 w 140398"/>
              <a:gd name="T1" fmla="*/ 513717 h 511809"/>
              <a:gd name="T2" fmla="*/ 142182 w 140398"/>
              <a:gd name="T3" fmla="*/ 513717 h 511809"/>
              <a:gd name="T4" fmla="*/ 142182 w 140398"/>
              <a:gd name="T5" fmla="*/ 0 h 511809"/>
              <a:gd name="T6" fmla="*/ 0 w 140398"/>
              <a:gd name="T7" fmla="*/ 0 h 511809"/>
              <a:gd name="T8" fmla="*/ 0 w 140398"/>
              <a:gd name="T9" fmla="*/ 513717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09"/>
                </a:moveTo>
                <a:lnTo>
                  <a:pt x="140398" y="511809"/>
                </a:lnTo>
                <a:lnTo>
                  <a:pt x="140398" y="0"/>
                </a:lnTo>
                <a:lnTo>
                  <a:pt x="0" y="0"/>
                </a:lnTo>
                <a:lnTo>
                  <a:pt x="0" y="51180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39" name="object 31">
            <a:extLst>
              <a:ext uri="{FF2B5EF4-FFF2-40B4-BE49-F238E27FC236}">
                <a16:creationId xmlns:a16="http://schemas.microsoft.com/office/drawing/2014/main" id="{7C8A114A-44B3-4113-911D-6F97760B4865}"/>
              </a:ext>
            </a:extLst>
          </p:cNvPr>
          <p:cNvSpPr>
            <a:spLocks/>
          </p:cNvSpPr>
          <p:nvPr/>
        </p:nvSpPr>
        <p:spPr bwMode="auto">
          <a:xfrm>
            <a:off x="8150446" y="4395355"/>
            <a:ext cx="376823" cy="81599"/>
          </a:xfrm>
          <a:custGeom>
            <a:avLst/>
            <a:gdLst>
              <a:gd name="T0" fmla="*/ 0 w 651573"/>
              <a:gd name="T1" fmla="*/ 141607 h 140970"/>
              <a:gd name="T2" fmla="*/ 653352 w 651573"/>
              <a:gd name="T3" fmla="*/ 141607 h 140970"/>
              <a:gd name="T4" fmla="*/ 653352 w 651573"/>
              <a:gd name="T5" fmla="*/ 0 h 140970"/>
              <a:gd name="T6" fmla="*/ 0 w 651573"/>
              <a:gd name="T7" fmla="*/ 0 h 140970"/>
              <a:gd name="T8" fmla="*/ 0 w 651573"/>
              <a:gd name="T9" fmla="*/ 141607 h 14097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73" h="140970">
                <a:moveTo>
                  <a:pt x="0" y="140970"/>
                </a:moveTo>
                <a:lnTo>
                  <a:pt x="651573" y="140970"/>
                </a:lnTo>
                <a:lnTo>
                  <a:pt x="651573" y="0"/>
                </a:lnTo>
                <a:lnTo>
                  <a:pt x="0" y="0"/>
                </a:lnTo>
                <a:lnTo>
                  <a:pt x="0" y="14097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0" name="object 32">
            <a:extLst>
              <a:ext uri="{FF2B5EF4-FFF2-40B4-BE49-F238E27FC236}">
                <a16:creationId xmlns:a16="http://schemas.microsoft.com/office/drawing/2014/main" id="{39F90C7F-CC2F-440D-A40B-779EA8708271}"/>
              </a:ext>
            </a:extLst>
          </p:cNvPr>
          <p:cNvSpPr>
            <a:spLocks/>
          </p:cNvSpPr>
          <p:nvPr/>
        </p:nvSpPr>
        <p:spPr bwMode="auto">
          <a:xfrm>
            <a:off x="8445670" y="4099214"/>
            <a:ext cx="81599" cy="296141"/>
          </a:xfrm>
          <a:custGeom>
            <a:avLst/>
            <a:gdLst>
              <a:gd name="T0" fmla="*/ 0 w 140398"/>
              <a:gd name="T1" fmla="*/ 513717 h 511809"/>
              <a:gd name="T2" fmla="*/ 142182 w 140398"/>
              <a:gd name="T3" fmla="*/ 513717 h 511809"/>
              <a:gd name="T4" fmla="*/ 142182 w 140398"/>
              <a:gd name="T5" fmla="*/ 0 h 511809"/>
              <a:gd name="T6" fmla="*/ 0 w 140398"/>
              <a:gd name="T7" fmla="*/ 0 h 511809"/>
              <a:gd name="T8" fmla="*/ 0 w 140398"/>
              <a:gd name="T9" fmla="*/ 513717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09"/>
                </a:moveTo>
                <a:lnTo>
                  <a:pt x="140398" y="511809"/>
                </a:lnTo>
                <a:lnTo>
                  <a:pt x="140398" y="0"/>
                </a:lnTo>
                <a:lnTo>
                  <a:pt x="0" y="0"/>
                </a:lnTo>
                <a:lnTo>
                  <a:pt x="0" y="51180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1" name="object 33">
            <a:extLst>
              <a:ext uri="{FF2B5EF4-FFF2-40B4-BE49-F238E27FC236}">
                <a16:creationId xmlns:a16="http://schemas.microsoft.com/office/drawing/2014/main" id="{E862A387-0CC4-48A9-8600-FDD2D2CA5B03}"/>
              </a:ext>
            </a:extLst>
          </p:cNvPr>
          <p:cNvSpPr>
            <a:spLocks/>
          </p:cNvSpPr>
          <p:nvPr/>
        </p:nvSpPr>
        <p:spPr bwMode="auto">
          <a:xfrm>
            <a:off x="4028311" y="2061985"/>
            <a:ext cx="81599" cy="294307"/>
          </a:xfrm>
          <a:custGeom>
            <a:avLst/>
            <a:gdLst>
              <a:gd name="T0" fmla="*/ 0 w 140398"/>
              <a:gd name="T1" fmla="*/ 508636 h 510540"/>
              <a:gd name="T2" fmla="*/ 142182 w 140398"/>
              <a:gd name="T3" fmla="*/ 508636 h 510540"/>
              <a:gd name="T4" fmla="*/ 142182 w 140398"/>
              <a:gd name="T5" fmla="*/ 0 h 510540"/>
              <a:gd name="T6" fmla="*/ 0 w 140398"/>
              <a:gd name="T7" fmla="*/ 0 h 510540"/>
              <a:gd name="T8" fmla="*/ 0 w 140398"/>
              <a:gd name="T9" fmla="*/ 508636 h 5105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0540">
                <a:moveTo>
                  <a:pt x="0" y="510540"/>
                </a:moveTo>
                <a:lnTo>
                  <a:pt x="140398" y="510540"/>
                </a:lnTo>
                <a:lnTo>
                  <a:pt x="140398" y="0"/>
                </a:lnTo>
                <a:lnTo>
                  <a:pt x="0" y="0"/>
                </a:lnTo>
                <a:lnTo>
                  <a:pt x="0" y="5105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2" name="object 34">
            <a:extLst>
              <a:ext uri="{FF2B5EF4-FFF2-40B4-BE49-F238E27FC236}">
                <a16:creationId xmlns:a16="http://schemas.microsoft.com/office/drawing/2014/main" id="{28E9FFC5-DC76-4038-B939-BD18C893E92D}"/>
              </a:ext>
            </a:extLst>
          </p:cNvPr>
          <p:cNvSpPr>
            <a:spLocks/>
          </p:cNvSpPr>
          <p:nvPr/>
        </p:nvSpPr>
        <p:spPr bwMode="auto">
          <a:xfrm>
            <a:off x="3733087" y="1980385"/>
            <a:ext cx="376823" cy="81599"/>
          </a:xfrm>
          <a:custGeom>
            <a:avLst/>
            <a:gdLst>
              <a:gd name="T0" fmla="*/ 0 w 651598"/>
              <a:gd name="T1" fmla="*/ 141608 h 140969"/>
              <a:gd name="T2" fmla="*/ 653327 w 651598"/>
              <a:gd name="T3" fmla="*/ 141608 h 140969"/>
              <a:gd name="T4" fmla="*/ 653327 w 651598"/>
              <a:gd name="T5" fmla="*/ 0 h 140969"/>
              <a:gd name="T6" fmla="*/ 0 w 651598"/>
              <a:gd name="T7" fmla="*/ 0 h 140969"/>
              <a:gd name="T8" fmla="*/ 0 w 651598"/>
              <a:gd name="T9" fmla="*/ 141608 h 1409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98" h="140969">
                <a:moveTo>
                  <a:pt x="0" y="140969"/>
                </a:moveTo>
                <a:lnTo>
                  <a:pt x="651598" y="140969"/>
                </a:lnTo>
                <a:lnTo>
                  <a:pt x="651598" y="0"/>
                </a:lnTo>
                <a:lnTo>
                  <a:pt x="0" y="0"/>
                </a:lnTo>
                <a:lnTo>
                  <a:pt x="0" y="14096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3" name="object 35">
            <a:extLst>
              <a:ext uri="{FF2B5EF4-FFF2-40B4-BE49-F238E27FC236}">
                <a16:creationId xmlns:a16="http://schemas.microsoft.com/office/drawing/2014/main" id="{D0572250-A7B5-4707-8D52-9DD7FB95DF84}"/>
              </a:ext>
            </a:extLst>
          </p:cNvPr>
          <p:cNvSpPr>
            <a:spLocks/>
          </p:cNvSpPr>
          <p:nvPr/>
        </p:nvSpPr>
        <p:spPr bwMode="auto">
          <a:xfrm>
            <a:off x="8445670" y="2061985"/>
            <a:ext cx="81599" cy="294307"/>
          </a:xfrm>
          <a:custGeom>
            <a:avLst/>
            <a:gdLst>
              <a:gd name="T0" fmla="*/ 0 w 140398"/>
              <a:gd name="T1" fmla="*/ 508636 h 510540"/>
              <a:gd name="T2" fmla="*/ 142182 w 140398"/>
              <a:gd name="T3" fmla="*/ 508636 h 510540"/>
              <a:gd name="T4" fmla="*/ 142182 w 140398"/>
              <a:gd name="T5" fmla="*/ 0 h 510540"/>
              <a:gd name="T6" fmla="*/ 0 w 140398"/>
              <a:gd name="T7" fmla="*/ 0 h 510540"/>
              <a:gd name="T8" fmla="*/ 0 w 140398"/>
              <a:gd name="T9" fmla="*/ 508636 h 5105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0540">
                <a:moveTo>
                  <a:pt x="0" y="510540"/>
                </a:moveTo>
                <a:lnTo>
                  <a:pt x="140398" y="510540"/>
                </a:lnTo>
                <a:lnTo>
                  <a:pt x="140398" y="0"/>
                </a:lnTo>
                <a:lnTo>
                  <a:pt x="0" y="0"/>
                </a:lnTo>
                <a:lnTo>
                  <a:pt x="0" y="51054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4" name="object 36">
            <a:extLst>
              <a:ext uri="{FF2B5EF4-FFF2-40B4-BE49-F238E27FC236}">
                <a16:creationId xmlns:a16="http://schemas.microsoft.com/office/drawing/2014/main" id="{52D661F4-408A-42AF-ACAC-179695010CCF}"/>
              </a:ext>
            </a:extLst>
          </p:cNvPr>
          <p:cNvSpPr>
            <a:spLocks/>
          </p:cNvSpPr>
          <p:nvPr/>
        </p:nvSpPr>
        <p:spPr bwMode="auto">
          <a:xfrm>
            <a:off x="8150446" y="1980385"/>
            <a:ext cx="376823" cy="81599"/>
          </a:xfrm>
          <a:custGeom>
            <a:avLst/>
            <a:gdLst>
              <a:gd name="T0" fmla="*/ 0 w 651598"/>
              <a:gd name="T1" fmla="*/ 141608 h 140969"/>
              <a:gd name="T2" fmla="*/ 653327 w 651598"/>
              <a:gd name="T3" fmla="*/ 141608 h 140969"/>
              <a:gd name="T4" fmla="*/ 653327 w 651598"/>
              <a:gd name="T5" fmla="*/ 0 h 140969"/>
              <a:gd name="T6" fmla="*/ 0 w 651598"/>
              <a:gd name="T7" fmla="*/ 0 h 140969"/>
              <a:gd name="T8" fmla="*/ 0 w 651598"/>
              <a:gd name="T9" fmla="*/ 141608 h 1409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98" h="140969">
                <a:moveTo>
                  <a:pt x="0" y="140969"/>
                </a:moveTo>
                <a:lnTo>
                  <a:pt x="651598" y="140969"/>
                </a:lnTo>
                <a:lnTo>
                  <a:pt x="651598" y="0"/>
                </a:lnTo>
                <a:lnTo>
                  <a:pt x="0" y="0"/>
                </a:lnTo>
                <a:lnTo>
                  <a:pt x="0" y="14096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5" name="object 37">
            <a:extLst>
              <a:ext uri="{FF2B5EF4-FFF2-40B4-BE49-F238E27FC236}">
                <a16:creationId xmlns:a16="http://schemas.microsoft.com/office/drawing/2014/main" id="{0926F99A-5951-494E-8F5E-ADB6CEAAE7FA}"/>
              </a:ext>
            </a:extLst>
          </p:cNvPr>
          <p:cNvSpPr>
            <a:spLocks/>
          </p:cNvSpPr>
          <p:nvPr/>
        </p:nvSpPr>
        <p:spPr bwMode="auto">
          <a:xfrm>
            <a:off x="778096" y="4395355"/>
            <a:ext cx="375906" cy="80682"/>
          </a:xfrm>
          <a:custGeom>
            <a:avLst/>
            <a:gdLst>
              <a:gd name="T0" fmla="*/ 0 w 651598"/>
              <a:gd name="T1" fmla="*/ 139699 h 139700"/>
              <a:gd name="T2" fmla="*/ 650153 w 651598"/>
              <a:gd name="T3" fmla="*/ 139699 h 139700"/>
              <a:gd name="T4" fmla="*/ 650153 w 651598"/>
              <a:gd name="T5" fmla="*/ 0 h 139700"/>
              <a:gd name="T6" fmla="*/ 0 w 651598"/>
              <a:gd name="T7" fmla="*/ 0 h 139700"/>
              <a:gd name="T8" fmla="*/ 0 w 651598"/>
              <a:gd name="T9" fmla="*/ 139699 h 1397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98" h="139700">
                <a:moveTo>
                  <a:pt x="0" y="139699"/>
                </a:moveTo>
                <a:lnTo>
                  <a:pt x="651598" y="139699"/>
                </a:lnTo>
                <a:lnTo>
                  <a:pt x="651598" y="0"/>
                </a:lnTo>
                <a:lnTo>
                  <a:pt x="0" y="0"/>
                </a:lnTo>
                <a:lnTo>
                  <a:pt x="0" y="13969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6" name="object 38">
            <a:extLst>
              <a:ext uri="{FF2B5EF4-FFF2-40B4-BE49-F238E27FC236}">
                <a16:creationId xmlns:a16="http://schemas.microsoft.com/office/drawing/2014/main" id="{77112196-69FA-429C-8B55-C62F23C45F12}"/>
              </a:ext>
            </a:extLst>
          </p:cNvPr>
          <p:cNvSpPr>
            <a:spLocks/>
          </p:cNvSpPr>
          <p:nvPr/>
        </p:nvSpPr>
        <p:spPr bwMode="auto">
          <a:xfrm>
            <a:off x="778096" y="4100131"/>
            <a:ext cx="80682" cy="295224"/>
          </a:xfrm>
          <a:custGeom>
            <a:avLst/>
            <a:gdLst>
              <a:gd name="T0" fmla="*/ 0 w 140398"/>
              <a:gd name="T1" fmla="*/ 510543 h 511809"/>
              <a:gd name="T2" fmla="*/ 139005 w 140398"/>
              <a:gd name="T3" fmla="*/ 510543 h 511809"/>
              <a:gd name="T4" fmla="*/ 139005 w 140398"/>
              <a:gd name="T5" fmla="*/ 0 h 511809"/>
              <a:gd name="T6" fmla="*/ 0 w 140398"/>
              <a:gd name="T7" fmla="*/ 0 h 511809"/>
              <a:gd name="T8" fmla="*/ 0 w 140398"/>
              <a:gd name="T9" fmla="*/ 510543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10"/>
                </a:moveTo>
                <a:lnTo>
                  <a:pt x="140398" y="511810"/>
                </a:lnTo>
                <a:lnTo>
                  <a:pt x="140398" y="0"/>
                </a:lnTo>
                <a:lnTo>
                  <a:pt x="0" y="0"/>
                </a:lnTo>
                <a:lnTo>
                  <a:pt x="0" y="5118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7" name="object 39">
            <a:extLst>
              <a:ext uri="{FF2B5EF4-FFF2-40B4-BE49-F238E27FC236}">
                <a16:creationId xmlns:a16="http://schemas.microsoft.com/office/drawing/2014/main" id="{400B99F1-84ED-4FE6-97D2-39EEC33DFA9E}"/>
              </a:ext>
            </a:extLst>
          </p:cNvPr>
          <p:cNvSpPr>
            <a:spLocks/>
          </p:cNvSpPr>
          <p:nvPr/>
        </p:nvSpPr>
        <p:spPr bwMode="auto">
          <a:xfrm>
            <a:off x="5195455" y="4395355"/>
            <a:ext cx="375906" cy="80682"/>
          </a:xfrm>
          <a:custGeom>
            <a:avLst/>
            <a:gdLst>
              <a:gd name="T0" fmla="*/ 0 w 651598"/>
              <a:gd name="T1" fmla="*/ 139699 h 139700"/>
              <a:gd name="T2" fmla="*/ 650153 w 651598"/>
              <a:gd name="T3" fmla="*/ 139699 h 139700"/>
              <a:gd name="T4" fmla="*/ 650153 w 651598"/>
              <a:gd name="T5" fmla="*/ 0 h 139700"/>
              <a:gd name="T6" fmla="*/ 0 w 651598"/>
              <a:gd name="T7" fmla="*/ 0 h 139700"/>
              <a:gd name="T8" fmla="*/ 0 w 651598"/>
              <a:gd name="T9" fmla="*/ 139699 h 1397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51598" h="139700">
                <a:moveTo>
                  <a:pt x="0" y="139699"/>
                </a:moveTo>
                <a:lnTo>
                  <a:pt x="651598" y="139699"/>
                </a:lnTo>
                <a:lnTo>
                  <a:pt x="651598" y="0"/>
                </a:lnTo>
                <a:lnTo>
                  <a:pt x="0" y="0"/>
                </a:lnTo>
                <a:lnTo>
                  <a:pt x="0" y="13969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48" name="object 40">
            <a:extLst>
              <a:ext uri="{FF2B5EF4-FFF2-40B4-BE49-F238E27FC236}">
                <a16:creationId xmlns:a16="http://schemas.microsoft.com/office/drawing/2014/main" id="{00D33907-267A-4CF6-99B7-D996C600B60A}"/>
              </a:ext>
            </a:extLst>
          </p:cNvPr>
          <p:cNvSpPr>
            <a:spLocks/>
          </p:cNvSpPr>
          <p:nvPr/>
        </p:nvSpPr>
        <p:spPr bwMode="auto">
          <a:xfrm>
            <a:off x="5195455" y="4100131"/>
            <a:ext cx="80682" cy="295224"/>
          </a:xfrm>
          <a:custGeom>
            <a:avLst/>
            <a:gdLst>
              <a:gd name="T0" fmla="*/ 0 w 140398"/>
              <a:gd name="T1" fmla="*/ 510543 h 511809"/>
              <a:gd name="T2" fmla="*/ 139005 w 140398"/>
              <a:gd name="T3" fmla="*/ 510543 h 511809"/>
              <a:gd name="T4" fmla="*/ 139005 w 140398"/>
              <a:gd name="T5" fmla="*/ 0 h 511809"/>
              <a:gd name="T6" fmla="*/ 0 w 140398"/>
              <a:gd name="T7" fmla="*/ 0 h 511809"/>
              <a:gd name="T8" fmla="*/ 0 w 140398"/>
              <a:gd name="T9" fmla="*/ 510543 h 51180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0398" h="511809">
                <a:moveTo>
                  <a:pt x="0" y="511810"/>
                </a:moveTo>
                <a:lnTo>
                  <a:pt x="140398" y="511810"/>
                </a:lnTo>
                <a:lnTo>
                  <a:pt x="140398" y="0"/>
                </a:lnTo>
                <a:lnTo>
                  <a:pt x="0" y="0"/>
                </a:lnTo>
                <a:lnTo>
                  <a:pt x="0" y="51181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41">
            <a:extLst>
              <a:ext uri="{FF2B5EF4-FFF2-40B4-BE49-F238E27FC236}">
                <a16:creationId xmlns:a16="http://schemas.microsoft.com/office/drawing/2014/main" id="{CB0F41F6-9648-4698-ABEC-4A5085C1A6AE}"/>
              </a:ext>
            </a:extLst>
          </p:cNvPr>
          <p:cNvSpPr>
            <a:spLocks noGrp="1"/>
          </p:cNvSpPr>
          <p:nvPr>
            <p:ph type="ftr" sz="quarter" idx="10"/>
          </p:nvPr>
        </p:nvSpPr>
        <p:spPr/>
        <p:txBody>
          <a:bodyPr vert="horz" rtlCol="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e</a:t>
            </a:r>
            <a:r>
              <a:rPr kumimoji="0" sz="899" b="0" i="0" u="none" strike="noStrike" kern="1200" cap="none" spc="9"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12" normalizeH="0" baseline="0" noProof="0">
                <a:ln>
                  <a:noFill/>
                </a:ln>
                <a:solidFill>
                  <a:prstClr val="black">
                    <a:tint val="75000"/>
                  </a:prstClr>
                </a:solidFill>
                <a:effectLst/>
                <a:uLnTx/>
                <a:uFillTx/>
                <a:latin typeface="Calibri" panose="020F0502020204030204"/>
                <a:ea typeface="+mn-ea"/>
                <a:cs typeface="+mn-cs"/>
              </a:rPr>
              <a:t>t</a:t>
            </a:r>
            <a:r>
              <a:rPr kumimoji="0" sz="899" b="0" i="0" u="none" strike="noStrike" kern="1200" cap="none" spc="-6" normalizeH="0" baseline="0" noProof="0">
                <a:ln>
                  <a:noFill/>
                </a:ln>
                <a:solidFill>
                  <a:prstClr val="black">
                    <a:tint val="75000"/>
                  </a:prstClr>
                </a:solidFill>
                <a:effectLst/>
                <a:uLnTx/>
                <a:uFillTx/>
                <a:latin typeface="Calibri" panose="020F0502020204030204"/>
                <a:ea typeface="+mn-ea"/>
                <a:cs typeface="+mn-cs"/>
              </a:rPr>
              <a:t>i</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n</a:t>
            </a:r>
            <a:r>
              <a:rPr kumimoji="0" sz="899" b="0" i="0" u="none" strike="noStrike" kern="1200" cap="none" spc="3" normalizeH="0" baseline="0" noProof="0">
                <a:ln>
                  <a:noFill/>
                </a:ln>
                <a:solidFill>
                  <a:prstClr val="black">
                    <a:tint val="75000"/>
                  </a:prstClr>
                </a:solidFill>
                <a:effectLst/>
                <a:uLnTx/>
                <a:uFillTx/>
                <a:latin typeface="Calibri" panose="020F0502020204030204"/>
                <a:ea typeface="+mn-ea"/>
                <a:cs typeface="+mn-cs"/>
              </a:rPr>
              <a:t> </a:t>
            </a:r>
            <a:r>
              <a:rPr kumimoji="0" sz="899" b="0" i="0" u="none" strike="noStrike" kern="1200" cap="none" spc="17"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
            </a:r>
            <a:endParaRPr kumimoji="0" sz="8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object 2">
            <a:extLst>
              <a:ext uri="{FF2B5EF4-FFF2-40B4-BE49-F238E27FC236}">
                <a16:creationId xmlns:a16="http://schemas.microsoft.com/office/drawing/2014/main" id="{71521E65-7BEC-4E05-AF81-94937E5DBB23}"/>
              </a:ext>
            </a:extLst>
          </p:cNvPr>
          <p:cNvSpPr>
            <a:spLocks/>
          </p:cNvSpPr>
          <p:nvPr/>
        </p:nvSpPr>
        <p:spPr bwMode="auto">
          <a:xfrm>
            <a:off x="2445" y="5795377"/>
            <a:ext cx="9140027" cy="118273"/>
          </a:xfrm>
          <a:custGeom>
            <a:avLst/>
            <a:gdLst>
              <a:gd name="T0" fmla="*/ 0 w 15825596"/>
              <a:gd name="T1" fmla="*/ 0 h 204177"/>
              <a:gd name="T2" fmla="*/ 0 w 15825596"/>
              <a:gd name="T3" fmla="*/ 205399 h 204177"/>
              <a:gd name="T4" fmla="*/ 15825980 w 15825596"/>
              <a:gd name="T5" fmla="*/ 205399 h 204177"/>
              <a:gd name="T6" fmla="*/ 15825980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5" name="object 3">
            <a:extLst>
              <a:ext uri="{FF2B5EF4-FFF2-40B4-BE49-F238E27FC236}">
                <a16:creationId xmlns:a16="http://schemas.microsoft.com/office/drawing/2014/main" id="{EE35B38F-1CFC-4497-98E0-4BEA9FFEE663}"/>
              </a:ext>
            </a:extLst>
          </p:cNvPr>
          <p:cNvSpPr>
            <a:spLocks/>
          </p:cNvSpPr>
          <p:nvPr/>
        </p:nvSpPr>
        <p:spPr bwMode="auto">
          <a:xfrm>
            <a:off x="2445" y="5603756"/>
            <a:ext cx="1435779" cy="191621"/>
          </a:xfrm>
          <a:custGeom>
            <a:avLst/>
            <a:gdLst>
              <a:gd name="T0" fmla="*/ 0 w 2486525"/>
              <a:gd name="T1" fmla="*/ 330940 h 332638"/>
              <a:gd name="T2" fmla="*/ 2438021 w 2486525"/>
              <a:gd name="T3" fmla="*/ 330940 h 332638"/>
              <a:gd name="T4" fmla="*/ 2460182 w 2486525"/>
              <a:gd name="T5" fmla="*/ 330621 h 332638"/>
              <a:gd name="T6" fmla="*/ 2485517 w 2486525"/>
              <a:gd name="T7" fmla="*/ 291061 h 332638"/>
              <a:gd name="T8" fmla="*/ 2485525 w 2486525"/>
              <a:gd name="T9" fmla="*/ 47281 h 332638"/>
              <a:gd name="T10" fmla="*/ 2485204 w 2486525"/>
              <a:gd name="T11" fmla="*/ 25222 h 332638"/>
              <a:gd name="T12" fmla="*/ 2445458 w 2486525"/>
              <a:gd name="T13" fmla="*/ 7 h 332638"/>
              <a:gd name="T14" fmla="*/ 0 w 2486525"/>
              <a:gd name="T15" fmla="*/ 0 h 332638"/>
              <a:gd name="T16" fmla="*/ 0 w 2486525"/>
              <a:gd name="T17" fmla="*/ 330940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6" name="object 4">
            <a:extLst>
              <a:ext uri="{FF2B5EF4-FFF2-40B4-BE49-F238E27FC236}">
                <a16:creationId xmlns:a16="http://schemas.microsoft.com/office/drawing/2014/main" id="{5B55AA88-300B-4CAF-A25F-6CA92494D1E6}"/>
              </a:ext>
            </a:extLst>
          </p:cNvPr>
          <p:cNvSpPr>
            <a:spLocks/>
          </p:cNvSpPr>
          <p:nvPr/>
        </p:nvSpPr>
        <p:spPr bwMode="auto">
          <a:xfrm>
            <a:off x="2445" y="0"/>
            <a:ext cx="9140027" cy="118273"/>
          </a:xfrm>
          <a:custGeom>
            <a:avLst/>
            <a:gdLst>
              <a:gd name="T0" fmla="*/ 0 w 15825596"/>
              <a:gd name="T1" fmla="*/ 205401 h 204177"/>
              <a:gd name="T2" fmla="*/ 15825980 w 15825596"/>
              <a:gd name="T3" fmla="*/ 205401 h 204177"/>
              <a:gd name="T4" fmla="*/ 15825980 w 15825596"/>
              <a:gd name="T5" fmla="*/ 0 h 204177"/>
              <a:gd name="T6" fmla="*/ 0 w 15825596"/>
              <a:gd name="T7" fmla="*/ 0 h 204177"/>
              <a:gd name="T8" fmla="*/ 0 w 15825596"/>
              <a:gd name="T9" fmla="*/ 205401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7" name="object 5">
            <a:extLst>
              <a:ext uri="{FF2B5EF4-FFF2-40B4-BE49-F238E27FC236}">
                <a16:creationId xmlns:a16="http://schemas.microsoft.com/office/drawing/2014/main" id="{C5D1953C-2FA3-4850-AEE9-260CEFE17106}"/>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38" name="object 6">
            <a:extLst>
              <a:ext uri="{FF2B5EF4-FFF2-40B4-BE49-F238E27FC236}">
                <a16:creationId xmlns:a16="http://schemas.microsoft.com/office/drawing/2014/main" id="{8EE07649-A48F-4EEE-9F79-60626E834ED2}"/>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17</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18439" name="object 7">
            <a:extLst>
              <a:ext uri="{FF2B5EF4-FFF2-40B4-BE49-F238E27FC236}">
                <a16:creationId xmlns:a16="http://schemas.microsoft.com/office/drawing/2014/main" id="{DECE3B37-49F7-488D-A3EE-171801D731F3}"/>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0" name="object 8">
            <a:extLst>
              <a:ext uri="{FF2B5EF4-FFF2-40B4-BE49-F238E27FC236}">
                <a16:creationId xmlns:a16="http://schemas.microsoft.com/office/drawing/2014/main" id="{65F077E0-6A0C-475B-B6F0-AA11A841A660}"/>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1" name="object 9">
            <a:extLst>
              <a:ext uri="{FF2B5EF4-FFF2-40B4-BE49-F238E27FC236}">
                <a16:creationId xmlns:a16="http://schemas.microsoft.com/office/drawing/2014/main" id="{94C46769-EB1C-429A-86A0-C2F0804857FF}"/>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2" name="object 10">
            <a:extLst>
              <a:ext uri="{FF2B5EF4-FFF2-40B4-BE49-F238E27FC236}">
                <a16:creationId xmlns:a16="http://schemas.microsoft.com/office/drawing/2014/main" id="{7714E31E-7EC1-428E-BA69-198F962982AA}"/>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3" name="object 11">
            <a:extLst>
              <a:ext uri="{FF2B5EF4-FFF2-40B4-BE49-F238E27FC236}">
                <a16:creationId xmlns:a16="http://schemas.microsoft.com/office/drawing/2014/main" id="{F2FC83DF-9524-4C0B-8668-855542C92C50}"/>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4" name="object 12">
            <a:extLst>
              <a:ext uri="{FF2B5EF4-FFF2-40B4-BE49-F238E27FC236}">
                <a16:creationId xmlns:a16="http://schemas.microsoft.com/office/drawing/2014/main" id="{66F68BCE-3A3A-40CE-B97D-CBE773B9E3C7}"/>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5" name="object 13">
            <a:extLst>
              <a:ext uri="{FF2B5EF4-FFF2-40B4-BE49-F238E27FC236}">
                <a16:creationId xmlns:a16="http://schemas.microsoft.com/office/drawing/2014/main" id="{3648DD85-EC4F-4B17-AEB5-CB5D5557A4C1}"/>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6" name="object 14">
            <a:extLst>
              <a:ext uri="{FF2B5EF4-FFF2-40B4-BE49-F238E27FC236}">
                <a16:creationId xmlns:a16="http://schemas.microsoft.com/office/drawing/2014/main" id="{67507304-29CE-4884-A61A-EC94B3FB3C8F}"/>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7" name="object 15">
            <a:extLst>
              <a:ext uri="{FF2B5EF4-FFF2-40B4-BE49-F238E27FC236}">
                <a16:creationId xmlns:a16="http://schemas.microsoft.com/office/drawing/2014/main" id="{E624DC16-9CDC-4140-A1C5-9454803FE5B0}"/>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8" name="object 16">
            <a:extLst>
              <a:ext uri="{FF2B5EF4-FFF2-40B4-BE49-F238E27FC236}">
                <a16:creationId xmlns:a16="http://schemas.microsoft.com/office/drawing/2014/main" id="{033DB254-4335-40C7-A138-D68B54A77EF1}"/>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49" name="object 17">
            <a:extLst>
              <a:ext uri="{FF2B5EF4-FFF2-40B4-BE49-F238E27FC236}">
                <a16:creationId xmlns:a16="http://schemas.microsoft.com/office/drawing/2014/main" id="{C02E78F3-312D-41C3-BC0A-E7C122A4042E}"/>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0" name="object 18">
            <a:extLst>
              <a:ext uri="{FF2B5EF4-FFF2-40B4-BE49-F238E27FC236}">
                <a16:creationId xmlns:a16="http://schemas.microsoft.com/office/drawing/2014/main" id="{79A64CBD-DD0C-40BE-B73F-4956D6F0AD21}"/>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1" name="object 19">
            <a:extLst>
              <a:ext uri="{FF2B5EF4-FFF2-40B4-BE49-F238E27FC236}">
                <a16:creationId xmlns:a16="http://schemas.microsoft.com/office/drawing/2014/main" id="{E3267687-8901-4848-9F5A-BD21D7A07EAF}"/>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2" name="object 20">
            <a:extLst>
              <a:ext uri="{FF2B5EF4-FFF2-40B4-BE49-F238E27FC236}">
                <a16:creationId xmlns:a16="http://schemas.microsoft.com/office/drawing/2014/main" id="{96F26112-4AC5-4D75-83D2-EDF156BF943F}"/>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3" name="object 21">
            <a:extLst>
              <a:ext uri="{FF2B5EF4-FFF2-40B4-BE49-F238E27FC236}">
                <a16:creationId xmlns:a16="http://schemas.microsoft.com/office/drawing/2014/main" id="{86DE9501-0788-44D3-92DE-C3B5CA772417}"/>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4" name="object 22">
            <a:extLst>
              <a:ext uri="{FF2B5EF4-FFF2-40B4-BE49-F238E27FC236}">
                <a16:creationId xmlns:a16="http://schemas.microsoft.com/office/drawing/2014/main" id="{2780382C-CE8D-4069-8A90-AD1944CA24CD}"/>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5" name="object 23">
            <a:extLst>
              <a:ext uri="{FF2B5EF4-FFF2-40B4-BE49-F238E27FC236}">
                <a16:creationId xmlns:a16="http://schemas.microsoft.com/office/drawing/2014/main" id="{47359B1B-ADAC-4433-B059-C8D76192CC9A}"/>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6" name="object 24">
            <a:extLst>
              <a:ext uri="{FF2B5EF4-FFF2-40B4-BE49-F238E27FC236}">
                <a16:creationId xmlns:a16="http://schemas.microsoft.com/office/drawing/2014/main" id="{CE1ADA45-49B8-43A5-AD61-E62259013058}"/>
              </a:ext>
            </a:extLst>
          </p:cNvPr>
          <p:cNvSpPr>
            <a:spLocks/>
          </p:cNvSpPr>
          <p:nvPr/>
        </p:nvSpPr>
        <p:spPr bwMode="auto">
          <a:xfrm>
            <a:off x="1597755" y="2136249"/>
            <a:ext cx="4950963" cy="609702"/>
          </a:xfrm>
          <a:custGeom>
            <a:avLst/>
            <a:gdLst>
              <a:gd name="T0" fmla="*/ 0 w 8572830"/>
              <a:gd name="T1" fmla="*/ 1055740 h 1055636"/>
              <a:gd name="T2" fmla="*/ 8572170 w 8572830"/>
              <a:gd name="T3" fmla="*/ 1055740 h 1055636"/>
              <a:gd name="T4" fmla="*/ 8572170 w 8572830"/>
              <a:gd name="T5" fmla="*/ 0 h 1055636"/>
              <a:gd name="T6" fmla="*/ 0 w 8572830"/>
              <a:gd name="T7" fmla="*/ 0 h 1055636"/>
              <a:gd name="T8" fmla="*/ 0 w 8572830"/>
              <a:gd name="T9" fmla="*/ 10557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572830" h="1055636">
                <a:moveTo>
                  <a:pt x="0" y="1055636"/>
                </a:moveTo>
                <a:lnTo>
                  <a:pt x="8572830" y="1055636"/>
                </a:lnTo>
                <a:lnTo>
                  <a:pt x="857283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7" name="object 25">
            <a:extLst>
              <a:ext uri="{FF2B5EF4-FFF2-40B4-BE49-F238E27FC236}">
                <a16:creationId xmlns:a16="http://schemas.microsoft.com/office/drawing/2014/main" id="{4CA05687-2B2F-466D-A9CC-3E44AC2AA9C2}"/>
              </a:ext>
            </a:extLst>
          </p:cNvPr>
          <p:cNvSpPr>
            <a:spLocks/>
          </p:cNvSpPr>
          <p:nvPr/>
        </p:nvSpPr>
        <p:spPr bwMode="auto">
          <a:xfrm>
            <a:off x="1597755" y="4575056"/>
            <a:ext cx="4950963" cy="609702"/>
          </a:xfrm>
          <a:custGeom>
            <a:avLst/>
            <a:gdLst>
              <a:gd name="T0" fmla="*/ 0 w 8572830"/>
              <a:gd name="T1" fmla="*/ 1055740 h 1055636"/>
              <a:gd name="T2" fmla="*/ 8572170 w 8572830"/>
              <a:gd name="T3" fmla="*/ 1055740 h 1055636"/>
              <a:gd name="T4" fmla="*/ 8572170 w 8572830"/>
              <a:gd name="T5" fmla="*/ 0 h 1055636"/>
              <a:gd name="T6" fmla="*/ 0 w 8572830"/>
              <a:gd name="T7" fmla="*/ 0 h 1055636"/>
              <a:gd name="T8" fmla="*/ 0 w 8572830"/>
              <a:gd name="T9" fmla="*/ 10557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572830" h="1055636">
                <a:moveTo>
                  <a:pt x="0" y="1055636"/>
                </a:moveTo>
                <a:lnTo>
                  <a:pt x="8572830" y="1055636"/>
                </a:lnTo>
                <a:lnTo>
                  <a:pt x="857283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8" name="object 26">
            <a:extLst>
              <a:ext uri="{FF2B5EF4-FFF2-40B4-BE49-F238E27FC236}">
                <a16:creationId xmlns:a16="http://schemas.microsoft.com/office/drawing/2014/main" id="{564703C4-EE7C-43E9-901D-66FC7D8367F1}"/>
              </a:ext>
            </a:extLst>
          </p:cNvPr>
          <p:cNvSpPr>
            <a:spLocks/>
          </p:cNvSpPr>
          <p:nvPr/>
        </p:nvSpPr>
        <p:spPr bwMode="auto">
          <a:xfrm>
            <a:off x="1597755" y="2934821"/>
            <a:ext cx="4950963" cy="609702"/>
          </a:xfrm>
          <a:custGeom>
            <a:avLst/>
            <a:gdLst>
              <a:gd name="T0" fmla="*/ 0 w 8572830"/>
              <a:gd name="T1" fmla="*/ 1055738 h 1055636"/>
              <a:gd name="T2" fmla="*/ 8572170 w 8572830"/>
              <a:gd name="T3" fmla="*/ 1055738 h 1055636"/>
              <a:gd name="T4" fmla="*/ 8572170 w 8572830"/>
              <a:gd name="T5" fmla="*/ 0 h 1055636"/>
              <a:gd name="T6" fmla="*/ 0 w 8572830"/>
              <a:gd name="T7" fmla="*/ 0 h 1055636"/>
              <a:gd name="T8" fmla="*/ 0 w 8572830"/>
              <a:gd name="T9" fmla="*/ 1055738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572830" h="1055636">
                <a:moveTo>
                  <a:pt x="0" y="1055636"/>
                </a:moveTo>
                <a:lnTo>
                  <a:pt x="8572830" y="1055636"/>
                </a:lnTo>
                <a:lnTo>
                  <a:pt x="857283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59" name="object 27">
            <a:extLst>
              <a:ext uri="{FF2B5EF4-FFF2-40B4-BE49-F238E27FC236}">
                <a16:creationId xmlns:a16="http://schemas.microsoft.com/office/drawing/2014/main" id="{6A624763-47A1-4AEF-A303-FDD0448C9B50}"/>
              </a:ext>
            </a:extLst>
          </p:cNvPr>
          <p:cNvSpPr>
            <a:spLocks/>
          </p:cNvSpPr>
          <p:nvPr/>
        </p:nvSpPr>
        <p:spPr bwMode="auto">
          <a:xfrm>
            <a:off x="1597755" y="3733393"/>
            <a:ext cx="4950963" cy="609702"/>
          </a:xfrm>
          <a:custGeom>
            <a:avLst/>
            <a:gdLst>
              <a:gd name="T0" fmla="*/ 0 w 8572830"/>
              <a:gd name="T1" fmla="*/ 1055740 h 1055636"/>
              <a:gd name="T2" fmla="*/ 8572170 w 8572830"/>
              <a:gd name="T3" fmla="*/ 1055740 h 1055636"/>
              <a:gd name="T4" fmla="*/ 8572170 w 8572830"/>
              <a:gd name="T5" fmla="*/ 0 h 1055636"/>
              <a:gd name="T6" fmla="*/ 0 w 8572830"/>
              <a:gd name="T7" fmla="*/ 0 h 1055636"/>
              <a:gd name="T8" fmla="*/ 0 w 8572830"/>
              <a:gd name="T9" fmla="*/ 10557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572830" h="1055636">
                <a:moveTo>
                  <a:pt x="0" y="1055636"/>
                </a:moveTo>
                <a:lnTo>
                  <a:pt x="8572830" y="1055636"/>
                </a:lnTo>
                <a:lnTo>
                  <a:pt x="8572830"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60" name="object 28">
            <a:extLst>
              <a:ext uri="{FF2B5EF4-FFF2-40B4-BE49-F238E27FC236}">
                <a16:creationId xmlns:a16="http://schemas.microsoft.com/office/drawing/2014/main" id="{E0A122C7-C9EA-48C2-B0FB-7B32544583FE}"/>
              </a:ext>
            </a:extLst>
          </p:cNvPr>
          <p:cNvSpPr txBox="1">
            <a:spLocks noChangeArrowheads="1"/>
          </p:cNvSpPr>
          <p:nvPr/>
        </p:nvSpPr>
        <p:spPr bwMode="auto">
          <a:xfrm>
            <a:off x="1814130" y="2268273"/>
            <a:ext cx="6460090" cy="283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lang="en-US" altLang="en-US" sz="2079" dirty="0" err="1">
                <a:solidFill>
                  <a:srgbClr val="231F20"/>
                </a:solidFill>
                <a:latin typeface="Gill Sans Light"/>
              </a:rPr>
              <a:t>ပြင်းထန်တဲ</a:t>
            </a:r>
            <a:r>
              <a:rPr lang="en-US" altLang="en-US" sz="2079" dirty="0">
                <a:solidFill>
                  <a:srgbClr val="231F20"/>
                </a:solidFill>
                <a:latin typeface="Gill Sans Light"/>
              </a:rPr>
              <a:t>့ </a:t>
            </a:r>
            <a:r>
              <a:rPr lang="en-US" altLang="en-US" sz="2079" dirty="0" err="1">
                <a:solidFill>
                  <a:srgbClr val="231F20"/>
                </a:solidFill>
                <a:latin typeface="Gill Sans Light"/>
              </a:rPr>
              <a:t>ထိခိုက်မှုကို</a:t>
            </a:r>
            <a:r>
              <a:rPr lang="en-US" altLang="en-US" sz="2079" dirty="0">
                <a:solidFill>
                  <a:srgbClr val="231F20"/>
                </a:solidFill>
                <a:latin typeface="Gill Sans Light"/>
              </a:rPr>
              <a:t> </a:t>
            </a:r>
            <a:r>
              <a:rPr lang="en-US" altLang="en-US" sz="2079" dirty="0" err="1">
                <a:solidFill>
                  <a:srgbClr val="231F20"/>
                </a:solidFill>
                <a:latin typeface="Gill Sans Light"/>
              </a:rPr>
              <a:t>ကိုယ်တိုင်ကြုံရခြင်း</a:t>
            </a:r>
            <a:endParaRPr lang="en-US" altLang="en-US" dirty="0"/>
          </a:p>
          <a:p>
            <a:pPr marL="12700" marR="0" lvl="0" indent="0" algn="l" defTabSz="457200" rtl="0" eaLnBrk="1" fontAlgn="auto" latinLnBrk="0" hangingPunct="1">
              <a:lnSpc>
                <a:spcPts val="318"/>
              </a:lnSpc>
              <a:spcBef>
                <a:spcPts val="8"/>
              </a:spcBef>
              <a:spcAft>
                <a:spcPts val="0"/>
              </a:spcAft>
              <a:buClrTx/>
              <a:buSzTx/>
              <a:buFont typeface="Arial" panose="020B0604020202020204" pitchFamily="34" charset="0"/>
              <a:buNone/>
              <a:tabLst/>
              <a:defRPr/>
            </a:pPr>
            <a:endParaRPr kumimoji="0" lang="en-US" altLang="en-US" sz="289"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ts val="578"/>
              </a:lnSpc>
              <a:spcBef>
                <a:spcPct val="0"/>
              </a:spcBef>
              <a:spcAft>
                <a:spcPts val="0"/>
              </a:spcAft>
              <a:buClrTx/>
              <a:buSzTx/>
              <a:buFont typeface="Arial" panose="020B0604020202020204" pitchFamily="34" charset="0"/>
              <a:buNone/>
              <a:tabLst/>
              <a:defRPr/>
            </a:pPr>
            <a:endParaRPr kumimoji="0" lang="en-US" altLang="en-US" sz="578"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ts val="578"/>
              </a:lnSpc>
              <a:spcBef>
                <a:spcPct val="0"/>
              </a:spcBef>
              <a:spcAft>
                <a:spcPts val="0"/>
              </a:spcAft>
              <a:buClrTx/>
              <a:buSzTx/>
              <a:buFont typeface="Arial" panose="020B0604020202020204" pitchFamily="34" charset="0"/>
              <a:buNone/>
              <a:tabLst/>
              <a:defRPr/>
            </a:pPr>
            <a:endParaRPr kumimoji="0" lang="en-US" altLang="en-US" sz="578"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ts val="578"/>
              </a:lnSpc>
              <a:spcBef>
                <a:spcPct val="0"/>
              </a:spcBef>
              <a:spcAft>
                <a:spcPts val="0"/>
              </a:spcAft>
              <a:buClrTx/>
              <a:buSzTx/>
              <a:buFont typeface="Arial" panose="020B0604020202020204" pitchFamily="34" charset="0"/>
              <a:buNone/>
              <a:tabLst/>
              <a:defRPr/>
            </a:pPr>
            <a:endParaRPr kumimoji="0" lang="en-US" altLang="en-US" sz="578"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ts val="578"/>
              </a:lnSpc>
              <a:spcBef>
                <a:spcPct val="0"/>
              </a:spcBef>
              <a:spcAft>
                <a:spcPts val="0"/>
              </a:spcAft>
              <a:buClrTx/>
              <a:buSzTx/>
              <a:buFont typeface="Arial" panose="020B0604020202020204" pitchFamily="34" charset="0"/>
              <a:buNone/>
              <a:tabLst/>
              <a:defRPr/>
            </a:pPr>
            <a:endParaRPr kumimoji="0" lang="en-US" altLang="en-US" sz="578"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ts val="578"/>
              </a:lnSpc>
              <a:spcBef>
                <a:spcPct val="0"/>
              </a:spcBef>
              <a:spcAft>
                <a:spcPts val="0"/>
              </a:spcAft>
              <a:buClrTx/>
              <a:buSzTx/>
              <a:buFont typeface="Arial" panose="020B0604020202020204" pitchFamily="34" charset="0"/>
              <a:buNone/>
              <a:tabLst/>
              <a:defRPr/>
            </a:pPr>
            <a:endParaRPr kumimoji="0" lang="en-US" altLang="en-US" sz="578"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ts val="578"/>
              </a:lnSpc>
              <a:spcBef>
                <a:spcPct val="0"/>
              </a:spcBef>
              <a:spcAft>
                <a:spcPts val="0"/>
              </a:spcAft>
              <a:buClrTx/>
              <a:buSzTx/>
              <a:buFont typeface="Arial" panose="020B0604020202020204" pitchFamily="34" charset="0"/>
              <a:buNone/>
              <a:tabLst/>
              <a:defRPr/>
            </a:pPr>
            <a:endParaRPr kumimoji="0" lang="en-US" altLang="en-US" sz="578"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ရ</a:t>
            </a:r>
            <a:r>
              <a:rPr lang="en-US" altLang="en-US" sz="2079" dirty="0" err="1">
                <a:solidFill>
                  <a:srgbClr val="231F20"/>
                </a:solidFill>
                <a:latin typeface="Gill Sans Light"/>
                <a:ea typeface="Gill Sans Light"/>
                <a:cs typeface="Gill Sans Light"/>
              </a:rPr>
              <a:t>ုပ်တရက်ဖြစ်ခြင်း</a:t>
            </a:r>
            <a:r>
              <a:rPr lang="en-US" altLang="en-US" sz="2079" dirty="0">
                <a:solidFill>
                  <a:srgbClr val="231F20"/>
                </a:solidFill>
                <a:latin typeface="Gill Sans Light"/>
                <a:ea typeface="Gill Sans Light"/>
                <a:cs typeface="Gill Sans Light"/>
              </a:rPr>
              <a:t>၊ </a:t>
            </a:r>
            <a:r>
              <a:rPr lang="en-US" altLang="en-US" sz="2079" dirty="0" err="1">
                <a:solidFill>
                  <a:srgbClr val="231F20"/>
                </a:solidFill>
                <a:latin typeface="Gill Sans Light"/>
                <a:ea typeface="Gill Sans Light"/>
                <a:cs typeface="Gill Sans Light"/>
              </a:rPr>
              <a:t>အနှောင</a:t>
            </a:r>
            <a:r>
              <a:rPr lang="en-US" altLang="en-US" sz="2079" dirty="0">
                <a:solidFill>
                  <a:srgbClr val="231F20"/>
                </a:solidFill>
                <a:latin typeface="Gill Sans Light"/>
                <a:ea typeface="Gill Sans Light"/>
                <a:cs typeface="Gill Sans Light"/>
              </a:rPr>
              <a:t>့်</a:t>
            </a:r>
            <a:r>
              <a:rPr lang="en-US" altLang="en-US" sz="2079" dirty="0" err="1">
                <a:solidFill>
                  <a:srgbClr val="231F20"/>
                </a:solidFill>
                <a:latin typeface="Gill Sans Light"/>
                <a:ea typeface="Gill Sans Light"/>
                <a:cs typeface="Gill Sans Light"/>
              </a:rPr>
              <a:t>အယှက်ဖြစ်စေခြင်း</a:t>
            </a:r>
            <a:endParaRPr kumimoji="0" lang="en-US" altLang="en-US" sz="2079" b="0" i="0" u="none" strike="noStrike" kern="1200" cap="none" spc="0" normalizeH="0" baseline="0" noProof="0" dirty="0">
              <a:ln>
                <a:noFill/>
              </a:ln>
              <a:solidFill>
                <a:prstClr val="black"/>
              </a:solidFill>
              <a:effectLst/>
              <a:uLnTx/>
              <a:uFillTx/>
              <a:latin typeface="Gill Sans Light"/>
              <a:ea typeface="Gill Sans Light"/>
              <a:cs typeface="Gill Sans Light"/>
            </a:endParaRPr>
          </a:p>
          <a:p>
            <a:pPr marL="12700" marR="0" lvl="0" indent="0" algn="l" defTabSz="457200" rtl="0" eaLnBrk="1" fontAlgn="auto" latinLnBrk="0" hangingPunct="1">
              <a:lnSpc>
                <a:spcPts val="549"/>
              </a:lnSpc>
              <a:spcBef>
                <a:spcPts val="22"/>
              </a:spcBef>
              <a:spcAft>
                <a:spcPts val="0"/>
              </a:spcAft>
              <a:buClrTx/>
              <a:buSzTx/>
              <a:buFont typeface="Arial" panose="020B0604020202020204" pitchFamily="34" charset="0"/>
              <a:buNone/>
              <a:tabLst/>
              <a:defRPr/>
            </a:pPr>
            <a:endParaRPr kumimoji="0" lang="en-US" altLang="en-US" sz="52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ts val="6627"/>
              </a:lnSpc>
              <a:spcBef>
                <a:spcPct val="0"/>
              </a:spcBef>
              <a:spcAft>
                <a:spcPts val="0"/>
              </a:spcAft>
              <a:buClrTx/>
              <a:buSzTx/>
              <a:buFont typeface="Arial" panose="020B0604020202020204" pitchFamily="34" charset="0"/>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ထိခိုက်မှု</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ဖြစ်ပြီးပြီးချင်း</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သို</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ကြာမှခံစားရ</a:t>
            </a:r>
            <a:r>
              <a:rPr lang="en-US" altLang="en-US" sz="2079" dirty="0" err="1">
                <a:solidFill>
                  <a:srgbClr val="231F20"/>
                </a:solidFill>
                <a:latin typeface="Gill Sans Light"/>
                <a:ea typeface="Gill Sans Light"/>
                <a:cs typeface="Gill Sans Light"/>
              </a:rPr>
              <a:t>ခြင်း</a:t>
            </a:r>
            <a:endPar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endParaRPr>
          </a:p>
          <a:p>
            <a:pPr marL="12700" marR="0" lvl="0" indent="0" algn="l" defTabSz="457200" rtl="0" eaLnBrk="1" fontAlgn="auto" latinLnBrk="0" hangingPunct="1">
              <a:lnSpc>
                <a:spcPts val="6627"/>
              </a:lnSpc>
              <a:spcBef>
                <a:spcPct val="0"/>
              </a:spcBef>
              <a:spcAft>
                <a:spcPts val="0"/>
              </a:spcAft>
              <a:buClrTx/>
              <a:buSzTx/>
              <a:buFont typeface="Arial" panose="020B0604020202020204" pitchFamily="34" charset="0"/>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ပုံမှန်မဟု</a:t>
            </a:r>
            <a:r>
              <a:rPr lang="en-US" altLang="en-US" sz="2079" dirty="0" err="1">
                <a:solidFill>
                  <a:srgbClr val="231F20"/>
                </a:solidFill>
                <a:latin typeface="Gill Sans Light"/>
                <a:ea typeface="Gill Sans Light"/>
                <a:cs typeface="Gill Sans Light"/>
              </a:rPr>
              <a:t>တ်သော</a:t>
            </a:r>
            <a:r>
              <a:rPr lang="en-US" altLang="en-US" sz="2079" dirty="0">
                <a:solidFill>
                  <a:srgbClr val="231F20"/>
                </a:solidFill>
                <a:latin typeface="Gill Sans Light"/>
                <a:ea typeface="Gill Sans Light"/>
                <a:cs typeface="Gill Sans Light"/>
              </a:rPr>
              <a:t> </a:t>
            </a:r>
            <a:r>
              <a:rPr lang="en-US" altLang="en-US" sz="2079" dirty="0" err="1">
                <a:solidFill>
                  <a:srgbClr val="231F20"/>
                </a:solidFill>
                <a:latin typeface="Gill Sans Light"/>
                <a:ea typeface="Gill Sans Light"/>
                <a:cs typeface="Gill Sans Light"/>
              </a:rPr>
              <a:t>ထိခိုက်မှုများအတွက</a:t>
            </a:r>
            <a:r>
              <a:rPr lang="en-US" altLang="en-US" sz="2079" dirty="0">
                <a:solidFill>
                  <a:srgbClr val="231F20"/>
                </a:solidFill>
                <a:latin typeface="Gill Sans Light"/>
                <a:ea typeface="Gill Sans Light"/>
                <a:cs typeface="Gill Sans Light"/>
              </a:rPr>
              <a:t>် </a:t>
            </a:r>
            <a:r>
              <a:rPr lang="en-US" altLang="en-US" sz="2079" dirty="0" err="1">
                <a:solidFill>
                  <a:srgbClr val="231F20"/>
                </a:solidFill>
                <a:latin typeface="Gill Sans Light"/>
                <a:ea typeface="Gill Sans Light"/>
                <a:cs typeface="Gill Sans Light"/>
              </a:rPr>
              <a:t>ပုံမှန</a:t>
            </a:r>
            <a:r>
              <a:rPr lang="en-US" altLang="en-US" sz="2079" dirty="0">
                <a:solidFill>
                  <a:srgbClr val="231F20"/>
                </a:solidFill>
                <a:latin typeface="Gill Sans Light"/>
                <a:ea typeface="Gill Sans Light"/>
                <a:cs typeface="Gill Sans Light"/>
              </a:rPr>
              <a:t>် </a:t>
            </a:r>
            <a:r>
              <a:rPr lang="en-US" altLang="en-US" sz="2079" dirty="0" err="1">
                <a:solidFill>
                  <a:srgbClr val="231F20"/>
                </a:solidFill>
                <a:latin typeface="Gill Sans Light"/>
                <a:ea typeface="Gill Sans Light"/>
                <a:cs typeface="Gill Sans Light"/>
              </a:rPr>
              <a:t>တုံ့ပြန်မှုများ</a:t>
            </a:r>
            <a:endParaRPr kumimoji="0" lang="en-US" altLang="en-US" sz="2079" b="0" i="0" u="none" strike="noStrike" kern="1200" cap="none" spc="0" normalizeH="0" baseline="0" noProof="0" dirty="0">
              <a:ln>
                <a:noFill/>
              </a:ln>
              <a:solidFill>
                <a:prstClr val="black"/>
              </a:solidFill>
              <a:effectLst/>
              <a:uLnTx/>
              <a:uFillTx/>
              <a:latin typeface="Gill Sans Light"/>
              <a:ea typeface="Gill Sans Light"/>
              <a:cs typeface="Gill Sans Light"/>
            </a:endParaRPr>
          </a:p>
        </p:txBody>
      </p:sp>
      <p:sp>
        <p:nvSpPr>
          <p:cNvPr id="18461" name="object 29">
            <a:extLst>
              <a:ext uri="{FF2B5EF4-FFF2-40B4-BE49-F238E27FC236}">
                <a16:creationId xmlns:a16="http://schemas.microsoft.com/office/drawing/2014/main" id="{7F083B5D-8EAC-460F-AADD-799695081748}"/>
              </a:ext>
            </a:extLst>
          </p:cNvPr>
          <p:cNvSpPr>
            <a:spLocks/>
          </p:cNvSpPr>
          <p:nvPr/>
        </p:nvSpPr>
        <p:spPr bwMode="auto">
          <a:xfrm>
            <a:off x="953214" y="2216931"/>
            <a:ext cx="430917" cy="448337"/>
          </a:xfrm>
          <a:custGeom>
            <a:avLst/>
            <a:gdLst>
              <a:gd name="T0" fmla="*/ 312750 w 745629"/>
              <a:gd name="T1" fmla="*/ 5070 h 777621"/>
              <a:gd name="T2" fmla="*/ 201745 w 745629"/>
              <a:gd name="T3" fmla="*/ 43250 h 777621"/>
              <a:gd name="T4" fmla="*/ 109335 w 745629"/>
              <a:gd name="T5" fmla="*/ 113490 h 777621"/>
              <a:gd name="T6" fmla="*/ 41666 w 745629"/>
              <a:gd name="T7" fmla="*/ 209410 h 777621"/>
              <a:gd name="T8" fmla="*/ 4885 w 745629"/>
              <a:gd name="T9" fmla="*/ 324629 h 777621"/>
              <a:gd name="T10" fmla="*/ 1237 w 745629"/>
              <a:gd name="T11" fmla="*/ 419259 h 777621"/>
              <a:gd name="T12" fmla="*/ 29333 w 745629"/>
              <a:gd name="T13" fmla="*/ 538307 h 777621"/>
              <a:gd name="T14" fmla="*/ 89858 w 745629"/>
              <a:gd name="T15" fmla="*/ 639650 h 777621"/>
              <a:gd name="T16" fmla="*/ 176659 w 745629"/>
              <a:gd name="T17" fmla="*/ 716906 h 777621"/>
              <a:gd name="T18" fmla="*/ 283592 w 745629"/>
              <a:gd name="T19" fmla="*/ 763696 h 777621"/>
              <a:gd name="T20" fmla="*/ 373304 w 745629"/>
              <a:gd name="T21" fmla="*/ 774957 h 777621"/>
              <a:gd name="T22" fmla="*/ 463018 w 745629"/>
              <a:gd name="T23" fmla="*/ 763696 h 777621"/>
              <a:gd name="T24" fmla="*/ 569953 w 745629"/>
              <a:gd name="T25" fmla="*/ 716906 h 777621"/>
              <a:gd name="T26" fmla="*/ 618769 w 745629"/>
              <a:gd name="T27" fmla="*/ 679271 h 777621"/>
              <a:gd name="T28" fmla="*/ 366623 w 745629"/>
              <a:gd name="T29" fmla="*/ 678176 h 777621"/>
              <a:gd name="T30" fmla="*/ 306538 w 745629"/>
              <a:gd name="T31" fmla="*/ 627779 h 777621"/>
              <a:gd name="T32" fmla="*/ 305308 w 745629"/>
              <a:gd name="T33" fmla="*/ 598266 h 777621"/>
              <a:gd name="T34" fmla="*/ 355955 w 745629"/>
              <a:gd name="T35" fmla="*/ 537976 h 777621"/>
              <a:gd name="T36" fmla="*/ 718237 w 745629"/>
              <a:gd name="T37" fmla="*/ 535686 h 777621"/>
              <a:gd name="T38" fmla="*/ 727651 w 745629"/>
              <a:gd name="T39" fmla="*/ 509733 h 777621"/>
              <a:gd name="T40" fmla="*/ 359409 w 745629"/>
              <a:gd name="T41" fmla="*/ 508168 h 777621"/>
              <a:gd name="T42" fmla="*/ 308331 w 745629"/>
              <a:gd name="T43" fmla="*/ 450332 h 777621"/>
              <a:gd name="T44" fmla="*/ 308169 w 745629"/>
              <a:gd name="T45" fmla="*/ 158345 h 777621"/>
              <a:gd name="T46" fmla="*/ 331716 w 745629"/>
              <a:gd name="T47" fmla="*/ 109803 h 777621"/>
              <a:gd name="T48" fmla="*/ 618557 w 745629"/>
              <a:gd name="T49" fmla="*/ 95487 h 777621"/>
              <a:gd name="T50" fmla="*/ 569953 w 745629"/>
              <a:gd name="T51" fmla="*/ 58053 h 777621"/>
              <a:gd name="T52" fmla="*/ 463018 w 745629"/>
              <a:gd name="T53" fmla="*/ 11262 h 777621"/>
              <a:gd name="T54" fmla="*/ 373304 w 745629"/>
              <a:gd name="T55" fmla="*/ 0 h 777621"/>
              <a:gd name="T56" fmla="*/ 373304 w 745629"/>
              <a:gd name="T57" fmla="*/ 535686 h 777621"/>
              <a:gd name="T58" fmla="*/ 400680 w 745629"/>
              <a:gd name="T59" fmla="*/ 541498 h 777621"/>
              <a:gd name="T60" fmla="*/ 441633 w 745629"/>
              <a:gd name="T61" fmla="*/ 594581 h 777621"/>
              <a:gd name="T62" fmla="*/ 425353 w 745629"/>
              <a:gd name="T63" fmla="*/ 653301 h 777621"/>
              <a:gd name="T64" fmla="*/ 618769 w 745629"/>
              <a:gd name="T65" fmla="*/ 679271 h 777621"/>
              <a:gd name="T66" fmla="*/ 690690 w 745629"/>
              <a:gd name="T67" fmla="*/ 591589 h 777621"/>
              <a:gd name="T68" fmla="*/ 718237 w 745629"/>
              <a:gd name="T69" fmla="*/ 535686 h 777621"/>
              <a:gd name="T70" fmla="*/ 371191 w 745629"/>
              <a:gd name="T71" fmla="*/ 95487 h 777621"/>
              <a:gd name="T72" fmla="*/ 399896 w 745629"/>
              <a:gd name="T73" fmla="*/ 101530 h 777621"/>
              <a:gd name="T74" fmla="*/ 437423 w 745629"/>
              <a:gd name="T75" fmla="*/ 446862 h 777621"/>
              <a:gd name="T76" fmla="*/ 413879 w 745629"/>
              <a:gd name="T77" fmla="*/ 495407 h 777621"/>
              <a:gd name="T78" fmla="*/ 727651 w 745629"/>
              <a:gd name="T79" fmla="*/ 509733 h 777621"/>
              <a:gd name="T80" fmla="*/ 741736 w 745629"/>
              <a:gd name="T81" fmla="*/ 450332 h 777621"/>
              <a:gd name="T82" fmla="*/ 746621 w 745629"/>
              <a:gd name="T83" fmla="*/ 387479 h 777621"/>
              <a:gd name="T84" fmla="*/ 735772 w 745629"/>
              <a:gd name="T85" fmla="*/ 294364 h 777621"/>
              <a:gd name="T86" fmla="*/ 690690 w 745629"/>
              <a:gd name="T87" fmla="*/ 183372 h 777621"/>
              <a:gd name="T88" fmla="*/ 637280 w 745629"/>
              <a:gd name="T89" fmla="*/ 113490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8"/>
                </a:lnTo>
                <a:lnTo>
                  <a:pt x="152628" y="75018"/>
                </a:lnTo>
                <a:lnTo>
                  <a:pt x="109189" y="113880"/>
                </a:lnTo>
                <a:lnTo>
                  <a:pt x="71927" y="159185"/>
                </a:lnTo>
                <a:lnTo>
                  <a:pt x="41610" y="210130"/>
                </a:lnTo>
                <a:lnTo>
                  <a:pt x="19005" y="265917"/>
                </a:lnTo>
                <a:lnTo>
                  <a:pt x="4879" y="325744"/>
                </a:lnTo>
                <a:lnTo>
                  <a:pt x="0" y="388810"/>
                </a:lnTo>
                <a:lnTo>
                  <a:pt x="1235" y="420700"/>
                </a:lnTo>
                <a:lnTo>
                  <a:pt x="10834" y="482249"/>
                </a:lnTo>
                <a:lnTo>
                  <a:pt x="29295" y="540157"/>
                </a:lnTo>
                <a:lnTo>
                  <a:pt x="55853" y="593623"/>
                </a:lnTo>
                <a:lnTo>
                  <a:pt x="89738" y="641848"/>
                </a:lnTo>
                <a:lnTo>
                  <a:pt x="130185" y="684030"/>
                </a:lnTo>
                <a:lnTo>
                  <a:pt x="176425" y="719370"/>
                </a:lnTo>
                <a:lnTo>
                  <a:pt x="227690" y="747067"/>
                </a:lnTo>
                <a:lnTo>
                  <a:pt x="283215" y="766321"/>
                </a:lnTo>
                <a:lnTo>
                  <a:pt x="342231" y="776332"/>
                </a:lnTo>
                <a:lnTo>
                  <a:pt x="372808" y="777621"/>
                </a:lnTo>
                <a:lnTo>
                  <a:pt x="403385" y="776332"/>
                </a:lnTo>
                <a:lnTo>
                  <a:pt x="462402" y="766321"/>
                </a:lnTo>
                <a:lnTo>
                  <a:pt x="517928" y="747067"/>
                </a:lnTo>
                <a:lnTo>
                  <a:pt x="569195" y="719370"/>
                </a:lnTo>
                <a:lnTo>
                  <a:pt x="615437" y="684030"/>
                </a:lnTo>
                <a:lnTo>
                  <a:pt x="617947"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3" y="537527"/>
                </a:lnTo>
                <a:lnTo>
                  <a:pt x="726623" y="511708"/>
                </a:lnTo>
                <a:lnTo>
                  <a:pt x="726684" y="511485"/>
                </a:lnTo>
                <a:lnTo>
                  <a:pt x="373913" y="511485"/>
                </a:lnTo>
                <a:lnTo>
                  <a:pt x="358931" y="509915"/>
                </a:lnTo>
                <a:lnTo>
                  <a:pt x="323083" y="489054"/>
                </a:lnTo>
                <a:lnTo>
                  <a:pt x="307921" y="451880"/>
                </a:lnTo>
                <a:lnTo>
                  <a:pt x="307797" y="325744"/>
                </a:lnTo>
                <a:lnTo>
                  <a:pt x="307759" y="158889"/>
                </a:lnTo>
                <a:lnTo>
                  <a:pt x="309414" y="144631"/>
                </a:lnTo>
                <a:lnTo>
                  <a:pt x="331275" y="110181"/>
                </a:lnTo>
                <a:lnTo>
                  <a:pt x="370697" y="95815"/>
                </a:lnTo>
                <a:lnTo>
                  <a:pt x="617735" y="95815"/>
                </a:lnTo>
                <a:lnTo>
                  <a:pt x="615437" y="93594"/>
                </a:lnTo>
                <a:lnTo>
                  <a:pt x="569195" y="58253"/>
                </a:lnTo>
                <a:lnTo>
                  <a:pt x="517928" y="30555"/>
                </a:lnTo>
                <a:lnTo>
                  <a:pt x="462402" y="11300"/>
                </a:lnTo>
                <a:lnTo>
                  <a:pt x="403385" y="1288"/>
                </a:lnTo>
                <a:lnTo>
                  <a:pt x="372808" y="0"/>
                </a:lnTo>
                <a:close/>
              </a:path>
              <a:path w="745629" h="777621">
                <a:moveTo>
                  <a:pt x="717283"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7" y="681605"/>
                </a:lnTo>
                <a:lnTo>
                  <a:pt x="655885" y="641848"/>
                </a:lnTo>
                <a:lnTo>
                  <a:pt x="689772" y="593623"/>
                </a:lnTo>
                <a:lnTo>
                  <a:pt x="716331" y="540157"/>
                </a:lnTo>
                <a:lnTo>
                  <a:pt x="717283" y="537527"/>
                </a:lnTo>
                <a:close/>
              </a:path>
              <a:path w="745629" h="777621">
                <a:moveTo>
                  <a:pt x="617735"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4" y="511485"/>
                </a:lnTo>
                <a:lnTo>
                  <a:pt x="734794" y="482249"/>
                </a:lnTo>
                <a:lnTo>
                  <a:pt x="740750" y="451880"/>
                </a:lnTo>
                <a:lnTo>
                  <a:pt x="744393" y="420700"/>
                </a:lnTo>
                <a:lnTo>
                  <a:pt x="745629" y="388810"/>
                </a:lnTo>
                <a:lnTo>
                  <a:pt x="744393" y="356922"/>
                </a:lnTo>
                <a:lnTo>
                  <a:pt x="734794" y="295375"/>
                </a:lnTo>
                <a:lnTo>
                  <a:pt x="716331" y="237468"/>
                </a:lnTo>
                <a:lnTo>
                  <a:pt x="689772" y="184002"/>
                </a:lnTo>
                <a:lnTo>
                  <a:pt x="655885" y="135777"/>
                </a:lnTo>
                <a:lnTo>
                  <a:pt x="636433" y="113880"/>
                </a:lnTo>
                <a:lnTo>
                  <a:pt x="617735" y="95815"/>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62" name="object 30">
            <a:extLst>
              <a:ext uri="{FF2B5EF4-FFF2-40B4-BE49-F238E27FC236}">
                <a16:creationId xmlns:a16="http://schemas.microsoft.com/office/drawing/2014/main" id="{F48CAA58-1E09-437D-A2E7-E32736F61B56}"/>
              </a:ext>
            </a:extLst>
          </p:cNvPr>
          <p:cNvSpPr>
            <a:spLocks/>
          </p:cNvSpPr>
          <p:nvPr/>
        </p:nvSpPr>
        <p:spPr bwMode="auto">
          <a:xfrm>
            <a:off x="953214" y="3014586"/>
            <a:ext cx="430917" cy="449254"/>
          </a:xfrm>
          <a:custGeom>
            <a:avLst/>
            <a:gdLst>
              <a:gd name="T0" fmla="*/ 312750 w 745629"/>
              <a:gd name="T1" fmla="*/ 5092 h 777620"/>
              <a:gd name="T2" fmla="*/ 201745 w 745629"/>
              <a:gd name="T3" fmla="*/ 43426 h 777620"/>
              <a:gd name="T4" fmla="*/ 109335 w 745629"/>
              <a:gd name="T5" fmla="*/ 113954 h 777620"/>
              <a:gd name="T6" fmla="*/ 41666 w 745629"/>
              <a:gd name="T7" fmla="*/ 210268 h 777620"/>
              <a:gd name="T8" fmla="*/ 4885 w 745629"/>
              <a:gd name="T9" fmla="*/ 325958 h 777620"/>
              <a:gd name="T10" fmla="*/ 1237 w 745629"/>
              <a:gd name="T11" fmla="*/ 420976 h 777620"/>
              <a:gd name="T12" fmla="*/ 29333 w 745629"/>
              <a:gd name="T13" fmla="*/ 540511 h 777620"/>
              <a:gd name="T14" fmla="*/ 89858 w 745629"/>
              <a:gd name="T15" fmla="*/ 642269 h 777620"/>
              <a:gd name="T16" fmla="*/ 176659 w 745629"/>
              <a:gd name="T17" fmla="*/ 719842 h 777620"/>
              <a:gd name="T18" fmla="*/ 283592 w 745629"/>
              <a:gd name="T19" fmla="*/ 766823 h 777620"/>
              <a:gd name="T20" fmla="*/ 373304 w 745629"/>
              <a:gd name="T21" fmla="*/ 778130 h 777620"/>
              <a:gd name="T22" fmla="*/ 463018 w 745629"/>
              <a:gd name="T23" fmla="*/ 766823 h 777620"/>
              <a:gd name="T24" fmla="*/ 569953 w 745629"/>
              <a:gd name="T25" fmla="*/ 719842 h 777620"/>
              <a:gd name="T26" fmla="*/ 618769 w 745629"/>
              <a:gd name="T27" fmla="*/ 682053 h 777620"/>
              <a:gd name="T28" fmla="*/ 366623 w 745629"/>
              <a:gd name="T29" fmla="*/ 680954 h 777620"/>
              <a:gd name="T30" fmla="*/ 306538 w 745629"/>
              <a:gd name="T31" fmla="*/ 630351 h 777620"/>
              <a:gd name="T32" fmla="*/ 305308 w 745629"/>
              <a:gd name="T33" fmla="*/ 600716 h 777620"/>
              <a:gd name="T34" fmla="*/ 355955 w 745629"/>
              <a:gd name="T35" fmla="*/ 540179 h 777620"/>
              <a:gd name="T36" fmla="*/ 718237 w 745629"/>
              <a:gd name="T37" fmla="*/ 537879 h 777620"/>
              <a:gd name="T38" fmla="*/ 727651 w 745629"/>
              <a:gd name="T39" fmla="*/ 511821 h 777620"/>
              <a:gd name="T40" fmla="*/ 359409 w 745629"/>
              <a:gd name="T41" fmla="*/ 510249 h 777620"/>
              <a:gd name="T42" fmla="*/ 308331 w 745629"/>
              <a:gd name="T43" fmla="*/ 452176 h 777620"/>
              <a:gd name="T44" fmla="*/ 308169 w 745629"/>
              <a:gd name="T45" fmla="*/ 158993 h 777620"/>
              <a:gd name="T46" fmla="*/ 331716 w 745629"/>
              <a:gd name="T47" fmla="*/ 110253 h 777620"/>
              <a:gd name="T48" fmla="*/ 618557 w 745629"/>
              <a:gd name="T49" fmla="*/ 95877 h 777620"/>
              <a:gd name="T50" fmla="*/ 569953 w 745629"/>
              <a:gd name="T51" fmla="*/ 58291 h 777620"/>
              <a:gd name="T52" fmla="*/ 463018 w 745629"/>
              <a:gd name="T53" fmla="*/ 11308 h 777620"/>
              <a:gd name="T54" fmla="*/ 373304 w 745629"/>
              <a:gd name="T55" fmla="*/ 0 h 777620"/>
              <a:gd name="T56" fmla="*/ 373304 w 745629"/>
              <a:gd name="T57" fmla="*/ 537879 h 777620"/>
              <a:gd name="T58" fmla="*/ 400680 w 745629"/>
              <a:gd name="T59" fmla="*/ 543715 h 777620"/>
              <a:gd name="T60" fmla="*/ 441633 w 745629"/>
              <a:gd name="T61" fmla="*/ 597017 h 777620"/>
              <a:gd name="T62" fmla="*/ 425353 w 745629"/>
              <a:gd name="T63" fmla="*/ 655977 h 777620"/>
              <a:gd name="T64" fmla="*/ 618769 w 745629"/>
              <a:gd name="T65" fmla="*/ 682053 h 777620"/>
              <a:gd name="T66" fmla="*/ 690690 w 745629"/>
              <a:gd name="T67" fmla="*/ 594013 h 777620"/>
              <a:gd name="T68" fmla="*/ 718237 w 745629"/>
              <a:gd name="T69" fmla="*/ 537879 h 777620"/>
              <a:gd name="T70" fmla="*/ 371191 w 745629"/>
              <a:gd name="T71" fmla="*/ 95877 h 777620"/>
              <a:gd name="T72" fmla="*/ 399896 w 745629"/>
              <a:gd name="T73" fmla="*/ 101945 h 777620"/>
              <a:gd name="T74" fmla="*/ 437423 w 745629"/>
              <a:gd name="T75" fmla="*/ 448692 h 777620"/>
              <a:gd name="T76" fmla="*/ 413879 w 745629"/>
              <a:gd name="T77" fmla="*/ 497436 h 777620"/>
              <a:gd name="T78" fmla="*/ 727651 w 745629"/>
              <a:gd name="T79" fmla="*/ 511821 h 777620"/>
              <a:gd name="T80" fmla="*/ 741736 w 745629"/>
              <a:gd name="T81" fmla="*/ 452176 h 777620"/>
              <a:gd name="T82" fmla="*/ 746621 w 745629"/>
              <a:gd name="T83" fmla="*/ 389066 h 777620"/>
              <a:gd name="T84" fmla="*/ 735772 w 745629"/>
              <a:gd name="T85" fmla="*/ 295569 h 777620"/>
              <a:gd name="T86" fmla="*/ 690690 w 745629"/>
              <a:gd name="T87" fmla="*/ 184122 h 777620"/>
              <a:gd name="T88" fmla="*/ 637280 w 745629"/>
              <a:gd name="T89" fmla="*/ 113954 h 7776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0">
                <a:moveTo>
                  <a:pt x="372808" y="0"/>
                </a:moveTo>
                <a:lnTo>
                  <a:pt x="312334" y="5088"/>
                </a:lnTo>
                <a:lnTo>
                  <a:pt x="254968" y="19822"/>
                </a:lnTo>
                <a:lnTo>
                  <a:pt x="201477" y="43398"/>
                </a:lnTo>
                <a:lnTo>
                  <a:pt x="152628" y="75018"/>
                </a:lnTo>
                <a:lnTo>
                  <a:pt x="109189" y="113880"/>
                </a:lnTo>
                <a:lnTo>
                  <a:pt x="71927" y="159185"/>
                </a:lnTo>
                <a:lnTo>
                  <a:pt x="41610" y="210130"/>
                </a:lnTo>
                <a:lnTo>
                  <a:pt x="19005" y="265917"/>
                </a:lnTo>
                <a:lnTo>
                  <a:pt x="4879" y="325744"/>
                </a:lnTo>
                <a:lnTo>
                  <a:pt x="0" y="388810"/>
                </a:lnTo>
                <a:lnTo>
                  <a:pt x="1235" y="420700"/>
                </a:lnTo>
                <a:lnTo>
                  <a:pt x="10834" y="482249"/>
                </a:lnTo>
                <a:lnTo>
                  <a:pt x="29295" y="540157"/>
                </a:lnTo>
                <a:lnTo>
                  <a:pt x="55853" y="593623"/>
                </a:lnTo>
                <a:lnTo>
                  <a:pt x="89738" y="641848"/>
                </a:lnTo>
                <a:lnTo>
                  <a:pt x="130185" y="684030"/>
                </a:lnTo>
                <a:lnTo>
                  <a:pt x="176425" y="719370"/>
                </a:lnTo>
                <a:lnTo>
                  <a:pt x="227690" y="747067"/>
                </a:lnTo>
                <a:lnTo>
                  <a:pt x="283215" y="766321"/>
                </a:lnTo>
                <a:lnTo>
                  <a:pt x="342231" y="776332"/>
                </a:lnTo>
                <a:lnTo>
                  <a:pt x="372808" y="777620"/>
                </a:lnTo>
                <a:lnTo>
                  <a:pt x="403385" y="776332"/>
                </a:lnTo>
                <a:lnTo>
                  <a:pt x="462402" y="766321"/>
                </a:lnTo>
                <a:lnTo>
                  <a:pt x="517928" y="747067"/>
                </a:lnTo>
                <a:lnTo>
                  <a:pt x="569195" y="719370"/>
                </a:lnTo>
                <a:lnTo>
                  <a:pt x="615437" y="684030"/>
                </a:lnTo>
                <a:lnTo>
                  <a:pt x="617947"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3" y="537527"/>
                </a:lnTo>
                <a:lnTo>
                  <a:pt x="726623" y="511708"/>
                </a:lnTo>
                <a:lnTo>
                  <a:pt x="726684" y="511485"/>
                </a:lnTo>
                <a:lnTo>
                  <a:pt x="373913" y="511485"/>
                </a:lnTo>
                <a:lnTo>
                  <a:pt x="358931" y="509915"/>
                </a:lnTo>
                <a:lnTo>
                  <a:pt x="323083" y="489054"/>
                </a:lnTo>
                <a:lnTo>
                  <a:pt x="307921" y="451880"/>
                </a:lnTo>
                <a:lnTo>
                  <a:pt x="307797" y="325744"/>
                </a:lnTo>
                <a:lnTo>
                  <a:pt x="307759" y="158889"/>
                </a:lnTo>
                <a:lnTo>
                  <a:pt x="309414" y="144631"/>
                </a:lnTo>
                <a:lnTo>
                  <a:pt x="331275" y="110181"/>
                </a:lnTo>
                <a:lnTo>
                  <a:pt x="370697" y="95815"/>
                </a:lnTo>
                <a:lnTo>
                  <a:pt x="617735" y="95815"/>
                </a:lnTo>
                <a:lnTo>
                  <a:pt x="615437" y="93594"/>
                </a:lnTo>
                <a:lnTo>
                  <a:pt x="569195" y="58253"/>
                </a:lnTo>
                <a:lnTo>
                  <a:pt x="517928" y="30555"/>
                </a:lnTo>
                <a:lnTo>
                  <a:pt x="462402" y="11300"/>
                </a:lnTo>
                <a:lnTo>
                  <a:pt x="403385" y="1288"/>
                </a:lnTo>
                <a:lnTo>
                  <a:pt x="372808" y="0"/>
                </a:lnTo>
                <a:close/>
              </a:path>
              <a:path w="745629" h="777620">
                <a:moveTo>
                  <a:pt x="717283"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7" y="681605"/>
                </a:lnTo>
                <a:lnTo>
                  <a:pt x="655885" y="641848"/>
                </a:lnTo>
                <a:lnTo>
                  <a:pt x="689772" y="593623"/>
                </a:lnTo>
                <a:lnTo>
                  <a:pt x="716331" y="540157"/>
                </a:lnTo>
                <a:lnTo>
                  <a:pt x="717283" y="537527"/>
                </a:lnTo>
                <a:close/>
              </a:path>
              <a:path w="745629" h="777620">
                <a:moveTo>
                  <a:pt x="617735"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4" y="511485"/>
                </a:lnTo>
                <a:lnTo>
                  <a:pt x="734794" y="482249"/>
                </a:lnTo>
                <a:lnTo>
                  <a:pt x="740750" y="451880"/>
                </a:lnTo>
                <a:lnTo>
                  <a:pt x="744393" y="420700"/>
                </a:lnTo>
                <a:lnTo>
                  <a:pt x="745629" y="388810"/>
                </a:lnTo>
                <a:lnTo>
                  <a:pt x="744393" y="356922"/>
                </a:lnTo>
                <a:lnTo>
                  <a:pt x="734794" y="295375"/>
                </a:lnTo>
                <a:lnTo>
                  <a:pt x="716331" y="237468"/>
                </a:lnTo>
                <a:lnTo>
                  <a:pt x="689772" y="184002"/>
                </a:lnTo>
                <a:lnTo>
                  <a:pt x="655885" y="135777"/>
                </a:lnTo>
                <a:lnTo>
                  <a:pt x="636433" y="113880"/>
                </a:lnTo>
                <a:lnTo>
                  <a:pt x="617735" y="95815"/>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63" name="object 31">
            <a:extLst>
              <a:ext uri="{FF2B5EF4-FFF2-40B4-BE49-F238E27FC236}">
                <a16:creationId xmlns:a16="http://schemas.microsoft.com/office/drawing/2014/main" id="{12EA9A6E-1B3B-4B28-8781-482781C3C94E}"/>
              </a:ext>
            </a:extLst>
          </p:cNvPr>
          <p:cNvSpPr>
            <a:spLocks/>
          </p:cNvSpPr>
          <p:nvPr/>
        </p:nvSpPr>
        <p:spPr bwMode="auto">
          <a:xfrm>
            <a:off x="953214" y="3813159"/>
            <a:ext cx="430917" cy="449254"/>
          </a:xfrm>
          <a:custGeom>
            <a:avLst/>
            <a:gdLst>
              <a:gd name="T0" fmla="*/ 312750 w 745629"/>
              <a:gd name="T1" fmla="*/ 5092 h 777621"/>
              <a:gd name="T2" fmla="*/ 201745 w 745629"/>
              <a:gd name="T3" fmla="*/ 43426 h 777621"/>
              <a:gd name="T4" fmla="*/ 109335 w 745629"/>
              <a:gd name="T5" fmla="*/ 113954 h 777621"/>
              <a:gd name="T6" fmla="*/ 41666 w 745629"/>
              <a:gd name="T7" fmla="*/ 210268 h 777621"/>
              <a:gd name="T8" fmla="*/ 4885 w 745629"/>
              <a:gd name="T9" fmla="*/ 325956 h 777621"/>
              <a:gd name="T10" fmla="*/ 1237 w 745629"/>
              <a:gd name="T11" fmla="*/ 420974 h 777621"/>
              <a:gd name="T12" fmla="*/ 29333 w 745629"/>
              <a:gd name="T13" fmla="*/ 540509 h 777621"/>
              <a:gd name="T14" fmla="*/ 89858 w 745629"/>
              <a:gd name="T15" fmla="*/ 642268 h 777621"/>
              <a:gd name="T16" fmla="*/ 176659 w 745629"/>
              <a:gd name="T17" fmla="*/ 719840 h 777621"/>
              <a:gd name="T18" fmla="*/ 283592 w 745629"/>
              <a:gd name="T19" fmla="*/ 766821 h 777621"/>
              <a:gd name="T20" fmla="*/ 373304 w 745629"/>
              <a:gd name="T21" fmla="*/ 778128 h 777621"/>
              <a:gd name="T22" fmla="*/ 463018 w 745629"/>
              <a:gd name="T23" fmla="*/ 766821 h 777621"/>
              <a:gd name="T24" fmla="*/ 569953 w 745629"/>
              <a:gd name="T25" fmla="*/ 719840 h 777621"/>
              <a:gd name="T26" fmla="*/ 618769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7 w 745629"/>
              <a:gd name="T37" fmla="*/ 537879 h 777621"/>
              <a:gd name="T38" fmla="*/ 727651 w 745629"/>
              <a:gd name="T39" fmla="*/ 511819 h 777621"/>
              <a:gd name="T40" fmla="*/ 359409 w 745629"/>
              <a:gd name="T41" fmla="*/ 510249 h 777621"/>
              <a:gd name="T42" fmla="*/ 308331 w 745629"/>
              <a:gd name="T43" fmla="*/ 452176 h 777621"/>
              <a:gd name="T44" fmla="*/ 308169 w 745629"/>
              <a:gd name="T45" fmla="*/ 158993 h 777621"/>
              <a:gd name="T46" fmla="*/ 331716 w 745629"/>
              <a:gd name="T47" fmla="*/ 110253 h 777621"/>
              <a:gd name="T48" fmla="*/ 618557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69 w 745629"/>
              <a:gd name="T65" fmla="*/ 682051 h 777621"/>
              <a:gd name="T66" fmla="*/ 690690 w 745629"/>
              <a:gd name="T67" fmla="*/ 594011 h 777621"/>
              <a:gd name="T68" fmla="*/ 718237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1 w 745629"/>
              <a:gd name="T79" fmla="*/ 511819 h 777621"/>
              <a:gd name="T80" fmla="*/ 741736 w 745629"/>
              <a:gd name="T81" fmla="*/ 452176 h 777621"/>
              <a:gd name="T82" fmla="*/ 746621 w 745629"/>
              <a:gd name="T83" fmla="*/ 389064 h 777621"/>
              <a:gd name="T84" fmla="*/ 735772 w 745629"/>
              <a:gd name="T85" fmla="*/ 295568 h 777621"/>
              <a:gd name="T86" fmla="*/ 690690 w 745629"/>
              <a:gd name="T87" fmla="*/ 184122 h 777621"/>
              <a:gd name="T88" fmla="*/ 637280 w 745629"/>
              <a:gd name="T89" fmla="*/ 113954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8"/>
                </a:lnTo>
                <a:lnTo>
                  <a:pt x="152628" y="75018"/>
                </a:lnTo>
                <a:lnTo>
                  <a:pt x="109189" y="113880"/>
                </a:lnTo>
                <a:lnTo>
                  <a:pt x="71927" y="159185"/>
                </a:lnTo>
                <a:lnTo>
                  <a:pt x="41610" y="210130"/>
                </a:lnTo>
                <a:lnTo>
                  <a:pt x="19005" y="265917"/>
                </a:lnTo>
                <a:lnTo>
                  <a:pt x="4879" y="325744"/>
                </a:lnTo>
                <a:lnTo>
                  <a:pt x="0" y="388810"/>
                </a:lnTo>
                <a:lnTo>
                  <a:pt x="1235" y="420700"/>
                </a:lnTo>
                <a:lnTo>
                  <a:pt x="10834" y="482249"/>
                </a:lnTo>
                <a:lnTo>
                  <a:pt x="29295" y="540157"/>
                </a:lnTo>
                <a:lnTo>
                  <a:pt x="55853" y="593623"/>
                </a:lnTo>
                <a:lnTo>
                  <a:pt x="89738" y="641848"/>
                </a:lnTo>
                <a:lnTo>
                  <a:pt x="130185" y="684030"/>
                </a:lnTo>
                <a:lnTo>
                  <a:pt x="176425" y="719370"/>
                </a:lnTo>
                <a:lnTo>
                  <a:pt x="227690" y="747067"/>
                </a:lnTo>
                <a:lnTo>
                  <a:pt x="283215" y="766321"/>
                </a:lnTo>
                <a:lnTo>
                  <a:pt x="342231" y="776332"/>
                </a:lnTo>
                <a:lnTo>
                  <a:pt x="372808" y="777620"/>
                </a:lnTo>
                <a:lnTo>
                  <a:pt x="403385" y="776332"/>
                </a:lnTo>
                <a:lnTo>
                  <a:pt x="462402" y="766321"/>
                </a:lnTo>
                <a:lnTo>
                  <a:pt x="517928" y="747067"/>
                </a:lnTo>
                <a:lnTo>
                  <a:pt x="569195" y="719370"/>
                </a:lnTo>
                <a:lnTo>
                  <a:pt x="615437" y="684030"/>
                </a:lnTo>
                <a:lnTo>
                  <a:pt x="617947"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3" y="537527"/>
                </a:lnTo>
                <a:lnTo>
                  <a:pt x="726623" y="511708"/>
                </a:lnTo>
                <a:lnTo>
                  <a:pt x="726684" y="511485"/>
                </a:lnTo>
                <a:lnTo>
                  <a:pt x="373913" y="511485"/>
                </a:lnTo>
                <a:lnTo>
                  <a:pt x="358931" y="509915"/>
                </a:lnTo>
                <a:lnTo>
                  <a:pt x="323083" y="489054"/>
                </a:lnTo>
                <a:lnTo>
                  <a:pt x="307921" y="451880"/>
                </a:lnTo>
                <a:lnTo>
                  <a:pt x="307797" y="325744"/>
                </a:lnTo>
                <a:lnTo>
                  <a:pt x="307759" y="158889"/>
                </a:lnTo>
                <a:lnTo>
                  <a:pt x="309414" y="144631"/>
                </a:lnTo>
                <a:lnTo>
                  <a:pt x="331275" y="110181"/>
                </a:lnTo>
                <a:lnTo>
                  <a:pt x="370697" y="95815"/>
                </a:lnTo>
                <a:lnTo>
                  <a:pt x="617735" y="95815"/>
                </a:lnTo>
                <a:lnTo>
                  <a:pt x="615437" y="93594"/>
                </a:lnTo>
                <a:lnTo>
                  <a:pt x="569195" y="58253"/>
                </a:lnTo>
                <a:lnTo>
                  <a:pt x="517928" y="30555"/>
                </a:lnTo>
                <a:lnTo>
                  <a:pt x="462402" y="11300"/>
                </a:lnTo>
                <a:lnTo>
                  <a:pt x="403385" y="1288"/>
                </a:lnTo>
                <a:lnTo>
                  <a:pt x="372808" y="0"/>
                </a:lnTo>
                <a:close/>
              </a:path>
              <a:path w="745629" h="777621">
                <a:moveTo>
                  <a:pt x="717283"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7" y="681605"/>
                </a:lnTo>
                <a:lnTo>
                  <a:pt x="655885" y="641848"/>
                </a:lnTo>
                <a:lnTo>
                  <a:pt x="689772" y="593623"/>
                </a:lnTo>
                <a:lnTo>
                  <a:pt x="716331" y="540157"/>
                </a:lnTo>
                <a:lnTo>
                  <a:pt x="717283" y="537527"/>
                </a:lnTo>
                <a:close/>
              </a:path>
              <a:path w="745629" h="777621">
                <a:moveTo>
                  <a:pt x="617735"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4" y="511485"/>
                </a:lnTo>
                <a:lnTo>
                  <a:pt x="734794" y="482249"/>
                </a:lnTo>
                <a:lnTo>
                  <a:pt x="740750" y="451880"/>
                </a:lnTo>
                <a:lnTo>
                  <a:pt x="744393" y="420700"/>
                </a:lnTo>
                <a:lnTo>
                  <a:pt x="745629" y="388810"/>
                </a:lnTo>
                <a:lnTo>
                  <a:pt x="744393" y="356922"/>
                </a:lnTo>
                <a:lnTo>
                  <a:pt x="734794" y="295375"/>
                </a:lnTo>
                <a:lnTo>
                  <a:pt x="716331" y="237468"/>
                </a:lnTo>
                <a:lnTo>
                  <a:pt x="689772" y="184002"/>
                </a:lnTo>
                <a:lnTo>
                  <a:pt x="655885" y="135777"/>
                </a:lnTo>
                <a:lnTo>
                  <a:pt x="636433" y="113880"/>
                </a:lnTo>
                <a:lnTo>
                  <a:pt x="617735" y="95815"/>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64" name="object 32">
            <a:extLst>
              <a:ext uri="{FF2B5EF4-FFF2-40B4-BE49-F238E27FC236}">
                <a16:creationId xmlns:a16="http://schemas.microsoft.com/office/drawing/2014/main" id="{EF1C7D17-E4D8-4E41-B927-FDD76338DEFF}"/>
              </a:ext>
            </a:extLst>
          </p:cNvPr>
          <p:cNvSpPr>
            <a:spLocks/>
          </p:cNvSpPr>
          <p:nvPr/>
        </p:nvSpPr>
        <p:spPr bwMode="auto">
          <a:xfrm>
            <a:off x="953214" y="4655739"/>
            <a:ext cx="430917" cy="449254"/>
          </a:xfrm>
          <a:custGeom>
            <a:avLst/>
            <a:gdLst>
              <a:gd name="T0" fmla="*/ 312750 w 745629"/>
              <a:gd name="T1" fmla="*/ 5092 h 777621"/>
              <a:gd name="T2" fmla="*/ 201745 w 745629"/>
              <a:gd name="T3" fmla="*/ 43427 h 777621"/>
              <a:gd name="T4" fmla="*/ 109335 w 745629"/>
              <a:gd name="T5" fmla="*/ 113956 h 777621"/>
              <a:gd name="T6" fmla="*/ 41666 w 745629"/>
              <a:gd name="T7" fmla="*/ 210273 h 777621"/>
              <a:gd name="T8" fmla="*/ 4885 w 745629"/>
              <a:gd name="T9" fmla="*/ 325965 h 777621"/>
              <a:gd name="T10" fmla="*/ 1237 w 745629"/>
              <a:gd name="T11" fmla="*/ 420985 h 777621"/>
              <a:gd name="T12" fmla="*/ 29333 w 745629"/>
              <a:gd name="T13" fmla="*/ 540514 h 777621"/>
              <a:gd name="T14" fmla="*/ 89858 w 745629"/>
              <a:gd name="T15" fmla="*/ 642270 h 777621"/>
              <a:gd name="T16" fmla="*/ 176659 w 745629"/>
              <a:gd name="T17" fmla="*/ 719841 h 777621"/>
              <a:gd name="T18" fmla="*/ 283592 w 745629"/>
              <a:gd name="T19" fmla="*/ 766821 h 777621"/>
              <a:gd name="T20" fmla="*/ 373304 w 745629"/>
              <a:gd name="T21" fmla="*/ 778128 h 777621"/>
              <a:gd name="T22" fmla="*/ 463018 w 745629"/>
              <a:gd name="T23" fmla="*/ 766821 h 777621"/>
              <a:gd name="T24" fmla="*/ 569953 w 745629"/>
              <a:gd name="T25" fmla="*/ 719841 h 777621"/>
              <a:gd name="T26" fmla="*/ 618770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9 w 745629"/>
              <a:gd name="T37" fmla="*/ 537879 h 777621"/>
              <a:gd name="T38" fmla="*/ 727653 w 745629"/>
              <a:gd name="T39" fmla="*/ 511819 h 777621"/>
              <a:gd name="T40" fmla="*/ 359409 w 745629"/>
              <a:gd name="T41" fmla="*/ 510249 h 777621"/>
              <a:gd name="T42" fmla="*/ 308332 w 745629"/>
              <a:gd name="T43" fmla="*/ 452185 h 777621"/>
              <a:gd name="T44" fmla="*/ 308169 w 745629"/>
              <a:gd name="T45" fmla="*/ 158993 h 777621"/>
              <a:gd name="T46" fmla="*/ 331716 w 745629"/>
              <a:gd name="T47" fmla="*/ 110253 h 777621"/>
              <a:gd name="T48" fmla="*/ 618556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70 w 745629"/>
              <a:gd name="T65" fmla="*/ 682051 h 777621"/>
              <a:gd name="T66" fmla="*/ 690690 w 745629"/>
              <a:gd name="T67" fmla="*/ 594015 h 777621"/>
              <a:gd name="T68" fmla="*/ 718239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3 w 745629"/>
              <a:gd name="T79" fmla="*/ 511819 h 777621"/>
              <a:gd name="T80" fmla="*/ 741736 w 745629"/>
              <a:gd name="T81" fmla="*/ 452185 h 777621"/>
              <a:gd name="T82" fmla="*/ 746621 w 745629"/>
              <a:gd name="T83" fmla="*/ 389077 h 777621"/>
              <a:gd name="T84" fmla="*/ 735772 w 745629"/>
              <a:gd name="T85" fmla="*/ 295576 h 777621"/>
              <a:gd name="T86" fmla="*/ 690690 w 745629"/>
              <a:gd name="T87" fmla="*/ 184126 h 777621"/>
              <a:gd name="T88" fmla="*/ 637280 w 745629"/>
              <a:gd name="T89" fmla="*/ 113956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9"/>
                </a:lnTo>
                <a:lnTo>
                  <a:pt x="152628" y="75019"/>
                </a:lnTo>
                <a:lnTo>
                  <a:pt x="109189" y="113882"/>
                </a:lnTo>
                <a:lnTo>
                  <a:pt x="71927" y="159187"/>
                </a:lnTo>
                <a:lnTo>
                  <a:pt x="41610" y="210135"/>
                </a:lnTo>
                <a:lnTo>
                  <a:pt x="19005" y="265923"/>
                </a:lnTo>
                <a:lnTo>
                  <a:pt x="4879" y="325753"/>
                </a:lnTo>
                <a:lnTo>
                  <a:pt x="0" y="388823"/>
                </a:lnTo>
                <a:lnTo>
                  <a:pt x="1235" y="420711"/>
                </a:lnTo>
                <a:lnTo>
                  <a:pt x="10834" y="482257"/>
                </a:lnTo>
                <a:lnTo>
                  <a:pt x="29295" y="540162"/>
                </a:lnTo>
                <a:lnTo>
                  <a:pt x="55853" y="593627"/>
                </a:lnTo>
                <a:lnTo>
                  <a:pt x="89738" y="641850"/>
                </a:lnTo>
                <a:lnTo>
                  <a:pt x="130185" y="684031"/>
                </a:lnTo>
                <a:lnTo>
                  <a:pt x="176425" y="719371"/>
                </a:lnTo>
                <a:lnTo>
                  <a:pt x="227690" y="747067"/>
                </a:lnTo>
                <a:lnTo>
                  <a:pt x="283215" y="766321"/>
                </a:lnTo>
                <a:lnTo>
                  <a:pt x="342231" y="776332"/>
                </a:lnTo>
                <a:lnTo>
                  <a:pt x="372808" y="777620"/>
                </a:lnTo>
                <a:lnTo>
                  <a:pt x="403385" y="776332"/>
                </a:lnTo>
                <a:lnTo>
                  <a:pt x="462402" y="766321"/>
                </a:lnTo>
                <a:lnTo>
                  <a:pt x="517928" y="747067"/>
                </a:lnTo>
                <a:lnTo>
                  <a:pt x="569195" y="719371"/>
                </a:lnTo>
                <a:lnTo>
                  <a:pt x="615437" y="684031"/>
                </a:lnTo>
                <a:lnTo>
                  <a:pt x="617948"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5" y="537527"/>
                </a:lnTo>
                <a:lnTo>
                  <a:pt x="726623" y="511715"/>
                </a:lnTo>
                <a:lnTo>
                  <a:pt x="726686" y="511485"/>
                </a:lnTo>
                <a:lnTo>
                  <a:pt x="373913" y="511485"/>
                </a:lnTo>
                <a:lnTo>
                  <a:pt x="358931" y="509915"/>
                </a:lnTo>
                <a:lnTo>
                  <a:pt x="323083" y="489054"/>
                </a:lnTo>
                <a:lnTo>
                  <a:pt x="307922" y="451889"/>
                </a:lnTo>
                <a:lnTo>
                  <a:pt x="307797" y="325753"/>
                </a:lnTo>
                <a:lnTo>
                  <a:pt x="307759" y="158889"/>
                </a:lnTo>
                <a:lnTo>
                  <a:pt x="309414" y="144631"/>
                </a:lnTo>
                <a:lnTo>
                  <a:pt x="331275" y="110181"/>
                </a:lnTo>
                <a:lnTo>
                  <a:pt x="370697" y="95815"/>
                </a:lnTo>
                <a:lnTo>
                  <a:pt x="617734" y="95815"/>
                </a:lnTo>
                <a:lnTo>
                  <a:pt x="615437" y="93595"/>
                </a:lnTo>
                <a:lnTo>
                  <a:pt x="569195" y="58253"/>
                </a:lnTo>
                <a:lnTo>
                  <a:pt x="517928" y="30555"/>
                </a:lnTo>
                <a:lnTo>
                  <a:pt x="462402" y="11300"/>
                </a:lnTo>
                <a:lnTo>
                  <a:pt x="403385" y="1288"/>
                </a:lnTo>
                <a:lnTo>
                  <a:pt x="372808" y="0"/>
                </a:lnTo>
                <a:close/>
              </a:path>
              <a:path w="745629" h="777621">
                <a:moveTo>
                  <a:pt x="717285"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8" y="681605"/>
                </a:lnTo>
                <a:lnTo>
                  <a:pt x="655885" y="641850"/>
                </a:lnTo>
                <a:lnTo>
                  <a:pt x="689772" y="593627"/>
                </a:lnTo>
                <a:lnTo>
                  <a:pt x="716331" y="540162"/>
                </a:lnTo>
                <a:lnTo>
                  <a:pt x="717285" y="537527"/>
                </a:lnTo>
                <a:close/>
              </a:path>
              <a:path w="745629" h="777621">
                <a:moveTo>
                  <a:pt x="617734"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6" y="511485"/>
                </a:lnTo>
                <a:lnTo>
                  <a:pt x="734794" y="482257"/>
                </a:lnTo>
                <a:lnTo>
                  <a:pt x="740750" y="451889"/>
                </a:lnTo>
                <a:lnTo>
                  <a:pt x="744393" y="420711"/>
                </a:lnTo>
                <a:lnTo>
                  <a:pt x="745629" y="388823"/>
                </a:lnTo>
                <a:lnTo>
                  <a:pt x="744393" y="356933"/>
                </a:lnTo>
                <a:lnTo>
                  <a:pt x="734794" y="295383"/>
                </a:lnTo>
                <a:lnTo>
                  <a:pt x="716331" y="237474"/>
                </a:lnTo>
                <a:lnTo>
                  <a:pt x="689772" y="184006"/>
                </a:lnTo>
                <a:lnTo>
                  <a:pt x="655885" y="135779"/>
                </a:lnTo>
                <a:lnTo>
                  <a:pt x="636433" y="113882"/>
                </a:lnTo>
                <a:lnTo>
                  <a:pt x="617734" y="95815"/>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65" name="object 33">
            <a:extLst>
              <a:ext uri="{FF2B5EF4-FFF2-40B4-BE49-F238E27FC236}">
                <a16:creationId xmlns:a16="http://schemas.microsoft.com/office/drawing/2014/main" id="{3A38CA24-9825-40DE-8289-21AE0DB2360F}"/>
              </a:ext>
            </a:extLst>
          </p:cNvPr>
          <p:cNvSpPr txBox="1">
            <a:spLocks noChangeArrowheads="1"/>
          </p:cNvSpPr>
          <p:nvPr/>
        </p:nvSpPr>
        <p:spPr bwMode="auto">
          <a:xfrm>
            <a:off x="224812" y="619279"/>
            <a:ext cx="8578427" cy="106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3200" b="0" i="0" u="none" strike="noStrike" kern="1200" cap="none" spc="0" normalizeH="0" baseline="0" noProof="0" dirty="0" err="1">
                <a:ln>
                  <a:noFill/>
                </a:ln>
                <a:solidFill>
                  <a:srgbClr val="231F20"/>
                </a:solidFill>
                <a:effectLst/>
                <a:uLnTx/>
                <a:uFillTx/>
                <a:latin typeface="Gill Sans" pitchFamily="34" charset="0"/>
                <a:cs typeface="Gill Sans" pitchFamily="34" charset="0"/>
              </a:rPr>
              <a:t>ပြင်းထန်သော</a:t>
            </a:r>
            <a:r>
              <a:rPr kumimoji="0" lang="en-US" altLang="en-US" sz="3200" b="0" i="0" u="none" strike="noStrike" kern="1200" cap="none" spc="0" normalizeH="0" baseline="0" noProof="0" dirty="0">
                <a:ln>
                  <a:noFill/>
                </a:ln>
                <a:solidFill>
                  <a:srgbClr val="231F20"/>
                </a:solidFill>
                <a:effectLst/>
                <a:uLnTx/>
                <a:uFillTx/>
                <a:latin typeface="Gill Sans" pitchFamily="34" charset="0"/>
                <a:cs typeface="Gill Sans" pitchFamily="34" charset="0"/>
              </a:rPr>
              <a:t> </a:t>
            </a:r>
            <a:r>
              <a:rPr lang="en-US" altLang="en-US" sz="3200" dirty="0" err="1">
                <a:solidFill>
                  <a:srgbClr val="231F20"/>
                </a:solidFill>
                <a:latin typeface="Gill Sans" pitchFamily="34" charset="0"/>
                <a:cs typeface="Gill Sans" pitchFamily="34" charset="0"/>
              </a:rPr>
              <a:t>ထိခိုက်မှုမ</a:t>
            </a:r>
            <a:r>
              <a:rPr lang="en-US" altLang="en-US" sz="3200" dirty="0">
                <a:solidFill>
                  <a:srgbClr val="231F20"/>
                </a:solidFill>
                <a:latin typeface="Gill Sans" pitchFamily="34" charset="0"/>
                <a:cs typeface="Gill Sans" pitchFamily="34" charset="0"/>
              </a:rPr>
              <a:t>ှ </a:t>
            </a:r>
            <a:r>
              <a:rPr lang="en-US" altLang="en-US" sz="3200" dirty="0" err="1">
                <a:solidFill>
                  <a:srgbClr val="231F20"/>
                </a:solidFill>
                <a:latin typeface="Gill Sans" pitchFamily="34" charset="0"/>
                <a:cs typeface="Gill Sans" pitchFamily="34" charset="0"/>
              </a:rPr>
              <a:t>ရလာသော</a:t>
            </a:r>
            <a:r>
              <a:rPr lang="en-US" altLang="en-US" sz="3200" dirty="0">
                <a:solidFill>
                  <a:srgbClr val="231F20"/>
                </a:solidFill>
                <a:latin typeface="Gill Sans" pitchFamily="34" charset="0"/>
                <a:cs typeface="Gill Sans" pitchFamily="34" charset="0"/>
              </a:rPr>
              <a:t> </a:t>
            </a:r>
            <a:r>
              <a:rPr lang="en-US" altLang="en-US" sz="3200" dirty="0" err="1">
                <a:solidFill>
                  <a:srgbClr val="231F20"/>
                </a:solidFill>
                <a:latin typeface="Gill Sans" pitchFamily="34" charset="0"/>
                <a:cs typeface="Gill Sans" pitchFamily="34" charset="0"/>
              </a:rPr>
              <a:t>စိတ်ဖိစီးမှု</a:t>
            </a:r>
            <a:endParaRPr kumimoji="0" lang="en-US" altLang="en-US" sz="3200" b="0" i="0" u="none" strike="noStrike" kern="1200" cap="none" spc="0" normalizeH="0" baseline="0" noProof="0" dirty="0">
              <a:ln>
                <a:noFill/>
              </a:ln>
              <a:solidFill>
                <a:prstClr val="black"/>
              </a:solidFill>
              <a:effectLst/>
              <a:uLnTx/>
              <a:uFillTx/>
              <a:latin typeface="Gill Sans" pitchFamily="34" charset="0"/>
              <a:cs typeface="Gill Sans" pitchFamily="34" charset="0"/>
            </a:endParaRPr>
          </a:p>
        </p:txBody>
      </p:sp>
      <p:sp>
        <p:nvSpPr>
          <p:cNvPr id="35" name="object 35">
            <a:extLst>
              <a:ext uri="{FF2B5EF4-FFF2-40B4-BE49-F238E27FC236}">
                <a16:creationId xmlns:a16="http://schemas.microsoft.com/office/drawing/2014/main" id="{C56DC567-1AD6-4042-84EF-4262BFD1B13A}"/>
              </a:ext>
            </a:extLst>
          </p:cNvPr>
          <p:cNvSpPr>
            <a:spLocks noGrp="1"/>
          </p:cNvSpPr>
          <p:nvPr>
            <p:ph type="ftr" sz="quarter" idx="10"/>
          </p:nvPr>
        </p:nvSpPr>
        <p:spPr/>
        <p:txBody>
          <a:bodyPr vert="horz"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e</a:t>
            </a:r>
            <a:r>
              <a:rPr kumimoji="0" sz="899" b="0" i="0" u="none" strike="noStrike" kern="1200" cap="none" spc="9"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12" normalizeH="0" baseline="0" noProof="0">
                <a:ln>
                  <a:noFill/>
                </a:ln>
                <a:solidFill>
                  <a:prstClr val="black">
                    <a:tint val="75000"/>
                  </a:prstClr>
                </a:solidFill>
                <a:effectLst/>
                <a:uLnTx/>
                <a:uFillTx/>
                <a:latin typeface="Calibri" panose="020F0502020204030204"/>
                <a:ea typeface="+mn-ea"/>
                <a:cs typeface="+mn-cs"/>
              </a:rPr>
              <a:t>t</a:t>
            </a:r>
            <a:r>
              <a:rPr kumimoji="0" sz="899" b="0" i="0" u="none" strike="noStrike" kern="1200" cap="none" spc="-6" normalizeH="0" baseline="0" noProof="0">
                <a:ln>
                  <a:noFill/>
                </a:ln>
                <a:solidFill>
                  <a:prstClr val="black">
                    <a:tint val="75000"/>
                  </a:prstClr>
                </a:solidFill>
                <a:effectLst/>
                <a:uLnTx/>
                <a:uFillTx/>
                <a:latin typeface="Calibri" panose="020F0502020204030204"/>
                <a:ea typeface="+mn-ea"/>
                <a:cs typeface="+mn-cs"/>
              </a:rPr>
              <a:t>i</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n</a:t>
            </a:r>
            <a:r>
              <a:rPr kumimoji="0" sz="899" b="0" i="0" u="none" strike="noStrike" kern="1200" cap="none" spc="3" normalizeH="0" baseline="0" noProof="0">
                <a:ln>
                  <a:noFill/>
                </a:ln>
                <a:solidFill>
                  <a:prstClr val="black">
                    <a:tint val="75000"/>
                  </a:prstClr>
                </a:solidFill>
                <a:effectLst/>
                <a:uLnTx/>
                <a:uFillTx/>
                <a:latin typeface="Calibri" panose="020F0502020204030204"/>
                <a:ea typeface="+mn-ea"/>
                <a:cs typeface="+mn-cs"/>
              </a:rPr>
              <a:t> </a:t>
            </a:r>
            <a:r>
              <a:rPr kumimoji="0" sz="899" b="0" i="0" u="none" strike="noStrike" kern="1200" cap="none" spc="17"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
            </a:r>
            <a:endParaRPr kumimoji="0" sz="8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object 34">
            <a:extLst>
              <a:ext uri="{FF2B5EF4-FFF2-40B4-BE49-F238E27FC236}">
                <a16:creationId xmlns:a16="http://schemas.microsoft.com/office/drawing/2014/main" id="{EB0FA5B6-6330-41B5-A3DD-9765CF9404CB}"/>
              </a:ext>
            </a:extLst>
          </p:cNvPr>
          <p:cNvSpPr txBox="1"/>
          <p:nvPr/>
        </p:nvSpPr>
        <p:spPr>
          <a:xfrm>
            <a:off x="9043328" y="4992806"/>
            <a:ext cx="69313" cy="763548"/>
          </a:xfrm>
          <a:prstGeom prst="rect">
            <a:avLst/>
          </a:prstGeom>
        </p:spPr>
        <p:txBody>
          <a:bodyPr vert="vert270"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sz="404" b="0" i="0" u="none" strike="noStrike" kern="1200" cap="none" spc="0" normalizeH="0" baseline="0" noProof="0" dirty="0">
                <a:ln>
                  <a:noFill/>
                </a:ln>
                <a:solidFill>
                  <a:srgbClr val="231F20"/>
                </a:solidFill>
                <a:effectLst/>
                <a:uLnTx/>
                <a:uFillTx/>
                <a:latin typeface="Gill Sans"/>
                <a:ea typeface="+mn-ea"/>
                <a:cs typeface="Gill Sans"/>
              </a:rPr>
              <a:t>Benedicte </a:t>
            </a:r>
            <a:r>
              <a:rPr kumimoji="0" sz="404" b="0" i="0" u="none" strike="noStrike" kern="1200" cap="none" spc="-20" normalizeH="0" baseline="0" noProof="0" dirty="0">
                <a:ln>
                  <a:noFill/>
                </a:ln>
                <a:solidFill>
                  <a:srgbClr val="231F20"/>
                </a:solidFill>
                <a:effectLst/>
                <a:uLnTx/>
                <a:uFillTx/>
                <a:latin typeface="Gill Sans"/>
                <a:ea typeface="+mn-ea"/>
                <a:cs typeface="Gill Sans"/>
              </a:rPr>
              <a:t>K</a:t>
            </a:r>
            <a:r>
              <a:rPr kumimoji="0" sz="404" b="0" i="0" u="none" strike="noStrike" kern="1200" cap="none" spc="0" normalizeH="0" baseline="0" noProof="0" dirty="0">
                <a:ln>
                  <a:noFill/>
                </a:ln>
                <a:solidFill>
                  <a:srgbClr val="231F20"/>
                </a:solidFill>
                <a:effectLst/>
                <a:uLnTx/>
                <a:uFillTx/>
                <a:latin typeface="Gill Sans"/>
                <a:ea typeface="+mn-ea"/>
                <a:cs typeface="Gill Sans"/>
              </a:rPr>
              <a:t>urzen/S</a:t>
            </a:r>
            <a:r>
              <a:rPr kumimoji="0" sz="404" b="0" i="0" u="none" strike="noStrike" kern="1200" cap="none" spc="-14" normalizeH="0" baseline="0" noProof="0" dirty="0">
                <a:ln>
                  <a:noFill/>
                </a:ln>
                <a:solidFill>
                  <a:srgbClr val="231F20"/>
                </a:solidFill>
                <a:effectLst/>
                <a:uLnTx/>
                <a:uFillTx/>
                <a:latin typeface="Gill Sans"/>
                <a:ea typeface="+mn-ea"/>
                <a:cs typeface="Gill Sans"/>
              </a:rPr>
              <a:t>a</a:t>
            </a:r>
            <a:r>
              <a:rPr kumimoji="0" sz="404" b="0" i="0" u="none" strike="noStrike" kern="1200" cap="none" spc="-9" normalizeH="0" baseline="0" noProof="0" dirty="0">
                <a:ln>
                  <a:noFill/>
                </a:ln>
                <a:solidFill>
                  <a:srgbClr val="231F20"/>
                </a:solidFill>
                <a:effectLst/>
                <a:uLnTx/>
                <a:uFillTx/>
                <a:latin typeface="Gill Sans"/>
                <a:ea typeface="+mn-ea"/>
                <a:cs typeface="Gill Sans"/>
              </a:rPr>
              <a:t>v</a:t>
            </a:r>
            <a:r>
              <a:rPr kumimoji="0" sz="404" b="0" i="0" u="none" strike="noStrike" kern="1200" cap="none" spc="0" normalizeH="0" baseline="0" noProof="0" dirty="0">
                <a:ln>
                  <a:noFill/>
                </a:ln>
                <a:solidFill>
                  <a:srgbClr val="231F20"/>
                </a:solidFill>
                <a:effectLst/>
                <a:uLnTx/>
                <a:uFillTx/>
                <a:latin typeface="Gill Sans"/>
                <a:ea typeface="+mn-ea"/>
                <a:cs typeface="Gill Sans"/>
              </a:rPr>
              <a:t>e the Child</a:t>
            </a:r>
            <a:r>
              <a:rPr kumimoji="0" sz="404" b="0" i="0" u="none" strike="noStrike" kern="1200" cap="none" spc="-9" normalizeH="0" baseline="0" noProof="0" dirty="0">
                <a:ln>
                  <a:noFill/>
                </a:ln>
                <a:solidFill>
                  <a:srgbClr val="231F20"/>
                </a:solidFill>
                <a:effectLst/>
                <a:uLnTx/>
                <a:uFillTx/>
                <a:latin typeface="Gill Sans"/>
                <a:ea typeface="+mn-ea"/>
                <a:cs typeface="Gill Sans"/>
              </a:rPr>
              <a:t>r</a:t>
            </a:r>
            <a:r>
              <a:rPr kumimoji="0" sz="404" b="0" i="0" u="none" strike="noStrike" kern="1200" cap="none" spc="0" normalizeH="0" baseline="0" noProof="0" dirty="0">
                <a:ln>
                  <a:noFill/>
                </a:ln>
                <a:solidFill>
                  <a:srgbClr val="231F20"/>
                </a:solidFill>
                <a:effectLst/>
                <a:uLnTx/>
                <a:uFillTx/>
                <a:latin typeface="Gill Sans"/>
                <a:ea typeface="+mn-ea"/>
                <a:cs typeface="Gill Sans"/>
              </a:rPr>
              <a:t>en</a:t>
            </a:r>
            <a:endParaRPr kumimoji="0" sz="404" b="0" i="0" u="none" strike="noStrike" kern="1200" cap="none" spc="0" normalizeH="0" baseline="0" noProof="0">
              <a:ln>
                <a:noFill/>
              </a:ln>
              <a:solidFill>
                <a:prstClr val="black"/>
              </a:solidFill>
              <a:effectLst/>
              <a:uLnTx/>
              <a:uFillTx/>
              <a:latin typeface="Gill Sans"/>
              <a:ea typeface="+mn-ea"/>
              <a:cs typeface="Gill Sans"/>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object 2">
            <a:extLst>
              <a:ext uri="{FF2B5EF4-FFF2-40B4-BE49-F238E27FC236}">
                <a16:creationId xmlns:a16="http://schemas.microsoft.com/office/drawing/2014/main" id="{64728026-03DF-466F-BE7A-A1F6F3153C3C}"/>
              </a:ext>
            </a:extLst>
          </p:cNvPr>
          <p:cNvSpPr>
            <a:spLocks/>
          </p:cNvSpPr>
          <p:nvPr/>
        </p:nvSpPr>
        <p:spPr bwMode="auto">
          <a:xfrm>
            <a:off x="2445" y="5795377"/>
            <a:ext cx="9140027" cy="118273"/>
          </a:xfrm>
          <a:custGeom>
            <a:avLst/>
            <a:gdLst>
              <a:gd name="T0" fmla="*/ 0 w 15825596"/>
              <a:gd name="T1" fmla="*/ 0 h 204177"/>
              <a:gd name="T2" fmla="*/ 0 w 15825596"/>
              <a:gd name="T3" fmla="*/ 205399 h 204177"/>
              <a:gd name="T4" fmla="*/ 15825980 w 15825596"/>
              <a:gd name="T5" fmla="*/ 205399 h 204177"/>
              <a:gd name="T6" fmla="*/ 15825980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59" name="object 3">
            <a:extLst>
              <a:ext uri="{FF2B5EF4-FFF2-40B4-BE49-F238E27FC236}">
                <a16:creationId xmlns:a16="http://schemas.microsoft.com/office/drawing/2014/main" id="{6885B36C-C3E7-4091-A67B-D3159F793946}"/>
              </a:ext>
            </a:extLst>
          </p:cNvPr>
          <p:cNvSpPr>
            <a:spLocks/>
          </p:cNvSpPr>
          <p:nvPr/>
        </p:nvSpPr>
        <p:spPr bwMode="auto">
          <a:xfrm>
            <a:off x="2445" y="5603756"/>
            <a:ext cx="1435779" cy="191621"/>
          </a:xfrm>
          <a:custGeom>
            <a:avLst/>
            <a:gdLst>
              <a:gd name="T0" fmla="*/ 0 w 2486525"/>
              <a:gd name="T1" fmla="*/ 330940 h 332638"/>
              <a:gd name="T2" fmla="*/ 2438021 w 2486525"/>
              <a:gd name="T3" fmla="*/ 330940 h 332638"/>
              <a:gd name="T4" fmla="*/ 2460182 w 2486525"/>
              <a:gd name="T5" fmla="*/ 330621 h 332638"/>
              <a:gd name="T6" fmla="*/ 2485517 w 2486525"/>
              <a:gd name="T7" fmla="*/ 291061 h 332638"/>
              <a:gd name="T8" fmla="*/ 2485525 w 2486525"/>
              <a:gd name="T9" fmla="*/ 47281 h 332638"/>
              <a:gd name="T10" fmla="*/ 2485204 w 2486525"/>
              <a:gd name="T11" fmla="*/ 25222 h 332638"/>
              <a:gd name="T12" fmla="*/ 2445458 w 2486525"/>
              <a:gd name="T13" fmla="*/ 7 h 332638"/>
              <a:gd name="T14" fmla="*/ 0 w 2486525"/>
              <a:gd name="T15" fmla="*/ 0 h 332638"/>
              <a:gd name="T16" fmla="*/ 0 w 2486525"/>
              <a:gd name="T17" fmla="*/ 330940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0" name="object 4">
            <a:extLst>
              <a:ext uri="{FF2B5EF4-FFF2-40B4-BE49-F238E27FC236}">
                <a16:creationId xmlns:a16="http://schemas.microsoft.com/office/drawing/2014/main" id="{348A2E88-2AEB-4ED9-8CAC-DA105002B1A8}"/>
              </a:ext>
            </a:extLst>
          </p:cNvPr>
          <p:cNvSpPr>
            <a:spLocks/>
          </p:cNvSpPr>
          <p:nvPr/>
        </p:nvSpPr>
        <p:spPr bwMode="auto">
          <a:xfrm>
            <a:off x="2445" y="0"/>
            <a:ext cx="9140027" cy="118273"/>
          </a:xfrm>
          <a:custGeom>
            <a:avLst/>
            <a:gdLst>
              <a:gd name="T0" fmla="*/ 0 w 15825596"/>
              <a:gd name="T1" fmla="*/ 205401 h 204177"/>
              <a:gd name="T2" fmla="*/ 15825980 w 15825596"/>
              <a:gd name="T3" fmla="*/ 205401 h 204177"/>
              <a:gd name="T4" fmla="*/ 15825980 w 15825596"/>
              <a:gd name="T5" fmla="*/ 0 h 204177"/>
              <a:gd name="T6" fmla="*/ 0 w 15825596"/>
              <a:gd name="T7" fmla="*/ 0 h 204177"/>
              <a:gd name="T8" fmla="*/ 0 w 15825596"/>
              <a:gd name="T9" fmla="*/ 205401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1" name="object 5">
            <a:extLst>
              <a:ext uri="{FF2B5EF4-FFF2-40B4-BE49-F238E27FC236}">
                <a16:creationId xmlns:a16="http://schemas.microsoft.com/office/drawing/2014/main" id="{60B89D4F-83B2-43B7-9313-8593C92F7834}"/>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2" name="object 6">
            <a:extLst>
              <a:ext uri="{FF2B5EF4-FFF2-40B4-BE49-F238E27FC236}">
                <a16:creationId xmlns:a16="http://schemas.microsoft.com/office/drawing/2014/main" id="{77DBAAD5-F162-454A-AF1C-9B3D15FE4518}"/>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18</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19463" name="object 7">
            <a:extLst>
              <a:ext uri="{FF2B5EF4-FFF2-40B4-BE49-F238E27FC236}">
                <a16:creationId xmlns:a16="http://schemas.microsoft.com/office/drawing/2014/main" id="{38CD7649-F493-4CF8-A158-6E0BD83F45A7}"/>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4" name="object 8">
            <a:extLst>
              <a:ext uri="{FF2B5EF4-FFF2-40B4-BE49-F238E27FC236}">
                <a16:creationId xmlns:a16="http://schemas.microsoft.com/office/drawing/2014/main" id="{50506A69-C342-4A5A-8193-B7181E2FFC7C}"/>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5" name="object 9">
            <a:extLst>
              <a:ext uri="{FF2B5EF4-FFF2-40B4-BE49-F238E27FC236}">
                <a16:creationId xmlns:a16="http://schemas.microsoft.com/office/drawing/2014/main" id="{8A5BA345-3486-4399-A65B-02FC3E5FCE80}"/>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6" name="object 10">
            <a:extLst>
              <a:ext uri="{FF2B5EF4-FFF2-40B4-BE49-F238E27FC236}">
                <a16:creationId xmlns:a16="http://schemas.microsoft.com/office/drawing/2014/main" id="{4CEF0E20-BA58-4160-A7DB-8332BFF52913}"/>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7" name="object 11">
            <a:extLst>
              <a:ext uri="{FF2B5EF4-FFF2-40B4-BE49-F238E27FC236}">
                <a16:creationId xmlns:a16="http://schemas.microsoft.com/office/drawing/2014/main" id="{FD756265-18FB-457C-A7C6-FD940DD12F16}"/>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8" name="object 12">
            <a:extLst>
              <a:ext uri="{FF2B5EF4-FFF2-40B4-BE49-F238E27FC236}">
                <a16:creationId xmlns:a16="http://schemas.microsoft.com/office/drawing/2014/main" id="{4B553204-D30D-4CC1-8466-88F5BF6744DB}"/>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69" name="object 13">
            <a:extLst>
              <a:ext uri="{FF2B5EF4-FFF2-40B4-BE49-F238E27FC236}">
                <a16:creationId xmlns:a16="http://schemas.microsoft.com/office/drawing/2014/main" id="{B836C6FC-82EA-462F-B7E0-533860D3882B}"/>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0" name="object 14">
            <a:extLst>
              <a:ext uri="{FF2B5EF4-FFF2-40B4-BE49-F238E27FC236}">
                <a16:creationId xmlns:a16="http://schemas.microsoft.com/office/drawing/2014/main" id="{5DA7BC5B-B62A-4E34-A16F-D60A7D2A0AB7}"/>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1" name="object 15">
            <a:extLst>
              <a:ext uri="{FF2B5EF4-FFF2-40B4-BE49-F238E27FC236}">
                <a16:creationId xmlns:a16="http://schemas.microsoft.com/office/drawing/2014/main" id="{5FC711B8-047A-433B-B4D9-C980F4530996}"/>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2" name="object 16">
            <a:extLst>
              <a:ext uri="{FF2B5EF4-FFF2-40B4-BE49-F238E27FC236}">
                <a16:creationId xmlns:a16="http://schemas.microsoft.com/office/drawing/2014/main" id="{49934B5F-38CE-4A92-9B5F-4B663DE00D24}"/>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3" name="object 17">
            <a:extLst>
              <a:ext uri="{FF2B5EF4-FFF2-40B4-BE49-F238E27FC236}">
                <a16:creationId xmlns:a16="http://schemas.microsoft.com/office/drawing/2014/main" id="{71929921-E314-4BFA-854E-31970E8F7B71}"/>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4" name="object 18">
            <a:extLst>
              <a:ext uri="{FF2B5EF4-FFF2-40B4-BE49-F238E27FC236}">
                <a16:creationId xmlns:a16="http://schemas.microsoft.com/office/drawing/2014/main" id="{16175A71-7147-4BF6-BF3A-376FF7DC1E52}"/>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5" name="object 19">
            <a:extLst>
              <a:ext uri="{FF2B5EF4-FFF2-40B4-BE49-F238E27FC236}">
                <a16:creationId xmlns:a16="http://schemas.microsoft.com/office/drawing/2014/main" id="{72786EFF-1D03-4F75-B1A4-BB4A31E56707}"/>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6" name="object 20">
            <a:extLst>
              <a:ext uri="{FF2B5EF4-FFF2-40B4-BE49-F238E27FC236}">
                <a16:creationId xmlns:a16="http://schemas.microsoft.com/office/drawing/2014/main" id="{4D3D11C2-CDDA-43AB-ADDE-0E6086488E08}"/>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7" name="object 21">
            <a:extLst>
              <a:ext uri="{FF2B5EF4-FFF2-40B4-BE49-F238E27FC236}">
                <a16:creationId xmlns:a16="http://schemas.microsoft.com/office/drawing/2014/main" id="{1D0B15D7-912F-4451-80B8-BA96205B9199}"/>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8" name="object 22">
            <a:extLst>
              <a:ext uri="{FF2B5EF4-FFF2-40B4-BE49-F238E27FC236}">
                <a16:creationId xmlns:a16="http://schemas.microsoft.com/office/drawing/2014/main" id="{3EE1417C-5377-4DEA-B03C-DBB232E1D6EF}"/>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79" name="object 23">
            <a:extLst>
              <a:ext uri="{FF2B5EF4-FFF2-40B4-BE49-F238E27FC236}">
                <a16:creationId xmlns:a16="http://schemas.microsoft.com/office/drawing/2014/main" id="{E95CFFE6-A3CE-4BA5-A10E-1BC39A2C6121}"/>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0" name="object 24">
            <a:extLst>
              <a:ext uri="{FF2B5EF4-FFF2-40B4-BE49-F238E27FC236}">
                <a16:creationId xmlns:a16="http://schemas.microsoft.com/office/drawing/2014/main" id="{5CB1B24C-CF79-4FA4-867E-ED75C018D177}"/>
              </a:ext>
            </a:extLst>
          </p:cNvPr>
          <p:cNvSpPr>
            <a:spLocks/>
          </p:cNvSpPr>
          <p:nvPr/>
        </p:nvSpPr>
        <p:spPr bwMode="auto">
          <a:xfrm>
            <a:off x="3384686" y="2413136"/>
            <a:ext cx="2375545" cy="701387"/>
          </a:xfrm>
          <a:custGeom>
            <a:avLst/>
            <a:gdLst>
              <a:gd name="T0" fmla="*/ 0 w 4113504"/>
              <a:gd name="T1" fmla="*/ 1214883 h 1213993"/>
              <a:gd name="T2" fmla="*/ 4112920 w 4113504"/>
              <a:gd name="T3" fmla="*/ 1214883 h 1213993"/>
              <a:gd name="T4" fmla="*/ 4112920 w 4113504"/>
              <a:gd name="T5" fmla="*/ 0 h 1213993"/>
              <a:gd name="T6" fmla="*/ 0 w 4113504"/>
              <a:gd name="T7" fmla="*/ 0 h 1213993"/>
              <a:gd name="T8" fmla="*/ 0 w 4113504"/>
              <a:gd name="T9" fmla="*/ 1214883 h 12139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3">
                <a:moveTo>
                  <a:pt x="0" y="1213993"/>
                </a:moveTo>
                <a:lnTo>
                  <a:pt x="4113504" y="1213993"/>
                </a:lnTo>
                <a:lnTo>
                  <a:pt x="4113504" y="0"/>
                </a:lnTo>
                <a:lnTo>
                  <a:pt x="0" y="0"/>
                </a:lnTo>
                <a:lnTo>
                  <a:pt x="0" y="12139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1" name="object 25">
            <a:extLst>
              <a:ext uri="{FF2B5EF4-FFF2-40B4-BE49-F238E27FC236}">
                <a16:creationId xmlns:a16="http://schemas.microsoft.com/office/drawing/2014/main" id="{A2758F5D-A8EF-42D4-89CB-A9F8DFEE2E43}"/>
              </a:ext>
            </a:extLst>
          </p:cNvPr>
          <p:cNvSpPr>
            <a:spLocks/>
          </p:cNvSpPr>
          <p:nvPr/>
        </p:nvSpPr>
        <p:spPr bwMode="auto">
          <a:xfrm>
            <a:off x="3384686" y="3223627"/>
            <a:ext cx="2375545" cy="701387"/>
          </a:xfrm>
          <a:custGeom>
            <a:avLst/>
            <a:gdLst>
              <a:gd name="T0" fmla="*/ 0 w 4113504"/>
              <a:gd name="T1" fmla="*/ 1214884 h 1213992"/>
              <a:gd name="T2" fmla="*/ 4112920 w 4113504"/>
              <a:gd name="T3" fmla="*/ 1214884 h 1213992"/>
              <a:gd name="T4" fmla="*/ 4112920 w 4113504"/>
              <a:gd name="T5" fmla="*/ 0 h 1213992"/>
              <a:gd name="T6" fmla="*/ 0 w 4113504"/>
              <a:gd name="T7" fmla="*/ 0 h 1213992"/>
              <a:gd name="T8" fmla="*/ 0 w 4113504"/>
              <a:gd name="T9" fmla="*/ 1214884 h 12139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2">
                <a:moveTo>
                  <a:pt x="0" y="1213992"/>
                </a:moveTo>
                <a:lnTo>
                  <a:pt x="4113504" y="1213992"/>
                </a:lnTo>
                <a:lnTo>
                  <a:pt x="4113504" y="0"/>
                </a:lnTo>
                <a:lnTo>
                  <a:pt x="0" y="0"/>
                </a:lnTo>
                <a:lnTo>
                  <a:pt x="0" y="1213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2" name="object 26">
            <a:extLst>
              <a:ext uri="{FF2B5EF4-FFF2-40B4-BE49-F238E27FC236}">
                <a16:creationId xmlns:a16="http://schemas.microsoft.com/office/drawing/2014/main" id="{FCDA7834-864A-4E4A-BE1D-B1BD99DB7BDC}"/>
              </a:ext>
            </a:extLst>
          </p:cNvPr>
          <p:cNvSpPr>
            <a:spLocks/>
          </p:cNvSpPr>
          <p:nvPr/>
        </p:nvSpPr>
        <p:spPr bwMode="auto">
          <a:xfrm>
            <a:off x="3384686" y="4034117"/>
            <a:ext cx="2375545" cy="701387"/>
          </a:xfrm>
          <a:custGeom>
            <a:avLst/>
            <a:gdLst>
              <a:gd name="T0" fmla="*/ 0 w 4113504"/>
              <a:gd name="T1" fmla="*/ 1214884 h 1213992"/>
              <a:gd name="T2" fmla="*/ 4112920 w 4113504"/>
              <a:gd name="T3" fmla="*/ 1214884 h 1213992"/>
              <a:gd name="T4" fmla="*/ 4112920 w 4113504"/>
              <a:gd name="T5" fmla="*/ 0 h 1213992"/>
              <a:gd name="T6" fmla="*/ 0 w 4113504"/>
              <a:gd name="T7" fmla="*/ 0 h 1213992"/>
              <a:gd name="T8" fmla="*/ 0 w 4113504"/>
              <a:gd name="T9" fmla="*/ 1214884 h 12139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2">
                <a:moveTo>
                  <a:pt x="0" y="1213992"/>
                </a:moveTo>
                <a:lnTo>
                  <a:pt x="4113504" y="1213992"/>
                </a:lnTo>
                <a:lnTo>
                  <a:pt x="4113504" y="0"/>
                </a:lnTo>
                <a:lnTo>
                  <a:pt x="0" y="0"/>
                </a:lnTo>
                <a:lnTo>
                  <a:pt x="0" y="1213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3" name="object 27">
            <a:extLst>
              <a:ext uri="{FF2B5EF4-FFF2-40B4-BE49-F238E27FC236}">
                <a16:creationId xmlns:a16="http://schemas.microsoft.com/office/drawing/2014/main" id="{5FA6C1BE-A7DB-4915-81DB-32D14BDCB649}"/>
              </a:ext>
            </a:extLst>
          </p:cNvPr>
          <p:cNvSpPr>
            <a:spLocks/>
          </p:cNvSpPr>
          <p:nvPr/>
        </p:nvSpPr>
        <p:spPr bwMode="auto">
          <a:xfrm>
            <a:off x="882617" y="2413136"/>
            <a:ext cx="2375545" cy="701387"/>
          </a:xfrm>
          <a:custGeom>
            <a:avLst/>
            <a:gdLst>
              <a:gd name="T0" fmla="*/ 0 w 4113504"/>
              <a:gd name="T1" fmla="*/ 1214883 h 1213993"/>
              <a:gd name="T2" fmla="*/ 4112922 w 4113504"/>
              <a:gd name="T3" fmla="*/ 1214883 h 1213993"/>
              <a:gd name="T4" fmla="*/ 4112922 w 4113504"/>
              <a:gd name="T5" fmla="*/ 0 h 1213993"/>
              <a:gd name="T6" fmla="*/ 0 w 4113504"/>
              <a:gd name="T7" fmla="*/ 0 h 1213993"/>
              <a:gd name="T8" fmla="*/ 0 w 4113504"/>
              <a:gd name="T9" fmla="*/ 1214883 h 12139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3">
                <a:moveTo>
                  <a:pt x="0" y="1213993"/>
                </a:moveTo>
                <a:lnTo>
                  <a:pt x="4113504" y="1213993"/>
                </a:lnTo>
                <a:lnTo>
                  <a:pt x="4113504" y="0"/>
                </a:lnTo>
                <a:lnTo>
                  <a:pt x="0" y="0"/>
                </a:lnTo>
                <a:lnTo>
                  <a:pt x="0" y="12139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4" name="object 28">
            <a:extLst>
              <a:ext uri="{FF2B5EF4-FFF2-40B4-BE49-F238E27FC236}">
                <a16:creationId xmlns:a16="http://schemas.microsoft.com/office/drawing/2014/main" id="{3FD9B814-2B5E-4AA0-BF29-CCACCD0FA729}"/>
              </a:ext>
            </a:extLst>
          </p:cNvPr>
          <p:cNvSpPr>
            <a:spLocks/>
          </p:cNvSpPr>
          <p:nvPr/>
        </p:nvSpPr>
        <p:spPr bwMode="auto">
          <a:xfrm>
            <a:off x="5886756" y="2413136"/>
            <a:ext cx="2375545" cy="701387"/>
          </a:xfrm>
          <a:custGeom>
            <a:avLst/>
            <a:gdLst>
              <a:gd name="T0" fmla="*/ 0 w 4113504"/>
              <a:gd name="T1" fmla="*/ 1214883 h 1213993"/>
              <a:gd name="T2" fmla="*/ 4112922 w 4113504"/>
              <a:gd name="T3" fmla="*/ 1214883 h 1213993"/>
              <a:gd name="T4" fmla="*/ 4112922 w 4113504"/>
              <a:gd name="T5" fmla="*/ 0 h 1213993"/>
              <a:gd name="T6" fmla="*/ 0 w 4113504"/>
              <a:gd name="T7" fmla="*/ 0 h 1213993"/>
              <a:gd name="T8" fmla="*/ 0 w 4113504"/>
              <a:gd name="T9" fmla="*/ 1214883 h 121399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3">
                <a:moveTo>
                  <a:pt x="0" y="1213993"/>
                </a:moveTo>
                <a:lnTo>
                  <a:pt x="4113504" y="1213993"/>
                </a:lnTo>
                <a:lnTo>
                  <a:pt x="4113504" y="0"/>
                </a:lnTo>
                <a:lnTo>
                  <a:pt x="0" y="0"/>
                </a:lnTo>
                <a:lnTo>
                  <a:pt x="0" y="12139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5" name="object 29">
            <a:extLst>
              <a:ext uri="{FF2B5EF4-FFF2-40B4-BE49-F238E27FC236}">
                <a16:creationId xmlns:a16="http://schemas.microsoft.com/office/drawing/2014/main" id="{3E47286F-58A1-48AA-9FA3-67462FC28803}"/>
              </a:ext>
            </a:extLst>
          </p:cNvPr>
          <p:cNvSpPr>
            <a:spLocks/>
          </p:cNvSpPr>
          <p:nvPr/>
        </p:nvSpPr>
        <p:spPr bwMode="auto">
          <a:xfrm>
            <a:off x="5886756" y="3223627"/>
            <a:ext cx="2375545" cy="701387"/>
          </a:xfrm>
          <a:custGeom>
            <a:avLst/>
            <a:gdLst>
              <a:gd name="T0" fmla="*/ 0 w 4113504"/>
              <a:gd name="T1" fmla="*/ 1214884 h 1213992"/>
              <a:gd name="T2" fmla="*/ 4112922 w 4113504"/>
              <a:gd name="T3" fmla="*/ 1214884 h 1213992"/>
              <a:gd name="T4" fmla="*/ 4112922 w 4113504"/>
              <a:gd name="T5" fmla="*/ 0 h 1213992"/>
              <a:gd name="T6" fmla="*/ 0 w 4113504"/>
              <a:gd name="T7" fmla="*/ 0 h 1213992"/>
              <a:gd name="T8" fmla="*/ 0 w 4113504"/>
              <a:gd name="T9" fmla="*/ 1214884 h 12139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2">
                <a:moveTo>
                  <a:pt x="0" y="1213992"/>
                </a:moveTo>
                <a:lnTo>
                  <a:pt x="4113504" y="1213992"/>
                </a:lnTo>
                <a:lnTo>
                  <a:pt x="4113504" y="0"/>
                </a:lnTo>
                <a:lnTo>
                  <a:pt x="0" y="0"/>
                </a:lnTo>
                <a:lnTo>
                  <a:pt x="0" y="1213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6" name="object 30">
            <a:extLst>
              <a:ext uri="{FF2B5EF4-FFF2-40B4-BE49-F238E27FC236}">
                <a16:creationId xmlns:a16="http://schemas.microsoft.com/office/drawing/2014/main" id="{79A89F49-6BC7-48FF-8EE9-A5F5C581F00E}"/>
              </a:ext>
            </a:extLst>
          </p:cNvPr>
          <p:cNvSpPr>
            <a:spLocks/>
          </p:cNvSpPr>
          <p:nvPr/>
        </p:nvSpPr>
        <p:spPr bwMode="auto">
          <a:xfrm>
            <a:off x="5886756" y="4034117"/>
            <a:ext cx="2375545" cy="701387"/>
          </a:xfrm>
          <a:custGeom>
            <a:avLst/>
            <a:gdLst>
              <a:gd name="T0" fmla="*/ 0 w 4113504"/>
              <a:gd name="T1" fmla="*/ 1214884 h 1213992"/>
              <a:gd name="T2" fmla="*/ 4112922 w 4113504"/>
              <a:gd name="T3" fmla="*/ 1214884 h 1213992"/>
              <a:gd name="T4" fmla="*/ 4112922 w 4113504"/>
              <a:gd name="T5" fmla="*/ 0 h 1213992"/>
              <a:gd name="T6" fmla="*/ 0 w 4113504"/>
              <a:gd name="T7" fmla="*/ 0 h 1213992"/>
              <a:gd name="T8" fmla="*/ 0 w 4113504"/>
              <a:gd name="T9" fmla="*/ 1214884 h 12139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2">
                <a:moveTo>
                  <a:pt x="0" y="1213992"/>
                </a:moveTo>
                <a:lnTo>
                  <a:pt x="4113504" y="1213992"/>
                </a:lnTo>
                <a:lnTo>
                  <a:pt x="4113504" y="0"/>
                </a:lnTo>
                <a:lnTo>
                  <a:pt x="0" y="0"/>
                </a:lnTo>
                <a:lnTo>
                  <a:pt x="0" y="1213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7" name="object 31">
            <a:extLst>
              <a:ext uri="{FF2B5EF4-FFF2-40B4-BE49-F238E27FC236}">
                <a16:creationId xmlns:a16="http://schemas.microsoft.com/office/drawing/2014/main" id="{286D4A1A-47F7-4F09-8F3E-B522F021EACA}"/>
              </a:ext>
            </a:extLst>
          </p:cNvPr>
          <p:cNvSpPr>
            <a:spLocks/>
          </p:cNvSpPr>
          <p:nvPr/>
        </p:nvSpPr>
        <p:spPr bwMode="auto">
          <a:xfrm>
            <a:off x="882617" y="3223627"/>
            <a:ext cx="2375545" cy="701387"/>
          </a:xfrm>
          <a:custGeom>
            <a:avLst/>
            <a:gdLst>
              <a:gd name="T0" fmla="*/ 0 w 4113504"/>
              <a:gd name="T1" fmla="*/ 1214884 h 1213992"/>
              <a:gd name="T2" fmla="*/ 4112922 w 4113504"/>
              <a:gd name="T3" fmla="*/ 1214884 h 1213992"/>
              <a:gd name="T4" fmla="*/ 4112922 w 4113504"/>
              <a:gd name="T5" fmla="*/ 0 h 1213992"/>
              <a:gd name="T6" fmla="*/ 0 w 4113504"/>
              <a:gd name="T7" fmla="*/ 0 h 1213992"/>
              <a:gd name="T8" fmla="*/ 0 w 4113504"/>
              <a:gd name="T9" fmla="*/ 1214884 h 12139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2">
                <a:moveTo>
                  <a:pt x="0" y="1213992"/>
                </a:moveTo>
                <a:lnTo>
                  <a:pt x="4113504" y="1213992"/>
                </a:lnTo>
                <a:lnTo>
                  <a:pt x="4113504" y="0"/>
                </a:lnTo>
                <a:lnTo>
                  <a:pt x="0" y="0"/>
                </a:lnTo>
                <a:lnTo>
                  <a:pt x="0" y="1213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88" name="object 32">
            <a:extLst>
              <a:ext uri="{FF2B5EF4-FFF2-40B4-BE49-F238E27FC236}">
                <a16:creationId xmlns:a16="http://schemas.microsoft.com/office/drawing/2014/main" id="{8D42864B-E403-4D93-9CD8-7ED51E502FD6}"/>
              </a:ext>
            </a:extLst>
          </p:cNvPr>
          <p:cNvSpPr>
            <a:spLocks/>
          </p:cNvSpPr>
          <p:nvPr/>
        </p:nvSpPr>
        <p:spPr bwMode="auto">
          <a:xfrm>
            <a:off x="882617" y="4034117"/>
            <a:ext cx="2375545" cy="701387"/>
          </a:xfrm>
          <a:custGeom>
            <a:avLst/>
            <a:gdLst>
              <a:gd name="T0" fmla="*/ 0 w 4113504"/>
              <a:gd name="T1" fmla="*/ 1214884 h 1213992"/>
              <a:gd name="T2" fmla="*/ 4112922 w 4113504"/>
              <a:gd name="T3" fmla="*/ 1214884 h 1213992"/>
              <a:gd name="T4" fmla="*/ 4112922 w 4113504"/>
              <a:gd name="T5" fmla="*/ 0 h 1213992"/>
              <a:gd name="T6" fmla="*/ 0 w 4113504"/>
              <a:gd name="T7" fmla="*/ 0 h 1213992"/>
              <a:gd name="T8" fmla="*/ 0 w 4113504"/>
              <a:gd name="T9" fmla="*/ 1214884 h 12139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13504" h="1213992">
                <a:moveTo>
                  <a:pt x="0" y="1213992"/>
                </a:moveTo>
                <a:lnTo>
                  <a:pt x="4113504" y="1213992"/>
                </a:lnTo>
                <a:lnTo>
                  <a:pt x="4113504" y="0"/>
                </a:lnTo>
                <a:lnTo>
                  <a:pt x="0" y="0"/>
                </a:lnTo>
                <a:lnTo>
                  <a:pt x="0" y="12139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object 33">
            <a:extLst>
              <a:ext uri="{FF2B5EF4-FFF2-40B4-BE49-F238E27FC236}">
                <a16:creationId xmlns:a16="http://schemas.microsoft.com/office/drawing/2014/main" id="{B8C9EC05-4713-463B-9294-635078250219}"/>
              </a:ext>
            </a:extLst>
          </p:cNvPr>
          <p:cNvSpPr txBox="1"/>
          <p:nvPr/>
        </p:nvSpPr>
        <p:spPr>
          <a:xfrm>
            <a:off x="4123663" y="2564416"/>
            <a:ext cx="1763092" cy="372239"/>
          </a:xfrm>
          <a:prstGeom prst="rect">
            <a:avLst/>
          </a:prstGeom>
        </p:spPr>
        <p:txBody>
          <a:bodyPr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lang="en-US" sz="2397" b="0" i="0" u="none" strike="noStrike" kern="1200" cap="none" spc="-12" normalizeH="0" baseline="0" noProof="0" dirty="0" err="1">
                <a:ln>
                  <a:noFill/>
                </a:ln>
                <a:solidFill>
                  <a:srgbClr val="ED1C24"/>
                </a:solidFill>
                <a:effectLst/>
                <a:uLnTx/>
                <a:uFillTx/>
                <a:latin typeface="Gill Sans"/>
                <a:ea typeface="+mn-ea"/>
                <a:cs typeface="Gill Sans"/>
              </a:rPr>
              <a:t>စိုးရိမ်ခြင်း</a:t>
            </a:r>
            <a:endParaRPr kumimoji="0" sz="2397" b="0" i="0" u="none" strike="noStrike" kern="1200" cap="none" spc="0" normalizeH="0" baseline="0" noProof="0" dirty="0">
              <a:ln>
                <a:noFill/>
              </a:ln>
              <a:solidFill>
                <a:prstClr val="black"/>
              </a:solidFill>
              <a:effectLst/>
              <a:uLnTx/>
              <a:uFillTx/>
              <a:latin typeface="Gill Sans"/>
              <a:ea typeface="+mn-ea"/>
              <a:cs typeface="Gill Sans"/>
            </a:endParaRPr>
          </a:p>
        </p:txBody>
      </p:sp>
      <p:sp>
        <p:nvSpPr>
          <p:cNvPr id="34" name="object 34">
            <a:extLst>
              <a:ext uri="{FF2B5EF4-FFF2-40B4-BE49-F238E27FC236}">
                <a16:creationId xmlns:a16="http://schemas.microsoft.com/office/drawing/2014/main" id="{4B211621-6073-49EB-8F9C-280F1E755E90}"/>
              </a:ext>
            </a:extLst>
          </p:cNvPr>
          <p:cNvSpPr txBox="1"/>
          <p:nvPr/>
        </p:nvSpPr>
        <p:spPr>
          <a:xfrm>
            <a:off x="3384686" y="3557155"/>
            <a:ext cx="2685133" cy="327314"/>
          </a:xfrm>
          <a:prstGeom prst="rect">
            <a:avLst/>
          </a:prstGeom>
        </p:spPr>
        <p:txBody>
          <a:bodyPr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lang="en-US" spc="-75" dirty="0" err="1">
                <a:solidFill>
                  <a:srgbClr val="ED1C24"/>
                </a:solidFill>
                <a:latin typeface="Gill Sans"/>
              </a:rPr>
              <a:t>ပါဝါမရှိသလို</a:t>
            </a:r>
            <a:r>
              <a:rPr lang="en-US" spc="-75" dirty="0">
                <a:solidFill>
                  <a:srgbClr val="ED1C24"/>
                </a:solidFill>
                <a:latin typeface="Gill Sans"/>
              </a:rPr>
              <a:t> </a:t>
            </a:r>
            <a:r>
              <a:rPr lang="en-US" spc="-75" dirty="0" err="1">
                <a:solidFill>
                  <a:srgbClr val="ED1C24"/>
                </a:solidFill>
                <a:latin typeface="Gill Sans"/>
              </a:rPr>
              <a:t>ခံစားရခြင်း</a:t>
            </a:r>
            <a:endParaRPr sz="1400" dirty="0"/>
          </a:p>
        </p:txBody>
      </p:sp>
      <p:sp>
        <p:nvSpPr>
          <p:cNvPr id="35" name="object 35">
            <a:extLst>
              <a:ext uri="{FF2B5EF4-FFF2-40B4-BE49-F238E27FC236}">
                <a16:creationId xmlns:a16="http://schemas.microsoft.com/office/drawing/2014/main" id="{847C6231-EE44-4E4C-A9C4-A11E929C9FDF}"/>
              </a:ext>
            </a:extLst>
          </p:cNvPr>
          <p:cNvSpPr txBox="1"/>
          <p:nvPr/>
        </p:nvSpPr>
        <p:spPr>
          <a:xfrm>
            <a:off x="2011253" y="4694960"/>
            <a:ext cx="2201446" cy="621620"/>
          </a:xfrm>
          <a:prstGeom prst="rect">
            <a:avLst/>
          </a:prstGeom>
        </p:spPr>
        <p:txBody>
          <a:bodyPr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lang="en-US" b="0" i="0" u="none" strike="noStrike" kern="1200" cap="none" spc="-12" normalizeH="0" baseline="0" noProof="0" dirty="0" err="1">
                <a:ln>
                  <a:noFill/>
                </a:ln>
                <a:solidFill>
                  <a:srgbClr val="ED1C24"/>
                </a:solidFill>
                <a:effectLst/>
                <a:uLnTx/>
                <a:uFillTx/>
                <a:latin typeface="Gill Sans"/>
                <a:ea typeface="+mn-ea"/>
                <a:cs typeface="Gill Sans"/>
              </a:rPr>
              <a:t>ကူရာမဲ့သလို</a:t>
            </a:r>
            <a:r>
              <a:rPr kumimoji="0" lang="en-US" b="0" i="0" u="none" strike="noStrike" kern="1200" cap="none" spc="-12" normalizeH="0" baseline="0" noProof="0" dirty="0">
                <a:ln>
                  <a:noFill/>
                </a:ln>
                <a:solidFill>
                  <a:srgbClr val="ED1C24"/>
                </a:solidFill>
                <a:effectLst/>
                <a:uLnTx/>
                <a:uFillTx/>
                <a:latin typeface="Gill Sans"/>
                <a:ea typeface="+mn-ea"/>
                <a:cs typeface="Gill Sans"/>
              </a:rPr>
              <a:t> </a:t>
            </a:r>
            <a:r>
              <a:rPr kumimoji="0" lang="en-US" b="0" i="0" u="none" strike="noStrike" kern="1200" cap="none" spc="-12" normalizeH="0" baseline="0" noProof="0" dirty="0" err="1">
                <a:ln>
                  <a:noFill/>
                </a:ln>
                <a:solidFill>
                  <a:srgbClr val="ED1C24"/>
                </a:solidFill>
                <a:effectLst/>
                <a:uLnTx/>
                <a:uFillTx/>
                <a:latin typeface="Gill Sans"/>
                <a:ea typeface="+mn-ea"/>
                <a:cs typeface="Gill Sans"/>
              </a:rPr>
              <a:t>ခံစားရခြင်း</a:t>
            </a:r>
            <a:endParaRPr kumimoji="0" b="0" i="0" u="none" strike="noStrike" kern="1200" cap="none" spc="0" normalizeH="0" baseline="0" noProof="0" dirty="0">
              <a:ln>
                <a:noFill/>
              </a:ln>
              <a:solidFill>
                <a:prstClr val="black"/>
              </a:solidFill>
              <a:effectLst/>
              <a:uLnTx/>
              <a:uFillTx/>
              <a:latin typeface="Gill Sans"/>
              <a:ea typeface="+mn-ea"/>
              <a:cs typeface="Gill Sans"/>
            </a:endParaRPr>
          </a:p>
        </p:txBody>
      </p:sp>
      <p:sp>
        <p:nvSpPr>
          <p:cNvPr id="36" name="object 36">
            <a:extLst>
              <a:ext uri="{FF2B5EF4-FFF2-40B4-BE49-F238E27FC236}">
                <a16:creationId xmlns:a16="http://schemas.microsoft.com/office/drawing/2014/main" id="{9321C1AF-81F6-4084-923A-9119EA134E49}"/>
              </a:ext>
            </a:extLst>
          </p:cNvPr>
          <p:cNvSpPr txBox="1"/>
          <p:nvPr/>
        </p:nvSpPr>
        <p:spPr>
          <a:xfrm>
            <a:off x="1722447" y="2567166"/>
            <a:ext cx="1120384" cy="369489"/>
          </a:xfrm>
          <a:prstGeom prst="rect">
            <a:avLst/>
          </a:prstGeom>
        </p:spPr>
        <p:txBody>
          <a:bodyPr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lang="en-US" sz="2368" spc="12" dirty="0" err="1">
                <a:solidFill>
                  <a:srgbClr val="ED1C24"/>
                </a:solidFill>
                <a:latin typeface="Gill Sans"/>
                <a:cs typeface="Gill Sans"/>
              </a:rPr>
              <a:t>ဒေါသ</a:t>
            </a:r>
            <a:endParaRPr kumimoji="0" sz="2368" b="0" i="0" u="none" strike="noStrike" kern="1200" cap="none" spc="0" normalizeH="0" baseline="0" noProof="0" dirty="0">
              <a:ln>
                <a:noFill/>
              </a:ln>
              <a:solidFill>
                <a:prstClr val="black"/>
              </a:solidFill>
              <a:effectLst/>
              <a:uLnTx/>
              <a:uFillTx/>
              <a:latin typeface="Gill Sans"/>
              <a:ea typeface="+mn-ea"/>
              <a:cs typeface="Gill Sans"/>
            </a:endParaRPr>
          </a:p>
        </p:txBody>
      </p:sp>
      <p:sp>
        <p:nvSpPr>
          <p:cNvPr id="37" name="object 37">
            <a:extLst>
              <a:ext uri="{FF2B5EF4-FFF2-40B4-BE49-F238E27FC236}">
                <a16:creationId xmlns:a16="http://schemas.microsoft.com/office/drawing/2014/main" id="{55467D69-49E9-4FBD-AD0B-E54F4347AE59}"/>
              </a:ext>
            </a:extLst>
          </p:cNvPr>
          <p:cNvSpPr txBox="1"/>
          <p:nvPr/>
        </p:nvSpPr>
        <p:spPr>
          <a:xfrm>
            <a:off x="5885840" y="2163754"/>
            <a:ext cx="2990747" cy="772901"/>
          </a:xfrm>
          <a:prstGeom prst="rect">
            <a:avLst/>
          </a:prstGeom>
        </p:spPr>
        <p:txBody>
          <a:bodyPr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9" normalizeH="0" baseline="0" noProof="0" dirty="0" err="1">
                <a:ln>
                  <a:noFill/>
                </a:ln>
                <a:solidFill>
                  <a:srgbClr val="ED1C24"/>
                </a:solidFill>
                <a:effectLst/>
                <a:uLnTx/>
                <a:uFillTx/>
                <a:latin typeface="Gill Sans"/>
                <a:ea typeface="+mn-ea"/>
                <a:cs typeface="Gill Sans"/>
              </a:rPr>
              <a:t>အပြစ်ရှိသလိုခံစားရခြင်း</a:t>
            </a:r>
            <a:endParaRPr kumimoji="0" sz="2000" b="0" i="0" u="none" strike="noStrike" kern="1200" cap="none" spc="0" normalizeH="0" baseline="0" noProof="0" dirty="0">
              <a:ln>
                <a:noFill/>
              </a:ln>
              <a:solidFill>
                <a:prstClr val="black"/>
              </a:solidFill>
              <a:effectLst/>
              <a:uLnTx/>
              <a:uFillTx/>
              <a:latin typeface="Gill Sans"/>
              <a:ea typeface="+mn-ea"/>
              <a:cs typeface="Gill Sans"/>
            </a:endParaRPr>
          </a:p>
        </p:txBody>
      </p:sp>
      <p:sp>
        <p:nvSpPr>
          <p:cNvPr id="38" name="object 38">
            <a:extLst>
              <a:ext uri="{FF2B5EF4-FFF2-40B4-BE49-F238E27FC236}">
                <a16:creationId xmlns:a16="http://schemas.microsoft.com/office/drawing/2014/main" id="{8E1A1FB8-9D38-4571-A398-3BB258400893}"/>
              </a:ext>
            </a:extLst>
          </p:cNvPr>
          <p:cNvSpPr txBox="1"/>
          <p:nvPr/>
        </p:nvSpPr>
        <p:spPr>
          <a:xfrm>
            <a:off x="6700913" y="3377657"/>
            <a:ext cx="1763093" cy="461172"/>
          </a:xfrm>
          <a:prstGeom prst="rect">
            <a:avLst/>
          </a:prstGeom>
        </p:spPr>
        <p:txBody>
          <a:bodyPr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lang="en-US" sz="2368" b="0" i="0" u="none" strike="noStrike" kern="1200" cap="none" spc="12" normalizeH="0" baseline="0" noProof="0" dirty="0" err="1">
                <a:ln>
                  <a:noFill/>
                </a:ln>
                <a:solidFill>
                  <a:srgbClr val="ED1C24"/>
                </a:solidFill>
                <a:effectLst/>
                <a:uLnTx/>
                <a:uFillTx/>
                <a:latin typeface="Gill Sans"/>
                <a:ea typeface="+mn-ea"/>
                <a:cs typeface="Gill Sans"/>
              </a:rPr>
              <a:t>အရှက်ရ</a:t>
            </a:r>
            <a:r>
              <a:rPr lang="en-US" sz="2368" spc="12" dirty="0" err="1">
                <a:solidFill>
                  <a:srgbClr val="ED1C24"/>
                </a:solidFill>
                <a:latin typeface="Gill Sans"/>
                <a:cs typeface="Gill Sans"/>
              </a:rPr>
              <a:t>ခြင်း</a:t>
            </a:r>
            <a:endParaRPr kumimoji="0" sz="2368" b="0" i="0" u="none" strike="noStrike" kern="1200" cap="none" spc="0" normalizeH="0" baseline="0" noProof="0" dirty="0">
              <a:ln>
                <a:noFill/>
              </a:ln>
              <a:solidFill>
                <a:prstClr val="black"/>
              </a:solidFill>
              <a:effectLst/>
              <a:uLnTx/>
              <a:uFillTx/>
              <a:latin typeface="Gill Sans"/>
              <a:ea typeface="+mn-ea"/>
              <a:cs typeface="Gill Sans"/>
            </a:endParaRPr>
          </a:p>
        </p:txBody>
      </p:sp>
      <p:sp>
        <p:nvSpPr>
          <p:cNvPr id="39" name="object 39">
            <a:extLst>
              <a:ext uri="{FF2B5EF4-FFF2-40B4-BE49-F238E27FC236}">
                <a16:creationId xmlns:a16="http://schemas.microsoft.com/office/drawing/2014/main" id="{84FC36A6-191C-4598-96E2-A87FE05BD112}"/>
              </a:ext>
            </a:extLst>
          </p:cNvPr>
          <p:cNvSpPr txBox="1"/>
          <p:nvPr/>
        </p:nvSpPr>
        <p:spPr>
          <a:xfrm>
            <a:off x="6241167" y="4709375"/>
            <a:ext cx="2293844" cy="771983"/>
          </a:xfrm>
          <a:prstGeom prst="rect">
            <a:avLst/>
          </a:prstGeom>
        </p:spPr>
        <p:txBody>
          <a:bodyPr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2" normalizeH="0" baseline="0" noProof="0" dirty="0" err="1">
                <a:ln>
                  <a:noFill/>
                </a:ln>
                <a:solidFill>
                  <a:srgbClr val="ED1C24"/>
                </a:solidFill>
                <a:effectLst/>
                <a:uLnTx/>
                <a:uFillTx/>
                <a:latin typeface="Gill Sans"/>
                <a:ea typeface="+mn-ea"/>
                <a:cs typeface="Gill Sans"/>
              </a:rPr>
              <a:t>ပူဆွေး</a:t>
            </a:r>
            <a:r>
              <a:rPr lang="en-US" sz="2000" spc="-12" dirty="0" err="1">
                <a:solidFill>
                  <a:srgbClr val="ED1C24"/>
                </a:solidFill>
                <a:latin typeface="Gill Sans"/>
                <a:cs typeface="Gill Sans"/>
              </a:rPr>
              <a:t>ဝမ်းနည်းခြင်း</a:t>
            </a:r>
            <a:endParaRPr kumimoji="0" sz="2000" b="0" i="0" u="none" strike="noStrike" kern="1200" cap="none" spc="0" normalizeH="0" baseline="0" noProof="0" dirty="0">
              <a:ln>
                <a:noFill/>
              </a:ln>
              <a:solidFill>
                <a:prstClr val="black"/>
              </a:solidFill>
              <a:effectLst/>
              <a:uLnTx/>
              <a:uFillTx/>
              <a:latin typeface="Gill Sans"/>
              <a:ea typeface="+mn-ea"/>
              <a:cs typeface="Gill Sans"/>
            </a:endParaRPr>
          </a:p>
        </p:txBody>
      </p:sp>
      <p:sp>
        <p:nvSpPr>
          <p:cNvPr id="41" name="object 41">
            <a:extLst>
              <a:ext uri="{FF2B5EF4-FFF2-40B4-BE49-F238E27FC236}">
                <a16:creationId xmlns:a16="http://schemas.microsoft.com/office/drawing/2014/main" id="{8FC8082A-52DA-4F70-AA52-F1BDDDFCB6D8}"/>
              </a:ext>
            </a:extLst>
          </p:cNvPr>
          <p:cNvSpPr txBox="1"/>
          <p:nvPr/>
        </p:nvSpPr>
        <p:spPr>
          <a:xfrm>
            <a:off x="756092" y="3374906"/>
            <a:ext cx="1606108" cy="1182731"/>
          </a:xfrm>
          <a:prstGeom prst="rect">
            <a:avLst/>
          </a:prstGeom>
        </p:spPr>
        <p:txBody>
          <a:bodyPr lIns="0" tIns="0" rIns="0" bIns="0"/>
          <a:lstStyle/>
          <a:p>
            <a:pPr marL="7334" marR="0" lvl="0" indent="0" algn="l" defTabSz="457200" rtl="0" eaLnBrk="1" fontAlgn="auto" latinLnBrk="0" hangingPunct="1">
              <a:lnSpc>
                <a:spcPct val="150000"/>
              </a:lnSpc>
              <a:spcBef>
                <a:spcPts val="0"/>
              </a:spcBef>
              <a:spcAft>
                <a:spcPts val="0"/>
              </a:spcAft>
              <a:buClrTx/>
              <a:buSzTx/>
              <a:buFontTx/>
              <a:buNone/>
              <a:tabLst/>
              <a:defRPr/>
            </a:pPr>
            <a:r>
              <a:rPr lang="en-US" sz="1600" spc="-12" dirty="0">
                <a:solidFill>
                  <a:srgbClr val="ED1C24"/>
                </a:solidFill>
                <a:latin typeface="Gill Sans"/>
                <a:cs typeface="Gill Sans"/>
              </a:rPr>
              <a:t>မျှ</a:t>
            </a:r>
            <a:r>
              <a:rPr lang="en-US" sz="1600" spc="-12" dirty="0" err="1">
                <a:solidFill>
                  <a:srgbClr val="ED1C24"/>
                </a:solidFill>
                <a:latin typeface="Gill Sans"/>
                <a:cs typeface="Gill Sans"/>
              </a:rPr>
              <a:t>ော်လင</a:t>
            </a:r>
            <a:r>
              <a:rPr lang="en-US" sz="1600" spc="-12" dirty="0">
                <a:solidFill>
                  <a:srgbClr val="ED1C24"/>
                </a:solidFill>
                <a:latin typeface="Gill Sans"/>
                <a:cs typeface="Gill Sans"/>
              </a:rPr>
              <a:t>့်</a:t>
            </a:r>
            <a:r>
              <a:rPr lang="en-US" sz="1600" spc="-12" dirty="0" err="1">
                <a:solidFill>
                  <a:srgbClr val="ED1C24"/>
                </a:solidFill>
                <a:latin typeface="Gill Sans"/>
                <a:cs typeface="Gill Sans"/>
              </a:rPr>
              <a:t>ချက</a:t>
            </a:r>
            <a:r>
              <a:rPr lang="en-US" sz="1600" spc="-12" dirty="0">
                <a:solidFill>
                  <a:srgbClr val="ED1C24"/>
                </a:solidFill>
                <a:latin typeface="Gill Sans"/>
                <a:cs typeface="Gill Sans"/>
              </a:rPr>
              <a:t>် </a:t>
            </a:r>
            <a:r>
              <a:rPr lang="en-US" sz="1600" spc="-12" dirty="0" err="1">
                <a:solidFill>
                  <a:srgbClr val="ED1C24"/>
                </a:solidFill>
                <a:latin typeface="Gill Sans"/>
                <a:cs typeface="Gill Sans"/>
              </a:rPr>
              <a:t>ပျက်သုဉ်းခြင်း</a:t>
            </a:r>
            <a:endParaRPr kumimoji="0" sz="1600" b="0" i="0" u="none" strike="noStrike" kern="1200" cap="none" spc="0" normalizeH="0" baseline="0" noProof="0" dirty="0">
              <a:ln>
                <a:noFill/>
              </a:ln>
              <a:solidFill>
                <a:prstClr val="black"/>
              </a:solidFill>
              <a:effectLst/>
              <a:uLnTx/>
              <a:uFillTx/>
              <a:latin typeface="Gill Sans"/>
              <a:ea typeface="+mn-ea"/>
              <a:cs typeface="Gill Sans"/>
            </a:endParaRPr>
          </a:p>
        </p:txBody>
      </p:sp>
      <p:sp>
        <p:nvSpPr>
          <p:cNvPr id="19498" name="object 43">
            <a:extLst>
              <a:ext uri="{FF2B5EF4-FFF2-40B4-BE49-F238E27FC236}">
                <a16:creationId xmlns:a16="http://schemas.microsoft.com/office/drawing/2014/main" id="{839A1603-4339-427A-9CA4-9F06D31FC635}"/>
              </a:ext>
            </a:extLst>
          </p:cNvPr>
          <p:cNvSpPr txBox="1">
            <a:spLocks noChangeArrowheads="1"/>
          </p:cNvSpPr>
          <p:nvPr/>
        </p:nvSpPr>
        <p:spPr bwMode="auto">
          <a:xfrm>
            <a:off x="628375" y="591366"/>
            <a:ext cx="8001581" cy="913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714500" indent="-17018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714500" marR="0" lvl="0" indent="-1701800" algn="l" defTabSz="457200" rtl="0" eaLnBrk="1" fontAlgn="auto" latinLnBrk="0" hangingPunct="1">
              <a:lnSpc>
                <a:spcPct val="100000"/>
              </a:lnSpc>
              <a:spcBef>
                <a:spcPct val="0"/>
              </a:spcBef>
              <a:spcAft>
                <a:spcPts val="0"/>
              </a:spcAft>
              <a:buClrTx/>
              <a:buSzTx/>
              <a:buFontTx/>
              <a:buNone/>
              <a:tabLst/>
              <a:defRPr/>
            </a:pPr>
            <a:r>
              <a:rPr lang="en-US" altLang="en-US" dirty="0" err="1">
                <a:solidFill>
                  <a:srgbClr val="ED1C24"/>
                </a:solidFill>
                <a:latin typeface="Gill Sans Light"/>
                <a:ea typeface="Gill Sans Light"/>
                <a:cs typeface="Gill Sans Light"/>
              </a:rPr>
              <a:t>စိတ်ဒဏ်ရာရစေလောက်သော</a:t>
            </a:r>
            <a:r>
              <a:rPr lang="en-US" altLang="en-US" dirty="0">
                <a:solidFill>
                  <a:srgbClr val="ED1C24"/>
                </a:solidFill>
                <a:latin typeface="Gill Sans Light"/>
                <a:ea typeface="Gill Sans Light"/>
                <a:cs typeface="Gill Sans Light"/>
              </a:rPr>
              <a:t> </a:t>
            </a:r>
            <a:r>
              <a:rPr lang="en-US" altLang="en-US" dirty="0" err="1">
                <a:solidFill>
                  <a:srgbClr val="ED1C24"/>
                </a:solidFill>
                <a:latin typeface="Gill Sans Light"/>
                <a:ea typeface="Gill Sans Light"/>
                <a:cs typeface="Gill Sans Light"/>
              </a:rPr>
              <a:t>ထိခိုက်မှုများအတွက</a:t>
            </a:r>
            <a:r>
              <a:rPr lang="en-US" altLang="en-US" dirty="0">
                <a:solidFill>
                  <a:srgbClr val="ED1C24"/>
                </a:solidFill>
                <a:latin typeface="Gill Sans Light"/>
                <a:ea typeface="Gill Sans Light"/>
                <a:cs typeface="Gill Sans Light"/>
              </a:rPr>
              <a:t>် </a:t>
            </a:r>
            <a:r>
              <a:rPr lang="en-US" altLang="en-US" dirty="0" err="1">
                <a:solidFill>
                  <a:srgbClr val="ED1C24"/>
                </a:solidFill>
                <a:latin typeface="Gill Sans Light"/>
                <a:ea typeface="Gill Sans Light"/>
                <a:cs typeface="Gill Sans Light"/>
              </a:rPr>
              <a:t>ဖြစ်လေ့ဖြစ်ထရှိသော</a:t>
            </a:r>
            <a:r>
              <a:rPr lang="en-US" altLang="en-US" dirty="0">
                <a:solidFill>
                  <a:srgbClr val="ED1C24"/>
                </a:solidFill>
                <a:latin typeface="Gill Sans Light"/>
                <a:ea typeface="Gill Sans Light"/>
                <a:cs typeface="Gill Sans Light"/>
              </a:rPr>
              <a:t> </a:t>
            </a:r>
            <a:r>
              <a:rPr lang="en-US" altLang="en-US" dirty="0" err="1">
                <a:solidFill>
                  <a:srgbClr val="ED1C24"/>
                </a:solidFill>
                <a:latin typeface="Gill Sans Light"/>
                <a:ea typeface="Gill Sans Light"/>
                <a:cs typeface="Gill Sans Light"/>
              </a:rPr>
              <a:t>ခံစားချက်များ</a:t>
            </a:r>
            <a:endParaRPr kumimoji="0" lang="en-US" altLang="en-US" b="0" i="0" u="none" strike="noStrike" kern="1200" cap="none" spc="0" normalizeH="0" baseline="0" noProof="0" dirty="0">
              <a:ln>
                <a:noFill/>
              </a:ln>
              <a:solidFill>
                <a:prstClr val="black"/>
              </a:solidFill>
              <a:effectLst/>
              <a:uLnTx/>
              <a:uFillTx/>
              <a:latin typeface="Gill Sans Light"/>
              <a:ea typeface="Gill Sans Light"/>
              <a:cs typeface="Gill Sans Light"/>
            </a:endParaRPr>
          </a:p>
        </p:txBody>
      </p:sp>
      <p:sp>
        <p:nvSpPr>
          <p:cNvPr id="44" name="object 44">
            <a:extLst>
              <a:ext uri="{FF2B5EF4-FFF2-40B4-BE49-F238E27FC236}">
                <a16:creationId xmlns:a16="http://schemas.microsoft.com/office/drawing/2014/main" id="{0FEADF25-E7A9-4B87-AB46-4DCAFB143DAD}"/>
              </a:ext>
            </a:extLst>
          </p:cNvPr>
          <p:cNvSpPr>
            <a:spLocks noGrp="1"/>
          </p:cNvSpPr>
          <p:nvPr>
            <p:ph type="ftr" sz="quarter" idx="10"/>
          </p:nvPr>
        </p:nvSpPr>
        <p:spPr/>
        <p:txBody>
          <a:bodyPr vert="horz"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e</a:t>
            </a:r>
            <a:r>
              <a:rPr kumimoji="0" sz="899" b="0" i="0" u="none" strike="noStrike" kern="1200" cap="none" spc="9"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12" normalizeH="0" baseline="0" noProof="0">
                <a:ln>
                  <a:noFill/>
                </a:ln>
                <a:solidFill>
                  <a:prstClr val="black">
                    <a:tint val="75000"/>
                  </a:prstClr>
                </a:solidFill>
                <a:effectLst/>
                <a:uLnTx/>
                <a:uFillTx/>
                <a:latin typeface="Calibri" panose="020F0502020204030204"/>
                <a:ea typeface="+mn-ea"/>
                <a:cs typeface="+mn-cs"/>
              </a:rPr>
              <a:t>t</a:t>
            </a:r>
            <a:r>
              <a:rPr kumimoji="0" sz="899" b="0" i="0" u="none" strike="noStrike" kern="1200" cap="none" spc="-6" normalizeH="0" baseline="0" noProof="0">
                <a:ln>
                  <a:noFill/>
                </a:ln>
                <a:solidFill>
                  <a:prstClr val="black">
                    <a:tint val="75000"/>
                  </a:prstClr>
                </a:solidFill>
                <a:effectLst/>
                <a:uLnTx/>
                <a:uFillTx/>
                <a:latin typeface="Calibri" panose="020F0502020204030204"/>
                <a:ea typeface="+mn-ea"/>
                <a:cs typeface="+mn-cs"/>
              </a:rPr>
              <a:t>i</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n</a:t>
            </a:r>
            <a:r>
              <a:rPr kumimoji="0" sz="899" b="0" i="0" u="none" strike="noStrike" kern="1200" cap="none" spc="3" normalizeH="0" baseline="0" noProof="0">
                <a:ln>
                  <a:noFill/>
                </a:ln>
                <a:solidFill>
                  <a:prstClr val="black">
                    <a:tint val="75000"/>
                  </a:prstClr>
                </a:solidFill>
                <a:effectLst/>
                <a:uLnTx/>
                <a:uFillTx/>
                <a:latin typeface="Calibri" panose="020F0502020204030204"/>
                <a:ea typeface="+mn-ea"/>
                <a:cs typeface="+mn-cs"/>
              </a:rPr>
              <a:t> </a:t>
            </a:r>
            <a:r>
              <a:rPr kumimoji="0" sz="899" b="0" i="0" u="none" strike="noStrike" kern="1200" cap="none" spc="17"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
            </a:r>
            <a:endParaRPr kumimoji="0" sz="8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latin typeface="Zawgyi-One" panose="020B0604030504040204" pitchFamily="34" charset="0"/>
                <a:cs typeface="Zawgyi-One" panose="020B0604030504040204" pitchFamily="34" charset="0"/>
              </a:rPr>
              <a:t>စိတ္ဒဏ္ရာ</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ပင္းထန္ေသာ</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စိတ္ဖိစီးမ</a:t>
            </a:r>
            <a:r>
              <a:rPr lang="en-US" dirty="0">
                <a:latin typeface="Zawgyi-One" panose="020B0604030504040204" pitchFamily="34" charset="0"/>
                <a:cs typeface="Zawgyi-One" panose="020B0604030504040204" pitchFamily="34" charset="0"/>
              </a:rPr>
              <a:t>ႈ</a:t>
            </a:r>
          </a:p>
        </p:txBody>
      </p:sp>
      <p:sp>
        <p:nvSpPr>
          <p:cNvPr id="6" name="Content Placeholder 5"/>
          <p:cNvSpPr>
            <a:spLocks noGrp="1"/>
          </p:cNvSpPr>
          <p:nvPr>
            <p:ph idx="1"/>
          </p:nvPr>
        </p:nvSpPr>
        <p:spPr/>
        <p:txBody>
          <a:bodyPr/>
          <a:lstStyle/>
          <a:p>
            <a:pPr>
              <a:lnSpc>
                <a:spcPct val="150000"/>
              </a:lnSpc>
            </a:pPr>
            <a:r>
              <a:rPr lang="en-US" dirty="0" err="1">
                <a:latin typeface="Zawgyi-One" panose="020B0604030504040204" pitchFamily="34" charset="0"/>
                <a:cs typeface="Zawgyi-One" panose="020B0604030504040204" pitchFamily="34" charset="0"/>
              </a:rPr>
              <a:t>စိတ္ဒဏ္ရာ</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ဖစ္ေစေသာစိတ္ဖိစီးမႈသည</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လူတစ္ဦးတစ္ေယာက္မ</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မိမိအသက္အ</a:t>
            </a:r>
            <a:r>
              <a:rPr lang="en-US" dirty="0">
                <a:latin typeface="Zawgyi-One" panose="020B0604030504040204" pitchFamily="34" charset="0"/>
                <a:cs typeface="Zawgyi-One" panose="020B0604030504040204" pitchFamily="34" charset="0"/>
              </a:rPr>
              <a:t>ႏၱ</a:t>
            </a:r>
            <a:r>
              <a:rPr lang="en-US" dirty="0" err="1">
                <a:latin typeface="Zawgyi-One" panose="020B0604030504040204" pitchFamily="34" charset="0"/>
                <a:cs typeface="Zawgyi-One" panose="020B0604030504040204" pitchFamily="34" charset="0"/>
              </a:rPr>
              <a:t>ရာယ</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သုိ</a:t>
            </a:r>
            <a:r>
              <a:rPr lang="en-US" dirty="0">
                <a:latin typeface="Zawgyi-One" panose="020B0604030504040204" pitchFamily="34" charset="0"/>
                <a:cs typeface="Zawgyi-One" panose="020B0604030504040204" pitchFamily="34" charset="0"/>
              </a:rPr>
              <a:t>႔) </a:t>
            </a:r>
            <a:r>
              <a:rPr lang="en-US" dirty="0" err="1">
                <a:latin typeface="Zawgyi-One" panose="020B0604030504040204" pitchFamily="34" charset="0"/>
                <a:cs typeface="Zawgyi-One" panose="020B0604030504040204" pitchFamily="34" charset="0"/>
              </a:rPr>
              <a:t>အျခားသူတစ္ေယာက</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အသက္အ</a:t>
            </a:r>
            <a:r>
              <a:rPr lang="en-US" dirty="0">
                <a:latin typeface="Zawgyi-One" panose="020B0604030504040204" pitchFamily="34" charset="0"/>
                <a:cs typeface="Zawgyi-One" panose="020B0604030504040204" pitchFamily="34" charset="0"/>
              </a:rPr>
              <a:t>ႏၱ</a:t>
            </a:r>
            <a:r>
              <a:rPr lang="en-US" dirty="0" err="1">
                <a:latin typeface="Zawgyi-One" panose="020B0604030504040204" pitchFamily="34" charset="0"/>
                <a:cs typeface="Zawgyi-One" panose="020B0604030504040204" pitchFamily="34" charset="0"/>
              </a:rPr>
              <a:t>ရာယ္ကို</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ထိခုိက္ေစႏုိင္ေလာက္ေသာ</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အျဖစ္အပ်က္ကို</a:t>
            </a:r>
            <a:r>
              <a:rPr lang="en-US" dirty="0">
                <a:latin typeface="Zawgyi-One" panose="020B0604030504040204" pitchFamily="34" charset="0"/>
                <a:cs typeface="Zawgyi-One" panose="020B0604030504040204" pitchFamily="34" charset="0"/>
              </a:rPr>
              <a:t> ႀ</a:t>
            </a:r>
            <a:r>
              <a:rPr lang="en-US" dirty="0" err="1">
                <a:latin typeface="Zawgyi-One" panose="020B0604030504040204" pitchFamily="34" charset="0"/>
                <a:cs typeface="Zawgyi-One" panose="020B0604030504040204" pitchFamily="34" charset="0"/>
              </a:rPr>
              <a:t>ကံဳေတ</a:t>
            </a:r>
            <a:r>
              <a:rPr lang="en-US" dirty="0">
                <a:latin typeface="Zawgyi-One" panose="020B0604030504040204" pitchFamily="34" charset="0"/>
                <a:cs typeface="Zawgyi-One" panose="020B0604030504040204" pitchFamily="34" charset="0"/>
              </a:rPr>
              <a:t>ြ႕</a:t>
            </a:r>
            <a:r>
              <a:rPr lang="en-US" dirty="0" err="1">
                <a:latin typeface="Zawgyi-One" panose="020B0604030504040204" pitchFamily="34" charset="0"/>
                <a:cs typeface="Zawgyi-One" panose="020B0604030504040204" pitchFamily="34" charset="0"/>
              </a:rPr>
              <a:t>ရေသာေၾကာင</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ဖစ္ေပၚလာေသာ</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ပင္းထန္သည</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စိတ္ဖိစီးမႈကို</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ခံစားရျခင္းမ</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ရရွိလာသည</a:t>
            </a:r>
            <a:r>
              <a:rPr lang="en-US" dirty="0">
                <a:latin typeface="Zawgyi-One" panose="020B0604030504040204" pitchFamily="34" charset="0"/>
                <a:cs typeface="Zawgyi-One" panose="020B0604030504040204" pitchFamily="34" charset="0"/>
              </a:rPr>
              <a:t>္။ </a:t>
            </a: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77A547-937F-4EAE-890B-E0C990C45087}" type="slidenum">
              <a:rPr kumimoji="0" lang="fr-FR" sz="899"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fr-FR" sz="899"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object 7">
            <a:extLst>
              <a:ext uri="{FF2B5EF4-FFF2-40B4-BE49-F238E27FC236}">
                <a16:creationId xmlns:a16="http://schemas.microsoft.com/office/drawing/2014/main" id="{E6C475FF-48A8-4CB9-B233-D673E9BBC533}"/>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object 8">
            <a:extLst>
              <a:ext uri="{FF2B5EF4-FFF2-40B4-BE49-F238E27FC236}">
                <a16:creationId xmlns:a16="http://schemas.microsoft.com/office/drawing/2014/main" id="{D93F7206-13AE-4FA8-AC09-5B05D84726A2}"/>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object 9">
            <a:extLst>
              <a:ext uri="{FF2B5EF4-FFF2-40B4-BE49-F238E27FC236}">
                <a16:creationId xmlns:a16="http://schemas.microsoft.com/office/drawing/2014/main" id="{75B7C08E-F711-4816-BB92-2083955AB51D}"/>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object 10">
            <a:extLst>
              <a:ext uri="{FF2B5EF4-FFF2-40B4-BE49-F238E27FC236}">
                <a16:creationId xmlns:a16="http://schemas.microsoft.com/office/drawing/2014/main" id="{B49C8B6D-0E48-415B-B2AC-EB7BE85EA5C0}"/>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object 11">
            <a:extLst>
              <a:ext uri="{FF2B5EF4-FFF2-40B4-BE49-F238E27FC236}">
                <a16:creationId xmlns:a16="http://schemas.microsoft.com/office/drawing/2014/main" id="{EF40C2FA-CA3C-4E30-86A2-CD9EBC7312F4}"/>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object 12">
            <a:extLst>
              <a:ext uri="{FF2B5EF4-FFF2-40B4-BE49-F238E27FC236}">
                <a16:creationId xmlns:a16="http://schemas.microsoft.com/office/drawing/2014/main" id="{0BABFAF7-0B5D-4EE4-B87B-749C3D09AC3F}"/>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bject 13">
            <a:extLst>
              <a:ext uri="{FF2B5EF4-FFF2-40B4-BE49-F238E27FC236}">
                <a16:creationId xmlns:a16="http://schemas.microsoft.com/office/drawing/2014/main" id="{78FC8430-1503-40CF-BB21-B0A9D3AF618B}"/>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object 14">
            <a:extLst>
              <a:ext uri="{FF2B5EF4-FFF2-40B4-BE49-F238E27FC236}">
                <a16:creationId xmlns:a16="http://schemas.microsoft.com/office/drawing/2014/main" id="{827ADF0B-F5B4-419B-9580-7D4F31FB273D}"/>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object 15">
            <a:extLst>
              <a:ext uri="{FF2B5EF4-FFF2-40B4-BE49-F238E27FC236}">
                <a16:creationId xmlns:a16="http://schemas.microsoft.com/office/drawing/2014/main" id="{745B44EC-521D-403C-A7A2-952846EF5AFC}"/>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object 16">
            <a:extLst>
              <a:ext uri="{FF2B5EF4-FFF2-40B4-BE49-F238E27FC236}">
                <a16:creationId xmlns:a16="http://schemas.microsoft.com/office/drawing/2014/main" id="{84F87BD7-7BEE-4AEE-B1CF-F4E7F7FAAEFC}"/>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object 17">
            <a:extLst>
              <a:ext uri="{FF2B5EF4-FFF2-40B4-BE49-F238E27FC236}">
                <a16:creationId xmlns:a16="http://schemas.microsoft.com/office/drawing/2014/main" id="{13049C84-9878-4A0B-85D4-8976D916E4C6}"/>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object 18">
            <a:extLst>
              <a:ext uri="{FF2B5EF4-FFF2-40B4-BE49-F238E27FC236}">
                <a16:creationId xmlns:a16="http://schemas.microsoft.com/office/drawing/2014/main" id="{507B8885-E640-4765-A6D6-0BA46847A19A}"/>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object 19">
            <a:extLst>
              <a:ext uri="{FF2B5EF4-FFF2-40B4-BE49-F238E27FC236}">
                <a16:creationId xmlns:a16="http://schemas.microsoft.com/office/drawing/2014/main" id="{8EEF5B78-A523-41C7-874C-A4BF6BDCC687}"/>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object 20">
            <a:extLst>
              <a:ext uri="{FF2B5EF4-FFF2-40B4-BE49-F238E27FC236}">
                <a16:creationId xmlns:a16="http://schemas.microsoft.com/office/drawing/2014/main" id="{4874B726-09F8-48AD-91EA-60BB7E0E7EDF}"/>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object 21">
            <a:extLst>
              <a:ext uri="{FF2B5EF4-FFF2-40B4-BE49-F238E27FC236}">
                <a16:creationId xmlns:a16="http://schemas.microsoft.com/office/drawing/2014/main" id="{7021B09D-8A0B-4E0D-87A0-0B4808693735}"/>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object 22">
            <a:extLst>
              <a:ext uri="{FF2B5EF4-FFF2-40B4-BE49-F238E27FC236}">
                <a16:creationId xmlns:a16="http://schemas.microsoft.com/office/drawing/2014/main" id="{A2D107B5-B304-42EA-A1BE-9E5CB9B240FE}"/>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object 23">
            <a:extLst>
              <a:ext uri="{FF2B5EF4-FFF2-40B4-BE49-F238E27FC236}">
                <a16:creationId xmlns:a16="http://schemas.microsoft.com/office/drawing/2014/main" id="{6495DF1D-799E-40BD-BB2B-CA73DA3DD959}"/>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object 5">
            <a:extLst>
              <a:ext uri="{FF2B5EF4-FFF2-40B4-BE49-F238E27FC236}">
                <a16:creationId xmlns:a16="http://schemas.microsoft.com/office/drawing/2014/main" id="{873A0E7E-5DA7-49DF-8CF6-DB0E9C42A706}"/>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object 6">
            <a:extLst>
              <a:ext uri="{FF2B5EF4-FFF2-40B4-BE49-F238E27FC236}">
                <a16:creationId xmlns:a16="http://schemas.microsoft.com/office/drawing/2014/main" id="{F6273940-346F-48E9-9A1C-9D780C266FB9}"/>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19</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Tree>
    <p:extLst>
      <p:ext uri="{BB962C8B-B14F-4D97-AF65-F5344CB8AC3E}">
        <p14:creationId xmlns:p14="http://schemas.microsoft.com/office/powerpoint/2010/main" val="363587714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33400" y="46062"/>
            <a:ext cx="6556835" cy="993640"/>
          </a:xfrm>
        </p:spPr>
        <p:txBody>
          <a:bodyPr>
            <a:normAutofit/>
          </a:bodyPr>
          <a:lstStyle/>
          <a:p>
            <a:pPr algn="ctr"/>
            <a:r>
              <a:rPr lang="en-US" sz="2698" u="sng" dirty="0" err="1">
                <a:latin typeface="Zawgyi-One" panose="020B0604030504040204" pitchFamily="34" charset="0"/>
                <a:cs typeface="Zawgyi-One" panose="020B0604030504040204" pitchFamily="34" charset="0"/>
              </a:rPr>
              <a:t>စိတ္ဒဏ္ရာ</a:t>
            </a:r>
            <a:r>
              <a:rPr lang="en-US" sz="2698" u="sng" dirty="0">
                <a:latin typeface="Zawgyi-One" panose="020B0604030504040204" pitchFamily="34" charset="0"/>
                <a:cs typeface="Zawgyi-One" panose="020B0604030504040204" pitchFamily="34" charset="0"/>
              </a:rPr>
              <a:t> </a:t>
            </a:r>
            <a:r>
              <a:rPr lang="en-US" sz="2698" u="sng" dirty="0" err="1">
                <a:latin typeface="Zawgyi-One" panose="020B0604030504040204" pitchFamily="34" charset="0"/>
                <a:cs typeface="Zawgyi-One" panose="020B0604030504040204" pitchFamily="34" charset="0"/>
              </a:rPr>
              <a:t>ရႏုိင္ေသာ</a:t>
            </a:r>
            <a:r>
              <a:rPr lang="en-US" sz="2698" u="sng" dirty="0">
                <a:latin typeface="Zawgyi-One" panose="020B0604030504040204" pitchFamily="34" charset="0"/>
                <a:cs typeface="Zawgyi-One" panose="020B0604030504040204" pitchFamily="34" charset="0"/>
              </a:rPr>
              <a:t> </a:t>
            </a:r>
            <a:r>
              <a:rPr lang="en-US" sz="2698" u="sng" dirty="0" err="1">
                <a:latin typeface="Zawgyi-One" panose="020B0604030504040204" pitchFamily="34" charset="0"/>
                <a:cs typeface="Zawgyi-One" panose="020B0604030504040204" pitchFamily="34" charset="0"/>
              </a:rPr>
              <a:t>လူမ်ား</a:t>
            </a:r>
            <a:endParaRPr lang="en-US" sz="2698" u="sng" dirty="0">
              <a:latin typeface="Zawgyi-One" panose="020B0604030504040204" pitchFamily="34" charset="0"/>
              <a:cs typeface="Zawgyi-One" panose="020B0604030504040204" pitchFamily="34" charset="0"/>
            </a:endParaRPr>
          </a:p>
        </p:txBody>
      </p:sp>
      <p:sp>
        <p:nvSpPr>
          <p:cNvPr id="9" name="Text Placeholder 8"/>
          <p:cNvSpPr>
            <a:spLocks noGrp="1"/>
          </p:cNvSpPr>
          <p:nvPr>
            <p:ph type="body" idx="1"/>
          </p:nvPr>
        </p:nvSpPr>
        <p:spPr>
          <a:xfrm>
            <a:off x="533400" y="1152909"/>
            <a:ext cx="8608155" cy="358488"/>
          </a:xfrm>
        </p:spPr>
        <p:txBody>
          <a:bodyPr>
            <a:noAutofit/>
          </a:bodyPr>
          <a:lstStyle/>
          <a:p>
            <a:pPr>
              <a:lnSpc>
                <a:spcPct val="150000"/>
              </a:lnSpc>
            </a:pPr>
            <a:r>
              <a:rPr lang="en-US" sz="1800" dirty="0" err="1">
                <a:latin typeface="Zawgyi-One" panose="020B0604030504040204" pitchFamily="34" charset="0"/>
                <a:cs typeface="Zawgyi-One" panose="020B0604030504040204" pitchFamily="34" charset="0"/>
              </a:rPr>
              <a:t>အျခားသူမ်ားျဖစ္သည္ကို</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မင္ေတ</a:t>
            </a:r>
            <a:r>
              <a:rPr lang="en-US" sz="1800" dirty="0">
                <a:latin typeface="Zawgyi-One" panose="020B0604030504040204" pitchFamily="34" charset="0"/>
                <a:cs typeface="Zawgyi-One" panose="020B0604030504040204" pitchFamily="34" charset="0"/>
              </a:rPr>
              <a:t>ြ႕ (</a:t>
            </a:r>
            <a:r>
              <a:rPr lang="en-US" sz="1800" dirty="0" err="1">
                <a:latin typeface="Zawgyi-One" panose="020B0604030504040204" pitchFamily="34" charset="0"/>
                <a:cs typeface="Zawgyi-One" panose="020B0604030504040204" pitchFamily="34" charset="0"/>
              </a:rPr>
              <a:t>သတင္း</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နားေထာင</a:t>
            </a:r>
            <a:r>
              <a:rPr lang="en-US" sz="1800" dirty="0">
                <a:latin typeface="Zawgyi-One" panose="020B0604030504040204" pitchFamily="34" charset="0"/>
                <a:cs typeface="Zawgyi-One" panose="020B0604030504040204" pitchFamily="34" charset="0"/>
              </a:rPr>
              <a:t>္ျ</a:t>
            </a:r>
            <a:r>
              <a:rPr lang="en-US" sz="1800" dirty="0" err="1">
                <a:latin typeface="Zawgyi-One" panose="020B0604030504040204" pitchFamily="34" charset="0"/>
                <a:cs typeface="Zawgyi-One" panose="020B0604030504040204" pitchFamily="34" charset="0"/>
              </a:rPr>
              <a:t>ခင္းမ</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ရလာေသာ</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စိတ္ဒဏ</a:t>
            </a:r>
            <a:r>
              <a:rPr lang="en-US" sz="1800" dirty="0">
                <a:latin typeface="Zawgyi-One" panose="020B0604030504040204" pitchFamily="34" charset="0"/>
                <a:cs typeface="Zawgyi-One" panose="020B0604030504040204" pitchFamily="34" charset="0"/>
              </a:rPr>
              <a:t>္္</a:t>
            </a:r>
            <a:r>
              <a:rPr lang="en-US" sz="1800" dirty="0" err="1">
                <a:latin typeface="Zawgyi-One" panose="020B0604030504040204" pitchFamily="34" charset="0"/>
                <a:cs typeface="Zawgyi-One" panose="020B0604030504040204" pitchFamily="34" charset="0"/>
              </a:rPr>
              <a:t>ရာ</a:t>
            </a:r>
            <a:endParaRPr lang="en-US" sz="1800" dirty="0">
              <a:latin typeface="Zawgyi-One" panose="020B0604030504040204" pitchFamily="34" charset="0"/>
              <a:cs typeface="Zawgyi-One" panose="020B0604030504040204" pitchFamily="34" charset="0"/>
            </a:endParaRPr>
          </a:p>
        </p:txBody>
      </p:sp>
      <p:sp>
        <p:nvSpPr>
          <p:cNvPr id="10" name="Content Placeholder 9"/>
          <p:cNvSpPr>
            <a:spLocks noGrp="1"/>
          </p:cNvSpPr>
          <p:nvPr>
            <p:ph sz="half" idx="2"/>
          </p:nvPr>
        </p:nvSpPr>
        <p:spPr>
          <a:xfrm>
            <a:off x="533400" y="1990820"/>
            <a:ext cx="8864511" cy="3399989"/>
          </a:xfrm>
        </p:spPr>
        <p:txBody>
          <a:bodyPr>
            <a:normAutofit fontScale="92500" lnSpcReduction="20000"/>
          </a:bodyPr>
          <a:lstStyle/>
          <a:p>
            <a:pPr>
              <a:lnSpc>
                <a:spcPct val="150000"/>
              </a:lnSpc>
            </a:pPr>
            <a:r>
              <a:rPr lang="en-US" dirty="0" err="1">
                <a:latin typeface="Zawgyi-One" panose="020B0604030504040204" pitchFamily="34" charset="0"/>
                <a:cs typeface="Zawgyi-One" panose="020B0604030504040204" pitchFamily="34" charset="0"/>
              </a:rPr>
              <a:t>အျခားသူတစ္ေယာက္အား</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ကူညီျခင္း</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ရလဒ</a:t>
            </a:r>
            <a:r>
              <a:rPr lang="en-US" dirty="0">
                <a:latin typeface="Zawgyi-One" panose="020B0604030504040204" pitchFamily="34" charset="0"/>
                <a:cs typeface="Zawgyi-One" panose="020B0604030504040204" pitchFamily="34" charset="0"/>
              </a:rPr>
              <a:t>္.</a:t>
            </a:r>
          </a:p>
          <a:p>
            <a:pPr lvl="1">
              <a:lnSpc>
                <a:spcPct val="150000"/>
              </a:lnSpc>
            </a:pPr>
            <a:r>
              <a:rPr lang="en-US" dirty="0" err="1">
                <a:latin typeface="Zawgyi-One" panose="020B0604030504040204" pitchFamily="34" charset="0"/>
                <a:cs typeface="Zawgyi-One" panose="020B0604030504040204" pitchFamily="34" charset="0"/>
              </a:rPr>
              <a:t>စိတ္က်န္းမာေရးပညာရွင္မ်ား</a:t>
            </a:r>
            <a:r>
              <a:rPr lang="en-US" dirty="0">
                <a:latin typeface="Zawgyi-One" panose="020B0604030504040204" pitchFamily="34" charset="0"/>
                <a:cs typeface="Zawgyi-One" panose="020B0604030504040204" pitchFamily="34" charset="0"/>
              </a:rPr>
              <a:t>ႏွင့္ </a:t>
            </a:r>
            <a:r>
              <a:rPr lang="en-US" dirty="0" err="1">
                <a:latin typeface="Zawgyi-One" panose="020B0604030504040204" pitchFamily="34" charset="0"/>
                <a:cs typeface="Zawgyi-One" panose="020B0604030504040204" pitchFamily="34" charset="0"/>
              </a:rPr>
              <a:t>ခရစ္ယာန္ဘုန္းႀကီးမ်ား</a:t>
            </a:r>
            <a:endParaRPr lang="en-US" dirty="0">
              <a:latin typeface="Zawgyi-One" panose="020B0604030504040204" pitchFamily="34" charset="0"/>
              <a:cs typeface="Zawgyi-One" panose="020B0604030504040204" pitchFamily="34" charset="0"/>
            </a:endParaRPr>
          </a:p>
          <a:p>
            <a:pPr lvl="1">
              <a:lnSpc>
                <a:spcPct val="150000"/>
              </a:lnSpc>
            </a:pPr>
            <a:r>
              <a:rPr lang="en-US" dirty="0" err="1">
                <a:latin typeface="Zawgyi-One" panose="020B0604030504040204" pitchFamily="34" charset="0"/>
                <a:cs typeface="Zawgyi-One" panose="020B0604030504040204" pitchFamily="34" charset="0"/>
              </a:rPr>
              <a:t>စိတ္ဒဏ္ရာအျဖစ္အပ်က</a:t>
            </a:r>
            <a:r>
              <a:rPr lang="en-US" dirty="0">
                <a:latin typeface="Zawgyi-One" panose="020B0604030504040204" pitchFamily="34" charset="0"/>
                <a:cs typeface="Zawgyi-One" panose="020B0604030504040204" pitchFamily="34" charset="0"/>
              </a:rPr>
              <a:t>္ႀ</a:t>
            </a:r>
            <a:r>
              <a:rPr lang="en-US" dirty="0" err="1">
                <a:latin typeface="Zawgyi-One" panose="020B0604030504040204" pitchFamily="34" charset="0"/>
                <a:cs typeface="Zawgyi-One" panose="020B0604030504040204" pitchFamily="34" charset="0"/>
              </a:rPr>
              <a:t>ကံဳေတ</a:t>
            </a:r>
            <a:r>
              <a:rPr lang="en-US" dirty="0">
                <a:latin typeface="Zawgyi-One" panose="020B0604030504040204" pitchFamily="34" charset="0"/>
                <a:cs typeface="Zawgyi-One" panose="020B0604030504040204" pitchFamily="34" charset="0"/>
              </a:rPr>
              <a:t>ြ႕</a:t>
            </a:r>
            <a:r>
              <a:rPr lang="en-US" dirty="0" err="1">
                <a:latin typeface="Zawgyi-One" panose="020B0604030504040204" pitchFamily="34" charset="0"/>
                <a:cs typeface="Zawgyi-One" panose="020B0604030504040204" pitchFamily="34" charset="0"/>
              </a:rPr>
              <a:t>ခဲ့သူ</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မိသားစုဝင</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ဆြးမ်ိဳး၊သူငယ္ခ်င္းမ်ား</a:t>
            </a:r>
            <a:endParaRPr lang="en-US" dirty="0">
              <a:latin typeface="Zawgyi-One" panose="020B0604030504040204" pitchFamily="34" charset="0"/>
              <a:cs typeface="Zawgyi-One" panose="020B0604030504040204" pitchFamily="34" charset="0"/>
            </a:endParaRPr>
          </a:p>
          <a:p>
            <a:pPr lvl="1">
              <a:lnSpc>
                <a:spcPct val="150000"/>
              </a:lnSpc>
            </a:pPr>
            <a:r>
              <a:rPr lang="en-US" dirty="0" err="1">
                <a:latin typeface="Zawgyi-One" panose="020B0604030504040204" pitchFamily="34" charset="0"/>
                <a:cs typeface="Zawgyi-One" panose="020B0604030504040204" pitchFamily="34" charset="0"/>
              </a:rPr>
              <a:t>ေရ</a:t>
            </a:r>
            <a:r>
              <a:rPr lang="en-US" dirty="0">
                <a:latin typeface="Zawgyi-One" panose="020B0604030504040204" pitchFamily="34" charset="0"/>
                <a:cs typeface="Zawgyi-One" panose="020B0604030504040204" pitchFamily="34" charset="0"/>
              </a:rPr>
              <a:t>ွ႕</a:t>
            </a:r>
            <a:r>
              <a:rPr lang="en-US" dirty="0" err="1">
                <a:latin typeface="Zawgyi-One" panose="020B0604030504040204" pitchFamily="34" charset="0"/>
                <a:cs typeface="Zawgyi-One" panose="020B0604030504040204" pitchFamily="34" charset="0"/>
              </a:rPr>
              <a:t>ေန</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လူမႈေရးဝန္ထမ္းမ်ား</a:t>
            </a:r>
            <a:endParaRPr lang="en-US" dirty="0">
              <a:latin typeface="Zawgyi-One" panose="020B0604030504040204" pitchFamily="34" charset="0"/>
              <a:cs typeface="Zawgyi-One" panose="020B0604030504040204" pitchFamily="34" charset="0"/>
            </a:endParaRPr>
          </a:p>
          <a:p>
            <a:pPr lvl="1">
              <a:lnSpc>
                <a:spcPct val="150000"/>
              </a:lnSpc>
            </a:pPr>
            <a:r>
              <a:rPr lang="en-US" dirty="0" err="1">
                <a:latin typeface="Zawgyi-One" panose="020B0604030504040204" pitchFamily="34" charset="0"/>
                <a:cs typeface="Zawgyi-One" panose="020B0604030504040204" pitchFamily="34" charset="0"/>
              </a:rPr>
              <a:t>အေရးေပ</a:t>
            </a:r>
            <a:r>
              <a:rPr lang="en-US" dirty="0">
                <a:latin typeface="Zawgyi-One" panose="020B0604030504040204" pitchFamily="34" charset="0"/>
                <a:cs typeface="Zawgyi-One" panose="020B0604030504040204" pitchFamily="34" charset="0"/>
              </a:rPr>
              <a:t>ၚ </a:t>
            </a:r>
            <a:r>
              <a:rPr lang="en-US" dirty="0" err="1">
                <a:latin typeface="Zawgyi-One" panose="020B0604030504040204" pitchFamily="34" charset="0"/>
                <a:cs typeface="Zawgyi-One" panose="020B0604030504040204" pitchFamily="34" charset="0"/>
              </a:rPr>
              <a:t>အေျခအေနမ်ားအတြက</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ဝန္ထမ္းမ်ား</a:t>
            </a:r>
            <a:endParaRPr lang="en-US" dirty="0">
              <a:latin typeface="Zawgyi-One" panose="020B0604030504040204" pitchFamily="34" charset="0"/>
              <a:cs typeface="Zawgyi-One" panose="020B0604030504040204" pitchFamily="34" charset="0"/>
            </a:endParaRPr>
          </a:p>
          <a:p>
            <a:pPr lvl="1">
              <a:lnSpc>
                <a:spcPct val="150000"/>
              </a:lnSpc>
            </a:pPr>
            <a:r>
              <a:rPr lang="en-US" dirty="0" err="1">
                <a:latin typeface="Zawgyi-One" panose="020B0604030504040204" pitchFamily="34" charset="0"/>
                <a:cs typeface="Zawgyi-One" panose="020B0604030504040204" pitchFamily="34" charset="0"/>
              </a:rPr>
              <a:t>ေဆးဝန္ထမ္း</a:t>
            </a:r>
            <a:r>
              <a:rPr lang="en-US" dirty="0">
                <a:latin typeface="Zawgyi-One" panose="020B0604030504040204" pitchFamily="34" charset="0"/>
                <a:cs typeface="Zawgyi-One" panose="020B0604030504040204" pitchFamily="34" charset="0"/>
              </a:rPr>
              <a:t>ႏွင့္ </a:t>
            </a:r>
            <a:r>
              <a:rPr lang="en-US" dirty="0" err="1">
                <a:latin typeface="Zawgyi-One" panose="020B0604030504040204" pitchFamily="34" charset="0"/>
                <a:cs typeface="Zawgyi-One" panose="020B0604030504040204" pitchFamily="34" charset="0"/>
              </a:rPr>
              <a:t>ရဲဝန္းထမ္းမ်ား</a:t>
            </a:r>
            <a:endParaRPr lang="en-US" dirty="0">
              <a:latin typeface="Zawgyi-One" panose="020B0604030504040204" pitchFamily="34" charset="0"/>
              <a:cs typeface="Zawgyi-One" panose="020B0604030504040204" pitchFamily="34" charset="0"/>
            </a:endParaRPr>
          </a:p>
          <a:p>
            <a:pPr lvl="1">
              <a:lnSpc>
                <a:spcPct val="150000"/>
              </a:lnSpc>
            </a:pPr>
            <a:r>
              <a:rPr lang="en-US" dirty="0" err="1">
                <a:latin typeface="Zawgyi-One" panose="020B0604030504040204" pitchFamily="34" charset="0"/>
                <a:cs typeface="Zawgyi-One" panose="020B0604030504040204" pitchFamily="34" charset="0"/>
              </a:rPr>
              <a:t>အေရးေပ</a:t>
            </a:r>
            <a:r>
              <a:rPr lang="en-US" dirty="0">
                <a:latin typeface="Zawgyi-One" panose="020B0604030504040204" pitchFamily="34" charset="0"/>
                <a:cs typeface="Zawgyi-One" panose="020B0604030504040204" pitchFamily="34" charset="0"/>
              </a:rPr>
              <a:t>ၚ </a:t>
            </a:r>
            <a:r>
              <a:rPr lang="en-US" dirty="0" err="1">
                <a:latin typeface="Zawgyi-One" panose="020B0604030504040204" pitchFamily="34" charset="0"/>
                <a:cs typeface="Zawgyi-One" panose="020B0604030504040204" pitchFamily="34" charset="0"/>
              </a:rPr>
              <a:t>ဖုန္းနားေထာင္သူမ်ား</a:t>
            </a:r>
            <a:r>
              <a:rPr lang="en-US" dirty="0">
                <a:latin typeface="Zawgyi-One" panose="020B0604030504040204" pitchFamily="34" charset="0"/>
                <a:cs typeface="Zawgyi-One" panose="020B0604030504040204" pitchFamily="34" charset="0"/>
              </a:rPr>
              <a:t>ႏွင့္ </a:t>
            </a:r>
            <a:r>
              <a:rPr lang="en-US" dirty="0" err="1">
                <a:latin typeface="Zawgyi-One" panose="020B0604030504040204" pitchFamily="34" charset="0"/>
                <a:cs typeface="Zawgyi-One" panose="020B0604030504040204" pitchFamily="34" charset="0"/>
              </a:rPr>
              <a:t>မည္သူမဆို</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ထုိအျဖစ္အပ်က္မ်ားကို</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နားေထာင္သူမ်ား</a:t>
            </a:r>
            <a:endParaRPr lang="en-US" dirty="0">
              <a:latin typeface="Zawgyi-One" panose="020B0604030504040204" pitchFamily="34" charset="0"/>
              <a:cs typeface="Zawgyi-One" panose="020B0604030504040204" pitchFamily="34" charset="0"/>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77A547-937F-4EAE-890B-E0C990C45087}" type="slidenum">
              <a:rPr kumimoji="0" lang="fr-FR" sz="899" b="0" i="0" u="none" strike="noStrike" kern="1200" cap="none" spc="0" normalizeH="0" baseline="0" noProof="0" smtClean="0">
                <a:ln>
                  <a:noFill/>
                </a:ln>
                <a:solidFill>
                  <a:prstClr val="black">
                    <a:tint val="75000"/>
                  </a:prstClr>
                </a:solidFill>
                <a:effectLst/>
                <a:uLnTx/>
                <a:uFillTx/>
                <a:latin typeface="Zawgyi-One" panose="020B0604030504040204" pitchFamily="34" charset="0"/>
                <a:ea typeface="+mn-ea"/>
                <a:cs typeface="Zawgyi-One" panose="020B060403050404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fr-FR" sz="899" b="0" i="0" u="none" strike="noStrike" kern="1200" cap="none" spc="0" normalizeH="0" baseline="0" noProof="0">
              <a:ln>
                <a:noFill/>
              </a:ln>
              <a:solidFill>
                <a:prstClr val="black">
                  <a:tint val="75000"/>
                </a:prstClr>
              </a:solidFill>
              <a:effectLst/>
              <a:uLnTx/>
              <a:uFillTx/>
              <a:latin typeface="Zawgyi-One" panose="020B0604030504040204" pitchFamily="34" charset="0"/>
              <a:ea typeface="+mn-ea"/>
              <a:cs typeface="Zawgyi-One" panose="020B0604030504040204" pitchFamily="34" charset="0"/>
            </a:endParaRPr>
          </a:p>
        </p:txBody>
      </p:sp>
      <p:sp>
        <p:nvSpPr>
          <p:cNvPr id="12" name="object 5">
            <a:extLst>
              <a:ext uri="{FF2B5EF4-FFF2-40B4-BE49-F238E27FC236}">
                <a16:creationId xmlns:a16="http://schemas.microsoft.com/office/drawing/2014/main" id="{1AE2BBDD-0FE3-44A7-8AD6-518F4A960C04}"/>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object 6">
            <a:extLst>
              <a:ext uri="{FF2B5EF4-FFF2-40B4-BE49-F238E27FC236}">
                <a16:creationId xmlns:a16="http://schemas.microsoft.com/office/drawing/2014/main" id="{100B9DAE-A75C-4BF0-BF08-152E4CC197C6}"/>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20</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Tree>
    <p:extLst>
      <p:ext uri="{BB962C8B-B14F-4D97-AF65-F5344CB8AC3E}">
        <p14:creationId xmlns:p14="http://schemas.microsoft.com/office/powerpoint/2010/main" val="317920558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object 4">
            <a:extLst>
              <a:ext uri="{FF2B5EF4-FFF2-40B4-BE49-F238E27FC236}">
                <a16:creationId xmlns:a16="http://schemas.microsoft.com/office/drawing/2014/main" id="{34693D5F-F6B6-4C41-9CDA-BD3848366D3D}"/>
              </a:ext>
            </a:extLst>
          </p:cNvPr>
          <p:cNvSpPr>
            <a:spLocks/>
          </p:cNvSpPr>
          <p:nvPr/>
        </p:nvSpPr>
        <p:spPr bwMode="auto">
          <a:xfrm>
            <a:off x="2445" y="5795377"/>
            <a:ext cx="9140027" cy="118273"/>
          </a:xfrm>
          <a:custGeom>
            <a:avLst/>
            <a:gdLst>
              <a:gd name="T0" fmla="*/ 0 w 15825596"/>
              <a:gd name="T1" fmla="*/ 0 h 204177"/>
              <a:gd name="T2" fmla="*/ 0 w 15825596"/>
              <a:gd name="T3" fmla="*/ 205399 h 204177"/>
              <a:gd name="T4" fmla="*/ 15825980 w 15825596"/>
              <a:gd name="T5" fmla="*/ 205399 h 204177"/>
              <a:gd name="T6" fmla="*/ 15825980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84" name="object 5">
            <a:extLst>
              <a:ext uri="{FF2B5EF4-FFF2-40B4-BE49-F238E27FC236}">
                <a16:creationId xmlns:a16="http://schemas.microsoft.com/office/drawing/2014/main" id="{B59E97C8-BC01-45A9-91E2-FDEE6A4D4A64}"/>
              </a:ext>
            </a:extLst>
          </p:cNvPr>
          <p:cNvSpPr>
            <a:spLocks/>
          </p:cNvSpPr>
          <p:nvPr/>
        </p:nvSpPr>
        <p:spPr bwMode="auto">
          <a:xfrm>
            <a:off x="2445" y="5603756"/>
            <a:ext cx="1435779" cy="191621"/>
          </a:xfrm>
          <a:custGeom>
            <a:avLst/>
            <a:gdLst>
              <a:gd name="T0" fmla="*/ 0 w 2486525"/>
              <a:gd name="T1" fmla="*/ 330940 h 332638"/>
              <a:gd name="T2" fmla="*/ 2438021 w 2486525"/>
              <a:gd name="T3" fmla="*/ 330940 h 332638"/>
              <a:gd name="T4" fmla="*/ 2460182 w 2486525"/>
              <a:gd name="T5" fmla="*/ 330621 h 332638"/>
              <a:gd name="T6" fmla="*/ 2485517 w 2486525"/>
              <a:gd name="T7" fmla="*/ 291061 h 332638"/>
              <a:gd name="T8" fmla="*/ 2485525 w 2486525"/>
              <a:gd name="T9" fmla="*/ 47281 h 332638"/>
              <a:gd name="T10" fmla="*/ 2485204 w 2486525"/>
              <a:gd name="T11" fmla="*/ 25222 h 332638"/>
              <a:gd name="T12" fmla="*/ 2445458 w 2486525"/>
              <a:gd name="T13" fmla="*/ 7 h 332638"/>
              <a:gd name="T14" fmla="*/ 0 w 2486525"/>
              <a:gd name="T15" fmla="*/ 0 h 332638"/>
              <a:gd name="T16" fmla="*/ 0 w 2486525"/>
              <a:gd name="T17" fmla="*/ 330940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85" name="object 6">
            <a:extLst>
              <a:ext uri="{FF2B5EF4-FFF2-40B4-BE49-F238E27FC236}">
                <a16:creationId xmlns:a16="http://schemas.microsoft.com/office/drawing/2014/main" id="{2DA802BE-A723-4905-876A-AD5FD22BB991}"/>
              </a:ext>
            </a:extLst>
          </p:cNvPr>
          <p:cNvSpPr>
            <a:spLocks/>
          </p:cNvSpPr>
          <p:nvPr/>
        </p:nvSpPr>
        <p:spPr bwMode="auto">
          <a:xfrm>
            <a:off x="2445" y="0"/>
            <a:ext cx="9140027" cy="118273"/>
          </a:xfrm>
          <a:custGeom>
            <a:avLst/>
            <a:gdLst>
              <a:gd name="T0" fmla="*/ 0 w 15825596"/>
              <a:gd name="T1" fmla="*/ 205401 h 204177"/>
              <a:gd name="T2" fmla="*/ 15825980 w 15825596"/>
              <a:gd name="T3" fmla="*/ 205401 h 204177"/>
              <a:gd name="T4" fmla="*/ 15825980 w 15825596"/>
              <a:gd name="T5" fmla="*/ 0 h 204177"/>
              <a:gd name="T6" fmla="*/ 0 w 15825596"/>
              <a:gd name="T7" fmla="*/ 0 h 204177"/>
              <a:gd name="T8" fmla="*/ 0 w 15825596"/>
              <a:gd name="T9" fmla="*/ 205401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86" name="object 7">
            <a:extLst>
              <a:ext uri="{FF2B5EF4-FFF2-40B4-BE49-F238E27FC236}">
                <a16:creationId xmlns:a16="http://schemas.microsoft.com/office/drawing/2014/main" id="{1C57282E-B691-4966-971C-A434EDAA3204}"/>
              </a:ext>
            </a:extLst>
          </p:cNvPr>
          <p:cNvSpPr>
            <a:spLocks/>
          </p:cNvSpPr>
          <p:nvPr/>
        </p:nvSpPr>
        <p:spPr bwMode="auto">
          <a:xfrm>
            <a:off x="8426416" y="264051"/>
            <a:ext cx="716056" cy="358487"/>
          </a:xfrm>
          <a:custGeom>
            <a:avLst/>
            <a:gdLst>
              <a:gd name="T0" fmla="*/ 1239512 w 1240164"/>
              <a:gd name="T1" fmla="*/ 0 h 621360"/>
              <a:gd name="T2" fmla="*/ 104536 w 1240164"/>
              <a:gd name="T3" fmla="*/ 249 h 621360"/>
              <a:gd name="T4" fmla="*/ 53429 w 1240164"/>
              <a:gd name="T5" fmla="*/ 3889 h 621360"/>
              <a:gd name="T6" fmla="*/ 15752 w 1240164"/>
              <a:gd name="T7" fmla="*/ 22683 h 621360"/>
              <a:gd name="T8" fmla="*/ 1921 w 1240164"/>
              <a:gd name="T9" fmla="*/ 68363 h 621360"/>
              <a:gd name="T10" fmla="*/ 0 w 1240164"/>
              <a:gd name="T11" fmla="*/ 127453 h 621360"/>
              <a:gd name="T12" fmla="*/ 2 w 1240164"/>
              <a:gd name="T13" fmla="*/ 493315 h 621360"/>
              <a:gd name="T14" fmla="*/ 813 w 1240164"/>
              <a:gd name="T15" fmla="*/ 535220 h 621360"/>
              <a:gd name="T16" fmla="*/ 6702 w 1240164"/>
              <a:gd name="T17" fmla="*/ 578982 h 621360"/>
              <a:gd name="T18" fmla="*/ 31136 w 1240164"/>
              <a:gd name="T19" fmla="*/ 609528 h 621360"/>
              <a:gd name="T20" fmla="*/ 68441 w 1240164"/>
              <a:gd name="T21" fmla="*/ 618119 h 621360"/>
              <a:gd name="T22" fmla="*/ 1239512 w 1240164"/>
              <a:gd name="T23" fmla="*/ 620067 h 621360"/>
              <a:gd name="T24" fmla="*/ 1239512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87" name="object 8">
            <a:extLst>
              <a:ext uri="{FF2B5EF4-FFF2-40B4-BE49-F238E27FC236}">
                <a16:creationId xmlns:a16="http://schemas.microsoft.com/office/drawing/2014/main" id="{D6FD5088-EDDC-4FD8-9AAE-62E25EAC8C7F}"/>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kumimoji="0" lang="en-US" altLang="en-US" sz="2021" b="1" i="0" u="none" strike="noStrike" kern="1200" cap="none" spc="0" normalizeH="0" baseline="0" noProof="0" dirty="0">
                <a:ln>
                  <a:noFill/>
                </a:ln>
                <a:solidFill>
                  <a:srgbClr val="ED1C24"/>
                </a:solidFill>
                <a:effectLst/>
                <a:uLnTx/>
                <a:uFillTx/>
                <a:latin typeface="Gill Sans" pitchFamily="34" charset="0"/>
                <a:ea typeface="+mn-ea"/>
                <a:cs typeface="Gill Sans" pitchFamily="34" charset="0"/>
              </a:rPr>
              <a:t>21</a:t>
            </a:r>
            <a:endParaRPr kumimoji="0" lang="en-US" altLang="en-US" sz="2021" b="0" i="0" u="none" strike="noStrike" kern="1200" cap="none" spc="0" normalizeH="0" baseline="0" noProof="0" dirty="0">
              <a:ln>
                <a:noFill/>
              </a:ln>
              <a:solidFill>
                <a:prstClr val="black"/>
              </a:solidFill>
              <a:effectLst/>
              <a:uLnTx/>
              <a:uFillTx/>
              <a:latin typeface="Gill Sans" pitchFamily="34" charset="0"/>
              <a:ea typeface="+mn-ea"/>
              <a:cs typeface="Gill Sans" pitchFamily="34" charset="0"/>
            </a:endParaRPr>
          </a:p>
        </p:txBody>
      </p:sp>
      <p:sp>
        <p:nvSpPr>
          <p:cNvPr id="20488" name="object 9">
            <a:extLst>
              <a:ext uri="{FF2B5EF4-FFF2-40B4-BE49-F238E27FC236}">
                <a16:creationId xmlns:a16="http://schemas.microsoft.com/office/drawing/2014/main" id="{97941620-D068-47B0-B412-26DF83A312A5}"/>
              </a:ext>
            </a:extLst>
          </p:cNvPr>
          <p:cNvSpPr>
            <a:spLocks/>
          </p:cNvSpPr>
          <p:nvPr/>
        </p:nvSpPr>
        <p:spPr bwMode="auto">
          <a:xfrm>
            <a:off x="7137332" y="6343651"/>
            <a:ext cx="116440" cy="163198"/>
          </a:xfrm>
          <a:custGeom>
            <a:avLst/>
            <a:gdLst>
              <a:gd name="T0" fmla="*/ 5644 w 201527"/>
              <a:gd name="T1" fmla="*/ 196839 h 282176"/>
              <a:gd name="T2" fmla="*/ 8685 w 201527"/>
              <a:gd name="T3" fmla="*/ 257858 h 282176"/>
              <a:gd name="T4" fmla="*/ 49753 w 201527"/>
              <a:gd name="T5" fmla="*/ 275504 h 282176"/>
              <a:gd name="T6" fmla="*/ 90563 w 201527"/>
              <a:gd name="T7" fmla="*/ 282455 h 282176"/>
              <a:gd name="T8" fmla="*/ 107823 w 201527"/>
              <a:gd name="T9" fmla="*/ 282975 h 282176"/>
              <a:gd name="T10" fmla="*/ 123713 w 201527"/>
              <a:gd name="T11" fmla="*/ 281975 h 282176"/>
              <a:gd name="T12" fmla="*/ 165162 w 201527"/>
              <a:gd name="T13" fmla="*/ 270015 h 282176"/>
              <a:gd name="T14" fmla="*/ 194752 w 201527"/>
              <a:gd name="T15" fmla="*/ 244422 h 282176"/>
              <a:gd name="T16" fmla="*/ 201699 w 201527"/>
              <a:gd name="T17" fmla="*/ 232054 h 282176"/>
              <a:gd name="T18" fmla="*/ 89461 w 201527"/>
              <a:gd name="T19" fmla="*/ 232054 h 282176"/>
              <a:gd name="T20" fmla="*/ 78527 w 201527"/>
              <a:gd name="T21" fmla="*/ 230699 h 282176"/>
              <a:gd name="T22" fmla="*/ 33054 w 201527"/>
              <a:gd name="T23" fmla="*/ 213646 h 282176"/>
              <a:gd name="T24" fmla="*/ 19956 w 201527"/>
              <a:gd name="T25" fmla="*/ 206009 h 282176"/>
              <a:gd name="T26" fmla="*/ 5644 w 201527"/>
              <a:gd name="T27" fmla="*/ 196839 h 282176"/>
              <a:gd name="T28" fmla="*/ 97478 w 201527"/>
              <a:gd name="T29" fmla="*/ 0 h 282176"/>
              <a:gd name="T30" fmla="*/ 50177 w 201527"/>
              <a:gd name="T31" fmla="*/ 9529 h 282176"/>
              <a:gd name="T32" fmla="*/ 17169 w 201527"/>
              <a:gd name="T33" fmla="*/ 32507 h 282176"/>
              <a:gd name="T34" fmla="*/ 0 w 201527"/>
              <a:gd name="T35" fmla="*/ 80620 h 282176"/>
              <a:gd name="T36" fmla="*/ 1615 w 201527"/>
              <a:gd name="T37" fmla="*/ 96673 h 282176"/>
              <a:gd name="T38" fmla="*/ 20185 w 201527"/>
              <a:gd name="T39" fmla="*/ 132875 h 282176"/>
              <a:gd name="T40" fmla="*/ 52252 w 201527"/>
              <a:gd name="T41" fmla="*/ 155748 h 282176"/>
              <a:gd name="T42" fmla="*/ 100253 w 201527"/>
              <a:gd name="T43" fmla="*/ 175755 h 282176"/>
              <a:gd name="T44" fmla="*/ 110937 w 201527"/>
              <a:gd name="T45" fmla="*/ 180347 h 282176"/>
              <a:gd name="T46" fmla="*/ 139598 w 201527"/>
              <a:gd name="T47" fmla="*/ 211822 h 282176"/>
              <a:gd name="T48" fmla="*/ 135198 w 201527"/>
              <a:gd name="T49" fmla="*/ 220580 h 282176"/>
              <a:gd name="T50" fmla="*/ 125743 w 201527"/>
              <a:gd name="T51" fmla="*/ 226999 h 282176"/>
              <a:gd name="T52" fmla="*/ 110681 w 201527"/>
              <a:gd name="T53" fmla="*/ 230887 h 282176"/>
              <a:gd name="T54" fmla="*/ 89461 w 201527"/>
              <a:gd name="T55" fmla="*/ 232054 h 282176"/>
              <a:gd name="T56" fmla="*/ 201699 w 201527"/>
              <a:gd name="T57" fmla="*/ 232054 h 282176"/>
              <a:gd name="T58" fmla="*/ 206279 w 201527"/>
              <a:gd name="T59" fmla="*/ 219667 h 282176"/>
              <a:gd name="T60" fmla="*/ 209221 w 201527"/>
              <a:gd name="T61" fmla="*/ 204954 h 282176"/>
              <a:gd name="T62" fmla="*/ 210122 w 201527"/>
              <a:gd name="T63" fmla="*/ 188673 h 282176"/>
              <a:gd name="T64" fmla="*/ 206920 w 201527"/>
              <a:gd name="T65" fmla="*/ 173823 h 282176"/>
              <a:gd name="T66" fmla="*/ 184179 w 201527"/>
              <a:gd name="T67" fmla="*/ 140281 h 282176"/>
              <a:gd name="T68" fmla="*/ 149436 w 201527"/>
              <a:gd name="T69" fmla="*/ 118628 h 282176"/>
              <a:gd name="T70" fmla="*/ 112612 w 201527"/>
              <a:gd name="T71" fmla="*/ 102924 h 282176"/>
              <a:gd name="T72" fmla="*/ 101589 w 201527"/>
              <a:gd name="T73" fmla="*/ 97984 h 282176"/>
              <a:gd name="T74" fmla="*/ 72393 w 201527"/>
              <a:gd name="T75" fmla="*/ 65597 h 282176"/>
              <a:gd name="T76" fmla="*/ 80222 w 201527"/>
              <a:gd name="T77" fmla="*/ 57476 h 282176"/>
              <a:gd name="T78" fmla="*/ 93732 w 201527"/>
              <a:gd name="T79" fmla="*/ 52261 h 282176"/>
              <a:gd name="T80" fmla="*/ 112270 w 201527"/>
              <a:gd name="T81" fmla="*/ 50420 h 282176"/>
              <a:gd name="T82" fmla="*/ 197600 w 201527"/>
              <a:gd name="T83" fmla="*/ 50420 h 282176"/>
              <a:gd name="T84" fmla="*/ 196875 w 201527"/>
              <a:gd name="T85" fmla="*/ 20717 h 282176"/>
              <a:gd name="T86" fmla="*/ 160369 w 201527"/>
              <a:gd name="T87" fmla="*/ 7725 h 282176"/>
              <a:gd name="T88" fmla="*/ 111162 w 201527"/>
              <a:gd name="T89" fmla="*/ 250 h 282176"/>
              <a:gd name="T90" fmla="*/ 97478 w 201527"/>
              <a:gd name="T91" fmla="*/ 0 h 282176"/>
              <a:gd name="T92" fmla="*/ 197600 w 201527"/>
              <a:gd name="T93" fmla="*/ 50420 h 282176"/>
              <a:gd name="T94" fmla="*/ 112270 w 201527"/>
              <a:gd name="T95" fmla="*/ 50420 h 282176"/>
              <a:gd name="T96" fmla="*/ 122215 w 201527"/>
              <a:gd name="T97" fmla="*/ 50946 h 282176"/>
              <a:gd name="T98" fmla="*/ 132504 w 201527"/>
              <a:gd name="T99" fmla="*/ 52360 h 282176"/>
              <a:gd name="T100" fmla="*/ 182293 w 201527"/>
              <a:gd name="T101" fmla="*/ 68228 h 282176"/>
              <a:gd name="T102" fmla="*/ 198203 w 201527"/>
              <a:gd name="T103" fmla="*/ 75083 h 282176"/>
              <a:gd name="T104" fmla="*/ 197600 w 201527"/>
              <a:gd name="T105" fmla="*/ 50420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89" name="object 10">
            <a:extLst>
              <a:ext uri="{FF2B5EF4-FFF2-40B4-BE49-F238E27FC236}">
                <a16:creationId xmlns:a16="http://schemas.microsoft.com/office/drawing/2014/main" id="{E1846E8F-138F-4546-8930-35C446FA71E6}"/>
              </a:ext>
            </a:extLst>
          </p:cNvPr>
          <p:cNvSpPr>
            <a:spLocks/>
          </p:cNvSpPr>
          <p:nvPr/>
        </p:nvSpPr>
        <p:spPr bwMode="auto">
          <a:xfrm>
            <a:off x="7271192" y="6394994"/>
            <a:ext cx="115522" cy="111855"/>
          </a:xfrm>
          <a:custGeom>
            <a:avLst/>
            <a:gdLst>
              <a:gd name="T0" fmla="*/ 66318 w 200263"/>
              <a:gd name="T1" fmla="*/ 40002 h 192883"/>
              <a:gd name="T2" fmla="*/ 100257 w 200263"/>
              <a:gd name="T3" fmla="*/ 46883 h 192883"/>
              <a:gd name="T4" fmla="*/ 109738 w 200263"/>
              <a:gd name="T5" fmla="*/ 65773 h 192883"/>
              <a:gd name="T6" fmla="*/ 55314 w 200263"/>
              <a:gd name="T7" fmla="*/ 86459 h 192883"/>
              <a:gd name="T8" fmla="*/ 0 w 200263"/>
              <a:gd name="T9" fmla="*/ 138690 h 192883"/>
              <a:gd name="T10" fmla="*/ 24539 w 200263"/>
              <a:gd name="T11" fmla="*/ 187376 h 192883"/>
              <a:gd name="T12" fmla="*/ 62867 w 200263"/>
              <a:gd name="T13" fmla="*/ 193787 h 192883"/>
              <a:gd name="T14" fmla="*/ 86164 w 200263"/>
              <a:gd name="T15" fmla="*/ 187775 h 192883"/>
              <a:gd name="T16" fmla="*/ 110941 w 200263"/>
              <a:gd name="T17" fmla="*/ 174353 h 192883"/>
              <a:gd name="T18" fmla="*/ 197002 w 200263"/>
              <a:gd name="T19" fmla="*/ 158291 h 192883"/>
              <a:gd name="T20" fmla="*/ 69602 w 200263"/>
              <a:gd name="T21" fmla="*/ 155998 h 192883"/>
              <a:gd name="T22" fmla="*/ 61234 w 200263"/>
              <a:gd name="T23" fmla="*/ 135214 h 192883"/>
              <a:gd name="T24" fmla="*/ 73098 w 200263"/>
              <a:gd name="T25" fmla="*/ 117218 h 192883"/>
              <a:gd name="T26" fmla="*/ 98857 w 200263"/>
              <a:gd name="T27" fmla="*/ 104159 h 192883"/>
              <a:gd name="T28" fmla="*/ 167998 w 200263"/>
              <a:gd name="T29" fmla="*/ 56605 h 192883"/>
              <a:gd name="T30" fmla="*/ 165749 w 200263"/>
              <a:gd name="T31" fmla="*/ 40002 h 192883"/>
              <a:gd name="T32" fmla="*/ 110941 w 200263"/>
              <a:gd name="T33" fmla="*/ 174353 h 192883"/>
              <a:gd name="T34" fmla="*/ 127872 w 200263"/>
              <a:gd name="T35" fmla="*/ 192032 h 192883"/>
              <a:gd name="T36" fmla="*/ 154920 w 200263"/>
              <a:gd name="T37" fmla="*/ 193504 h 192883"/>
              <a:gd name="T38" fmla="*/ 180328 w 200263"/>
              <a:gd name="T39" fmla="*/ 186741 h 192883"/>
              <a:gd name="T40" fmla="*/ 193772 w 200263"/>
              <a:gd name="T41" fmla="*/ 174353 h 192883"/>
              <a:gd name="T42" fmla="*/ 98857 w 200263"/>
              <a:gd name="T43" fmla="*/ 104159 h 192883"/>
              <a:gd name="T44" fmla="*/ 98551 w 200263"/>
              <a:gd name="T45" fmla="*/ 153431 h 192883"/>
              <a:gd name="T46" fmla="*/ 197002 w 200263"/>
              <a:gd name="T47" fmla="*/ 158291 h 192883"/>
              <a:gd name="T48" fmla="*/ 171623 w 200263"/>
              <a:gd name="T49" fmla="*/ 155020 h 192883"/>
              <a:gd name="T50" fmla="*/ 167998 w 200263"/>
              <a:gd name="T51" fmla="*/ 104159 h 192883"/>
              <a:gd name="T52" fmla="*/ 186104 w 200263"/>
              <a:gd name="T53" fmla="*/ 154201 h 192883"/>
              <a:gd name="T54" fmla="*/ 197661 w 200263"/>
              <a:gd name="T55" fmla="*/ 155020 h 192883"/>
              <a:gd name="T56" fmla="*/ 100681 w 200263"/>
              <a:gd name="T57" fmla="*/ 0 h 192883"/>
              <a:gd name="T58" fmla="*/ 13495 w 200263"/>
              <a:gd name="T59" fmla="*/ 19780 h 192883"/>
              <a:gd name="T60" fmla="*/ 19057 w 200263"/>
              <a:gd name="T61" fmla="*/ 61378 h 192883"/>
              <a:gd name="T62" fmla="*/ 41887 w 200263"/>
              <a:gd name="T63" fmla="*/ 47416 h 192883"/>
              <a:gd name="T64" fmla="*/ 66318 w 200263"/>
              <a:gd name="T65" fmla="*/ 40002 h 192883"/>
              <a:gd name="T66" fmla="*/ 161740 w 200263"/>
              <a:gd name="T67" fmla="*/ 29320 h 192883"/>
              <a:gd name="T68" fmla="*/ 144186 w 200263"/>
              <a:gd name="T69" fmla="*/ 11432 h 192883"/>
              <a:gd name="T70" fmla="*/ 117167 w 200263"/>
              <a:gd name="T71" fmla="*/ 1925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0" name="object 11">
            <a:extLst>
              <a:ext uri="{FF2B5EF4-FFF2-40B4-BE49-F238E27FC236}">
                <a16:creationId xmlns:a16="http://schemas.microsoft.com/office/drawing/2014/main" id="{15ECD13A-20AE-4D9F-A872-2B4E7DDDAA9E}"/>
              </a:ext>
            </a:extLst>
          </p:cNvPr>
          <p:cNvSpPr>
            <a:spLocks/>
          </p:cNvSpPr>
          <p:nvPr/>
        </p:nvSpPr>
        <p:spPr bwMode="auto">
          <a:xfrm>
            <a:off x="7382130" y="6396827"/>
            <a:ext cx="118273" cy="110021"/>
          </a:xfrm>
          <a:custGeom>
            <a:avLst/>
            <a:gdLst>
              <a:gd name="T0" fmla="*/ 62951 w 204089"/>
              <a:gd name="T1" fmla="*/ 0 h 189572"/>
              <a:gd name="T2" fmla="*/ 0 w 204089"/>
              <a:gd name="T3" fmla="*/ 0 h 189572"/>
              <a:gd name="T4" fmla="*/ 86504 w 204089"/>
              <a:gd name="T5" fmla="*/ 191433 h 189572"/>
              <a:gd name="T6" fmla="*/ 119392 w 204089"/>
              <a:gd name="T7" fmla="*/ 191433 h 189572"/>
              <a:gd name="T8" fmla="*/ 158959 w 204089"/>
              <a:gd name="T9" fmla="*/ 103456 h 189572"/>
              <a:gd name="T10" fmla="*/ 102743 w 204089"/>
              <a:gd name="T11" fmla="*/ 103456 h 189572"/>
              <a:gd name="T12" fmla="*/ 62951 w 204089"/>
              <a:gd name="T13" fmla="*/ 0 h 189572"/>
              <a:gd name="T14" fmla="*/ 205487 w 204089"/>
              <a:gd name="T15" fmla="*/ 0 h 189572"/>
              <a:gd name="T16" fmla="*/ 142959 w 204089"/>
              <a:gd name="T17" fmla="*/ 0 h 189572"/>
              <a:gd name="T18" fmla="*/ 102743 w 204089"/>
              <a:gd name="T19" fmla="*/ 103456 h 189572"/>
              <a:gd name="T20" fmla="*/ 158959 w 204089"/>
              <a:gd name="T21" fmla="*/ 103456 h 189572"/>
              <a:gd name="T22" fmla="*/ 205487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1" name="object 12">
            <a:extLst>
              <a:ext uri="{FF2B5EF4-FFF2-40B4-BE49-F238E27FC236}">
                <a16:creationId xmlns:a16="http://schemas.microsoft.com/office/drawing/2014/main" id="{9FD66FB6-055E-4C63-AC12-A95301E7D4B6}"/>
              </a:ext>
            </a:extLst>
          </p:cNvPr>
          <p:cNvSpPr>
            <a:spLocks/>
          </p:cNvSpPr>
          <p:nvPr/>
        </p:nvSpPr>
        <p:spPr bwMode="auto">
          <a:xfrm>
            <a:off x="7504988" y="6394994"/>
            <a:ext cx="111855" cy="111855"/>
          </a:xfrm>
          <a:custGeom>
            <a:avLst/>
            <a:gdLst>
              <a:gd name="T0" fmla="*/ 105567 w 193899"/>
              <a:gd name="T1" fmla="*/ 0 h 192654"/>
              <a:gd name="T2" fmla="*/ 59353 w 193899"/>
              <a:gd name="T3" fmla="*/ 7952 h 192654"/>
              <a:gd name="T4" fmla="*/ 25205 w 193899"/>
              <a:gd name="T5" fmla="*/ 30450 h 192654"/>
              <a:gd name="T6" fmla="*/ 4923 w 193899"/>
              <a:gd name="T7" fmla="*/ 64785 h 192654"/>
              <a:gd name="T8" fmla="*/ 0 w 193899"/>
              <a:gd name="T9" fmla="*/ 92913 h 192654"/>
              <a:gd name="T10" fmla="*/ 899 w 193899"/>
              <a:gd name="T11" fmla="*/ 108781 h 192654"/>
              <a:gd name="T12" fmla="*/ 14131 w 193899"/>
              <a:gd name="T13" fmla="*/ 149131 h 192654"/>
              <a:gd name="T14" fmla="*/ 41604 w 193899"/>
              <a:gd name="T15" fmla="*/ 177564 h 192654"/>
              <a:gd name="T16" fmla="*/ 81319 w 193899"/>
              <a:gd name="T17" fmla="*/ 192752 h 192654"/>
              <a:gd name="T18" fmla="*/ 107229 w 193899"/>
              <a:gd name="T19" fmla="*/ 194701 h 192654"/>
              <a:gd name="T20" fmla="*/ 118411 w 193899"/>
              <a:gd name="T21" fmla="*/ 194394 h 192654"/>
              <a:gd name="T22" fmla="*/ 168815 w 193899"/>
              <a:gd name="T23" fmla="*/ 182846 h 192654"/>
              <a:gd name="T24" fmla="*/ 185162 w 193899"/>
              <a:gd name="T25" fmla="*/ 159481 h 192654"/>
              <a:gd name="T26" fmla="*/ 131039 w 193899"/>
              <a:gd name="T27" fmla="*/ 159481 h 192654"/>
              <a:gd name="T28" fmla="*/ 112587 w 193899"/>
              <a:gd name="T29" fmla="*/ 158449 h 192654"/>
              <a:gd name="T30" fmla="*/ 74238 w 193899"/>
              <a:gd name="T31" fmla="*/ 141611 h 192654"/>
              <a:gd name="T32" fmla="*/ 60256 w 193899"/>
              <a:gd name="T33" fmla="*/ 106931 h 192654"/>
              <a:gd name="T34" fmla="*/ 193451 w 193899"/>
              <a:gd name="T35" fmla="*/ 106931 h 192654"/>
              <a:gd name="T36" fmla="*/ 193144 w 193899"/>
              <a:gd name="T37" fmla="*/ 89843 h 192654"/>
              <a:gd name="T38" fmla="*/ 191121 w 193899"/>
              <a:gd name="T39" fmla="*/ 75946 h 192654"/>
              <a:gd name="T40" fmla="*/ 61461 w 193899"/>
              <a:gd name="T41" fmla="*/ 75946 h 192654"/>
              <a:gd name="T42" fmla="*/ 64855 w 193899"/>
              <a:gd name="T43" fmla="*/ 60277 h 192654"/>
              <a:gd name="T44" fmla="*/ 71630 w 193899"/>
              <a:gd name="T45" fmla="*/ 48109 h 192654"/>
              <a:gd name="T46" fmla="*/ 81502 w 193899"/>
              <a:gd name="T47" fmla="*/ 39711 h 192654"/>
              <a:gd name="T48" fmla="*/ 94182 w 193899"/>
              <a:gd name="T49" fmla="*/ 35353 h 192654"/>
              <a:gd name="T50" fmla="*/ 101702 w 193899"/>
              <a:gd name="T51" fmla="*/ 34771 h 192654"/>
              <a:gd name="T52" fmla="*/ 172913 w 193899"/>
              <a:gd name="T53" fmla="*/ 34771 h 192654"/>
              <a:gd name="T54" fmla="*/ 164853 w 193899"/>
              <a:gd name="T55" fmla="*/ 25638 h 192654"/>
              <a:gd name="T56" fmla="*/ 154883 w 193899"/>
              <a:gd name="T57" fmla="*/ 17286 h 192654"/>
              <a:gd name="T58" fmla="*/ 143820 w 193899"/>
              <a:gd name="T59" fmla="*/ 10511 h 192654"/>
              <a:gd name="T60" fmla="*/ 131815 w 193899"/>
              <a:gd name="T61" fmla="*/ 5349 h 192654"/>
              <a:gd name="T62" fmla="*/ 119013 w 193899"/>
              <a:gd name="T63" fmla="*/ 1834 h 192654"/>
              <a:gd name="T64" fmla="*/ 105567 w 193899"/>
              <a:gd name="T65" fmla="*/ 0 h 192654"/>
              <a:gd name="T66" fmla="*/ 190246 w 193899"/>
              <a:gd name="T67" fmla="*/ 133010 h 192654"/>
              <a:gd name="T68" fmla="*/ 153332 w 193899"/>
              <a:gd name="T69" fmla="*/ 154331 h 192654"/>
              <a:gd name="T70" fmla="*/ 131039 w 193899"/>
              <a:gd name="T71" fmla="*/ 159481 h 192654"/>
              <a:gd name="T72" fmla="*/ 185162 w 193899"/>
              <a:gd name="T73" fmla="*/ 159481 h 192654"/>
              <a:gd name="T74" fmla="*/ 190246 w 193899"/>
              <a:gd name="T75" fmla="*/ 133010 h 192654"/>
              <a:gd name="T76" fmla="*/ 172913 w 193899"/>
              <a:gd name="T77" fmla="*/ 34771 h 192654"/>
              <a:gd name="T78" fmla="*/ 101702 w 193899"/>
              <a:gd name="T79" fmla="*/ 34771 h 192654"/>
              <a:gd name="T80" fmla="*/ 115554 w 193899"/>
              <a:gd name="T81" fmla="*/ 36995 h 192654"/>
              <a:gd name="T82" fmla="*/ 126904 w 193899"/>
              <a:gd name="T83" fmla="*/ 43434 h 192654"/>
              <a:gd name="T84" fmla="*/ 135385 w 193899"/>
              <a:gd name="T85" fmla="*/ 53742 h 192654"/>
              <a:gd name="T86" fmla="*/ 140628 w 193899"/>
              <a:gd name="T87" fmla="*/ 67574 h 192654"/>
              <a:gd name="T88" fmla="*/ 61461 w 193899"/>
              <a:gd name="T89" fmla="*/ 75946 h 192654"/>
              <a:gd name="T90" fmla="*/ 191121 w 193899"/>
              <a:gd name="T91" fmla="*/ 75946 h 192654"/>
              <a:gd name="T92" fmla="*/ 190855 w 193899"/>
              <a:gd name="T93" fmla="*/ 74126 h 192654"/>
              <a:gd name="T94" fmla="*/ 186733 w 193899"/>
              <a:gd name="T95" fmla="*/ 59811 h 192654"/>
              <a:gd name="T96" fmla="*/ 180928 w 193899"/>
              <a:gd name="T97" fmla="*/ 46935 h 192654"/>
              <a:gd name="T98" fmla="*/ 173584 w 193899"/>
              <a:gd name="T99" fmla="*/ 35532 h 192654"/>
              <a:gd name="T100" fmla="*/ 172913 w 193899"/>
              <a:gd name="T101" fmla="*/ 34771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2" name="object 13">
            <a:extLst>
              <a:ext uri="{FF2B5EF4-FFF2-40B4-BE49-F238E27FC236}">
                <a16:creationId xmlns:a16="http://schemas.microsoft.com/office/drawing/2014/main" id="{87B8C3A1-2DD8-4C1C-9060-10A2782E054B}"/>
              </a:ext>
            </a:extLst>
          </p:cNvPr>
          <p:cNvSpPr>
            <a:spLocks/>
          </p:cNvSpPr>
          <p:nvPr/>
        </p:nvSpPr>
        <p:spPr bwMode="auto">
          <a:xfrm>
            <a:off x="7682855" y="6362904"/>
            <a:ext cx="88017" cy="143945"/>
          </a:xfrm>
          <a:custGeom>
            <a:avLst/>
            <a:gdLst>
              <a:gd name="T0" fmla="*/ 84594 w 152869"/>
              <a:gd name="T1" fmla="*/ 99407 h 248003"/>
              <a:gd name="T2" fmla="*/ 26456 w 152869"/>
              <a:gd name="T3" fmla="*/ 99407 h 248003"/>
              <a:gd name="T4" fmla="*/ 26494 w 152869"/>
              <a:gd name="T5" fmla="*/ 183146 h 248003"/>
              <a:gd name="T6" fmla="*/ 40057 w 152869"/>
              <a:gd name="T7" fmla="*/ 226515 h 248003"/>
              <a:gd name="T8" fmla="*/ 73147 w 152869"/>
              <a:gd name="T9" fmla="*/ 247041 h 248003"/>
              <a:gd name="T10" fmla="*/ 102568 w 152869"/>
              <a:gd name="T11" fmla="*/ 250479 h 248003"/>
              <a:gd name="T12" fmla="*/ 114475 w 152869"/>
              <a:gd name="T13" fmla="*/ 249534 h 248003"/>
              <a:gd name="T14" fmla="*/ 126281 w 152869"/>
              <a:gd name="T15" fmla="*/ 247359 h 248003"/>
              <a:gd name="T16" fmla="*/ 138574 w 152869"/>
              <a:gd name="T17" fmla="*/ 243801 h 248003"/>
              <a:gd name="T18" fmla="*/ 151932 w 152869"/>
              <a:gd name="T19" fmla="*/ 238719 h 248003"/>
              <a:gd name="T20" fmla="*/ 146554 w 152869"/>
              <a:gd name="T21" fmla="*/ 206730 h 248003"/>
              <a:gd name="T22" fmla="*/ 108929 w 152869"/>
              <a:gd name="T23" fmla="*/ 206730 h 248003"/>
              <a:gd name="T24" fmla="*/ 95732 w 152869"/>
              <a:gd name="T25" fmla="*/ 201977 h 248003"/>
              <a:gd name="T26" fmla="*/ 87459 w 152869"/>
              <a:gd name="T27" fmla="*/ 191694 h 248003"/>
              <a:gd name="T28" fmla="*/ 84594 w 152869"/>
              <a:gd name="T29" fmla="*/ 176804 h 248003"/>
              <a:gd name="T30" fmla="*/ 84594 w 152869"/>
              <a:gd name="T31" fmla="*/ 99407 h 248003"/>
              <a:gd name="T32" fmla="*/ 145289 w 152869"/>
              <a:gd name="T33" fmla="*/ 199211 h 248003"/>
              <a:gd name="T34" fmla="*/ 133406 w 152869"/>
              <a:gd name="T35" fmla="*/ 203716 h 248003"/>
              <a:gd name="T36" fmla="*/ 121713 w 152869"/>
              <a:gd name="T37" fmla="*/ 206120 h 248003"/>
              <a:gd name="T38" fmla="*/ 108929 w 152869"/>
              <a:gd name="T39" fmla="*/ 206730 h 248003"/>
              <a:gd name="T40" fmla="*/ 146554 w 152869"/>
              <a:gd name="T41" fmla="*/ 206730 h 248003"/>
              <a:gd name="T42" fmla="*/ 145289 w 152869"/>
              <a:gd name="T43" fmla="*/ 199211 h 248003"/>
              <a:gd name="T44" fmla="*/ 84594 w 152869"/>
              <a:gd name="T45" fmla="*/ 0 h 248003"/>
              <a:gd name="T46" fmla="*/ 77361 w 152869"/>
              <a:gd name="T47" fmla="*/ 0 h 248003"/>
              <a:gd name="T48" fmla="*/ 0 w 152869"/>
              <a:gd name="T49" fmla="*/ 88004 h 248003"/>
              <a:gd name="T50" fmla="*/ 0 w 152869"/>
              <a:gd name="T51" fmla="*/ 99407 h 248003"/>
              <a:gd name="T52" fmla="*/ 151932 w 152869"/>
              <a:gd name="T53" fmla="*/ 99407 h 248003"/>
              <a:gd name="T54" fmla="*/ 151932 w 152869"/>
              <a:gd name="T55" fmla="*/ 59080 h 248003"/>
              <a:gd name="T56" fmla="*/ 84594 w 152869"/>
              <a:gd name="T57" fmla="*/ 59080 h 248003"/>
              <a:gd name="T58" fmla="*/ 84594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3" name="object 14">
            <a:extLst>
              <a:ext uri="{FF2B5EF4-FFF2-40B4-BE49-F238E27FC236}">
                <a16:creationId xmlns:a16="http://schemas.microsoft.com/office/drawing/2014/main" id="{72420B96-9B44-48C8-869C-5AACF1BFABD4}"/>
              </a:ext>
            </a:extLst>
          </p:cNvPr>
          <p:cNvSpPr>
            <a:spLocks/>
          </p:cNvSpPr>
          <p:nvPr/>
        </p:nvSpPr>
        <p:spPr bwMode="auto">
          <a:xfrm>
            <a:off x="7784625"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5 w 186347"/>
              <a:gd name="T19" fmla="*/ 124494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9 h 275069"/>
              <a:gd name="T44" fmla="*/ 181151 w 186347"/>
              <a:gd name="T45" fmla="*/ 130207 h 275069"/>
              <a:gd name="T46" fmla="*/ 114275 w 186347"/>
              <a:gd name="T47" fmla="*/ 85303 h 275069"/>
              <a:gd name="T48" fmla="*/ 68775 w 186347"/>
              <a:gd name="T49" fmla="*/ 105259 h 275069"/>
              <a:gd name="T50" fmla="*/ 58909 w 186347"/>
              <a:gd name="T51" fmla="*/ 116194 h 275069"/>
              <a:gd name="T52" fmla="*/ 175038 w 186347"/>
              <a:gd name="T53" fmla="*/ 116194 h 275069"/>
              <a:gd name="T54" fmla="*/ 141105 w 186347"/>
              <a:gd name="T55" fmla="*/ 89329 h 275069"/>
              <a:gd name="T56" fmla="*/ 114275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4" name="object 15">
            <a:extLst>
              <a:ext uri="{FF2B5EF4-FFF2-40B4-BE49-F238E27FC236}">
                <a16:creationId xmlns:a16="http://schemas.microsoft.com/office/drawing/2014/main" id="{F117C11C-04A7-4647-8F8A-94A0A1957D72}"/>
              </a:ext>
            </a:extLst>
          </p:cNvPr>
          <p:cNvSpPr>
            <a:spLocks/>
          </p:cNvSpPr>
          <p:nvPr/>
        </p:nvSpPr>
        <p:spPr bwMode="auto">
          <a:xfrm>
            <a:off x="7909316" y="6394994"/>
            <a:ext cx="111855" cy="111855"/>
          </a:xfrm>
          <a:custGeom>
            <a:avLst/>
            <a:gdLst>
              <a:gd name="T0" fmla="*/ 105546 w 193899"/>
              <a:gd name="T1" fmla="*/ 0 h 192656"/>
              <a:gd name="T2" fmla="*/ 59341 w 193899"/>
              <a:gd name="T3" fmla="*/ 7955 h 192656"/>
              <a:gd name="T4" fmla="*/ 25197 w 193899"/>
              <a:gd name="T5" fmla="*/ 30455 h 192656"/>
              <a:gd name="T6" fmla="*/ 4919 w 193899"/>
              <a:gd name="T7" fmla="*/ 64797 h 192656"/>
              <a:gd name="T8" fmla="*/ 0 w 193899"/>
              <a:gd name="T9" fmla="*/ 92930 h 192656"/>
              <a:gd name="T10" fmla="*/ 900 w 193899"/>
              <a:gd name="T11" fmla="*/ 108796 h 192656"/>
              <a:gd name="T12" fmla="*/ 14132 w 193899"/>
              <a:gd name="T13" fmla="*/ 149142 h 192656"/>
              <a:gd name="T14" fmla="*/ 41608 w 193899"/>
              <a:gd name="T15" fmla="*/ 177570 h 192656"/>
              <a:gd name="T16" fmla="*/ 81330 w 193899"/>
              <a:gd name="T17" fmla="*/ 192753 h 192656"/>
              <a:gd name="T18" fmla="*/ 107239 w 193899"/>
              <a:gd name="T19" fmla="*/ 194699 h 192656"/>
              <a:gd name="T20" fmla="*/ 118418 w 193899"/>
              <a:gd name="T21" fmla="*/ 194391 h 192656"/>
              <a:gd name="T22" fmla="*/ 168830 w 193899"/>
              <a:gd name="T23" fmla="*/ 182833 h 192656"/>
              <a:gd name="T24" fmla="*/ 185166 w 193899"/>
              <a:gd name="T25" fmla="*/ 159479 h 192656"/>
              <a:gd name="T26" fmla="*/ 131026 w 193899"/>
              <a:gd name="T27" fmla="*/ 159479 h 192656"/>
              <a:gd name="T28" fmla="*/ 112573 w 193899"/>
              <a:gd name="T29" fmla="*/ 158447 h 192656"/>
              <a:gd name="T30" fmla="*/ 74230 w 193899"/>
              <a:gd name="T31" fmla="*/ 141603 h 192656"/>
              <a:gd name="T32" fmla="*/ 60257 w 193899"/>
              <a:gd name="T33" fmla="*/ 106929 h 192656"/>
              <a:gd name="T34" fmla="*/ 193451 w 193899"/>
              <a:gd name="T35" fmla="*/ 106929 h 192656"/>
              <a:gd name="T36" fmla="*/ 193141 w 193899"/>
              <a:gd name="T37" fmla="*/ 89841 h 192656"/>
              <a:gd name="T38" fmla="*/ 191116 w 193899"/>
              <a:gd name="T39" fmla="*/ 75946 h 192656"/>
              <a:gd name="T40" fmla="*/ 61462 w 193899"/>
              <a:gd name="T41" fmla="*/ 75946 h 192656"/>
              <a:gd name="T42" fmla="*/ 64853 w 193899"/>
              <a:gd name="T43" fmla="*/ 60273 h 192656"/>
              <a:gd name="T44" fmla="*/ 71631 w 193899"/>
              <a:gd name="T45" fmla="*/ 48105 h 192656"/>
              <a:gd name="T46" fmla="*/ 81507 w 193899"/>
              <a:gd name="T47" fmla="*/ 39709 h 192656"/>
              <a:gd name="T48" fmla="*/ 94185 w 193899"/>
              <a:gd name="T49" fmla="*/ 35352 h 192656"/>
              <a:gd name="T50" fmla="*/ 101690 w 193899"/>
              <a:gd name="T51" fmla="*/ 34772 h 192656"/>
              <a:gd name="T52" fmla="*/ 172904 w 193899"/>
              <a:gd name="T53" fmla="*/ 34772 h 192656"/>
              <a:gd name="T54" fmla="*/ 164839 w 193899"/>
              <a:gd name="T55" fmla="*/ 25635 h 192656"/>
              <a:gd name="T56" fmla="*/ 154867 w 193899"/>
              <a:gd name="T57" fmla="*/ 17283 h 192656"/>
              <a:gd name="T58" fmla="*/ 143803 w 193899"/>
              <a:gd name="T59" fmla="*/ 10509 h 192656"/>
              <a:gd name="T60" fmla="*/ 131796 w 193899"/>
              <a:gd name="T61" fmla="*/ 5347 h 192656"/>
              <a:gd name="T62" fmla="*/ 118994 w 193899"/>
              <a:gd name="T63" fmla="*/ 1833 h 192656"/>
              <a:gd name="T64" fmla="*/ 105546 w 193899"/>
              <a:gd name="T65" fmla="*/ 0 h 192656"/>
              <a:gd name="T66" fmla="*/ 190234 w 193899"/>
              <a:gd name="T67" fmla="*/ 133009 h 192656"/>
              <a:gd name="T68" fmla="*/ 153317 w 193899"/>
              <a:gd name="T69" fmla="*/ 154331 h 192656"/>
              <a:gd name="T70" fmla="*/ 131026 w 193899"/>
              <a:gd name="T71" fmla="*/ 159479 h 192656"/>
              <a:gd name="T72" fmla="*/ 185166 w 193899"/>
              <a:gd name="T73" fmla="*/ 159479 h 192656"/>
              <a:gd name="T74" fmla="*/ 190234 w 193899"/>
              <a:gd name="T75" fmla="*/ 133009 h 192656"/>
              <a:gd name="T76" fmla="*/ 172904 w 193899"/>
              <a:gd name="T77" fmla="*/ 34772 h 192656"/>
              <a:gd name="T78" fmla="*/ 101690 w 193899"/>
              <a:gd name="T79" fmla="*/ 34772 h 192656"/>
              <a:gd name="T80" fmla="*/ 115542 w 193899"/>
              <a:gd name="T81" fmla="*/ 36996 h 192656"/>
              <a:gd name="T82" fmla="*/ 126892 w 193899"/>
              <a:gd name="T83" fmla="*/ 43434 h 192656"/>
              <a:gd name="T84" fmla="*/ 135373 w 193899"/>
              <a:gd name="T85" fmla="*/ 53741 h 192656"/>
              <a:gd name="T86" fmla="*/ 140616 w 193899"/>
              <a:gd name="T87" fmla="*/ 67574 h 192656"/>
              <a:gd name="T88" fmla="*/ 61462 w 193899"/>
              <a:gd name="T89" fmla="*/ 75946 h 192656"/>
              <a:gd name="T90" fmla="*/ 191116 w 193899"/>
              <a:gd name="T91" fmla="*/ 75946 h 192656"/>
              <a:gd name="T92" fmla="*/ 190850 w 193899"/>
              <a:gd name="T93" fmla="*/ 74123 h 192656"/>
              <a:gd name="T94" fmla="*/ 186726 w 193899"/>
              <a:gd name="T95" fmla="*/ 59808 h 192656"/>
              <a:gd name="T96" fmla="*/ 180918 w 193899"/>
              <a:gd name="T97" fmla="*/ 46932 h 192656"/>
              <a:gd name="T98" fmla="*/ 173572 w 193899"/>
              <a:gd name="T99" fmla="*/ 35530 h 192656"/>
              <a:gd name="T100" fmla="*/ 172904 w 193899"/>
              <a:gd name="T101" fmla="*/ 34772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5" name="object 16">
            <a:extLst>
              <a:ext uri="{FF2B5EF4-FFF2-40B4-BE49-F238E27FC236}">
                <a16:creationId xmlns:a16="http://schemas.microsoft.com/office/drawing/2014/main" id="{B0E9CA13-CDCE-4E5E-B6BC-8FFAAFF9281E}"/>
              </a:ext>
            </a:extLst>
          </p:cNvPr>
          <p:cNvSpPr>
            <a:spLocks/>
          </p:cNvSpPr>
          <p:nvPr/>
        </p:nvSpPr>
        <p:spPr bwMode="auto">
          <a:xfrm>
            <a:off x="8095435" y="6343651"/>
            <a:ext cx="154947" cy="163198"/>
          </a:xfrm>
          <a:custGeom>
            <a:avLst/>
            <a:gdLst>
              <a:gd name="T0" fmla="*/ 157766 w 268134"/>
              <a:gd name="T1" fmla="*/ 0 h 282037"/>
              <a:gd name="T2" fmla="*/ 108624 w 268134"/>
              <a:gd name="T3" fmla="*/ 7420 h 282037"/>
              <a:gd name="T4" fmla="*/ 68050 w 268134"/>
              <a:gd name="T5" fmla="*/ 25018 h 282037"/>
              <a:gd name="T6" fmla="*/ 36503 w 268134"/>
              <a:gd name="T7" fmla="*/ 50989 h 282037"/>
              <a:gd name="T8" fmla="*/ 14441 w 268134"/>
              <a:gd name="T9" fmla="*/ 83531 h 282037"/>
              <a:gd name="T10" fmla="*/ 2325 w 268134"/>
              <a:gd name="T11" fmla="*/ 120839 h 282037"/>
              <a:gd name="T12" fmla="*/ 0 w 268134"/>
              <a:gd name="T13" fmla="*/ 147469 h 282037"/>
              <a:gd name="T14" fmla="*/ 969 w 268134"/>
              <a:gd name="T15" fmla="*/ 159680 h 282037"/>
              <a:gd name="T16" fmla="*/ 15690 w 268134"/>
              <a:gd name="T17" fmla="*/ 206336 h 282037"/>
              <a:gd name="T18" fmla="*/ 48374 w 268134"/>
              <a:gd name="T19" fmla="*/ 245768 h 282037"/>
              <a:gd name="T20" fmla="*/ 85157 w 268134"/>
              <a:gd name="T21" fmla="*/ 267617 h 282037"/>
              <a:gd name="T22" fmla="*/ 132837 w 268134"/>
              <a:gd name="T23" fmla="*/ 280518 h 282037"/>
              <a:gd name="T24" fmla="*/ 170843 w 268134"/>
              <a:gd name="T25" fmla="*/ 283114 h 282037"/>
              <a:gd name="T26" fmla="*/ 183771 w 268134"/>
              <a:gd name="T27" fmla="*/ 282313 h 282037"/>
              <a:gd name="T28" fmla="*/ 231539 w 268134"/>
              <a:gd name="T29" fmla="*/ 272026 h 282037"/>
              <a:gd name="T30" fmla="*/ 268440 w 268134"/>
              <a:gd name="T31" fmla="*/ 255763 h 282037"/>
              <a:gd name="T32" fmla="*/ 267158 w 268134"/>
              <a:gd name="T33" fmla="*/ 225178 h 282037"/>
              <a:gd name="T34" fmla="*/ 155713 w 268134"/>
              <a:gd name="T35" fmla="*/ 225178 h 282037"/>
              <a:gd name="T36" fmla="*/ 141080 w 268134"/>
              <a:gd name="T37" fmla="*/ 222813 h 282037"/>
              <a:gd name="T38" fmla="*/ 104034 w 268134"/>
              <a:gd name="T39" fmla="*/ 205594 h 282037"/>
              <a:gd name="T40" fmla="*/ 79738 w 268134"/>
              <a:gd name="T41" fmla="*/ 174128 h 282037"/>
              <a:gd name="T42" fmla="*/ 71375 w 268134"/>
              <a:gd name="T43" fmla="*/ 129620 h 282037"/>
              <a:gd name="T44" fmla="*/ 74187 w 268134"/>
              <a:gd name="T45" fmla="*/ 117196 h 282037"/>
              <a:gd name="T46" fmla="*/ 104502 w 268134"/>
              <a:gd name="T47" fmla="*/ 77502 h 282037"/>
              <a:gd name="T48" fmla="*/ 145467 w 268134"/>
              <a:gd name="T49" fmla="*/ 60972 h 282037"/>
              <a:gd name="T50" fmla="*/ 180507 w 268134"/>
              <a:gd name="T51" fmla="*/ 57726 h 282037"/>
              <a:gd name="T52" fmla="*/ 262476 w 268134"/>
              <a:gd name="T53" fmla="*/ 57726 h 282037"/>
              <a:gd name="T54" fmla="*/ 258849 w 268134"/>
              <a:gd name="T55" fmla="*/ 20587 h 282037"/>
              <a:gd name="T56" fmla="*/ 214487 w 268134"/>
              <a:gd name="T57" fmla="*/ 5072 h 282037"/>
              <a:gd name="T58" fmla="*/ 173251 w 268134"/>
              <a:gd name="T59" fmla="*/ 286 h 282037"/>
              <a:gd name="T60" fmla="*/ 157766 w 268134"/>
              <a:gd name="T61" fmla="*/ 0 h 282037"/>
              <a:gd name="T62" fmla="*/ 265963 w 268134"/>
              <a:gd name="T63" fmla="*/ 196628 h 282037"/>
              <a:gd name="T64" fmla="*/ 231075 w 268134"/>
              <a:gd name="T65" fmla="*/ 212305 h 282037"/>
              <a:gd name="T66" fmla="*/ 184548 w 268134"/>
              <a:gd name="T67" fmla="*/ 223933 h 282037"/>
              <a:gd name="T68" fmla="*/ 155713 w 268134"/>
              <a:gd name="T69" fmla="*/ 225178 h 282037"/>
              <a:gd name="T70" fmla="*/ 267158 w 268134"/>
              <a:gd name="T71" fmla="*/ 225178 h 282037"/>
              <a:gd name="T72" fmla="*/ 265963 w 268134"/>
              <a:gd name="T73" fmla="*/ 196628 h 282037"/>
              <a:gd name="T74" fmla="*/ 262476 w 268134"/>
              <a:gd name="T75" fmla="*/ 57726 h 282037"/>
              <a:gd name="T76" fmla="*/ 180507 w 268134"/>
              <a:gd name="T77" fmla="*/ 57726 h 282037"/>
              <a:gd name="T78" fmla="*/ 193191 w 268134"/>
              <a:gd name="T79" fmla="*/ 59108 h 282037"/>
              <a:gd name="T80" fmla="*/ 205622 w 268134"/>
              <a:gd name="T81" fmla="*/ 61482 h 282037"/>
              <a:gd name="T82" fmla="*/ 241748 w 268134"/>
              <a:gd name="T83" fmla="*/ 73840 h 282037"/>
              <a:gd name="T84" fmla="*/ 265210 w 268134"/>
              <a:gd name="T85" fmla="*/ 85724 h 282037"/>
              <a:gd name="T86" fmla="*/ 262476 w 268134"/>
              <a:gd name="T87" fmla="*/ 5772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6" name="object 17">
            <a:extLst>
              <a:ext uri="{FF2B5EF4-FFF2-40B4-BE49-F238E27FC236}">
                <a16:creationId xmlns:a16="http://schemas.microsoft.com/office/drawing/2014/main" id="{F31D8B77-5450-4ACD-A452-B8E0B7774F3D}"/>
              </a:ext>
            </a:extLst>
          </p:cNvPr>
          <p:cNvSpPr>
            <a:spLocks/>
          </p:cNvSpPr>
          <p:nvPr/>
        </p:nvSpPr>
        <p:spPr bwMode="auto">
          <a:xfrm>
            <a:off x="8274220" y="6345484"/>
            <a:ext cx="107271" cy="158614"/>
          </a:xfrm>
          <a:custGeom>
            <a:avLst/>
            <a:gdLst>
              <a:gd name="T0" fmla="*/ 58101 w 186347"/>
              <a:gd name="T1" fmla="*/ 0 h 275069"/>
              <a:gd name="T2" fmla="*/ 0 w 186347"/>
              <a:gd name="T3" fmla="*/ 0 h 275069"/>
              <a:gd name="T4" fmla="*/ 0 w 186347"/>
              <a:gd name="T5" fmla="*/ 274206 h 275069"/>
              <a:gd name="T6" fmla="*/ 58101 w 186347"/>
              <a:gd name="T7" fmla="*/ 274206 h 275069"/>
              <a:gd name="T8" fmla="*/ 64240 w 186347"/>
              <a:gd name="T9" fmla="*/ 147785 h 275069"/>
              <a:gd name="T10" fmla="*/ 72975 w 186347"/>
              <a:gd name="T11" fmla="*/ 138936 h 275069"/>
              <a:gd name="T12" fmla="*/ 82767 w 186347"/>
              <a:gd name="T13" fmla="*/ 133085 h 275069"/>
              <a:gd name="T14" fmla="*/ 94545 w 186347"/>
              <a:gd name="T15" fmla="*/ 130207 h 275069"/>
              <a:gd name="T16" fmla="*/ 181151 w 186347"/>
              <a:gd name="T17" fmla="*/ 130207 h 275069"/>
              <a:gd name="T18" fmla="*/ 179544 w 186347"/>
              <a:gd name="T19" fmla="*/ 124493 h 275069"/>
              <a:gd name="T20" fmla="*/ 175038 w 186347"/>
              <a:gd name="T21" fmla="*/ 116194 h 275069"/>
              <a:gd name="T22" fmla="*/ 58101 w 186347"/>
              <a:gd name="T23" fmla="*/ 116194 h 275069"/>
              <a:gd name="T24" fmla="*/ 58101 w 186347"/>
              <a:gd name="T25" fmla="*/ 0 h 275069"/>
              <a:gd name="T26" fmla="*/ 181151 w 186347"/>
              <a:gd name="T27" fmla="*/ 130207 h 275069"/>
              <a:gd name="T28" fmla="*/ 94545 w 186347"/>
              <a:gd name="T29" fmla="*/ 130207 h 275069"/>
              <a:gd name="T30" fmla="*/ 109242 w 186347"/>
              <a:gd name="T31" fmla="*/ 130282 h 275069"/>
              <a:gd name="T32" fmla="*/ 118746 w 186347"/>
              <a:gd name="T33" fmla="*/ 137732 h 275069"/>
              <a:gd name="T34" fmla="*/ 124864 w 186347"/>
              <a:gd name="T35" fmla="*/ 150397 h 275069"/>
              <a:gd name="T36" fmla="*/ 127028 w 186347"/>
              <a:gd name="T37" fmla="*/ 168468 h 275069"/>
              <a:gd name="T38" fmla="*/ 127028 w 186347"/>
              <a:gd name="T39" fmla="*/ 274206 h 275069"/>
              <a:gd name="T40" fmla="*/ 185131 w 186347"/>
              <a:gd name="T41" fmla="*/ 274206 h 275069"/>
              <a:gd name="T42" fmla="*/ 183784 w 186347"/>
              <a:gd name="T43" fmla="*/ 139577 h 275069"/>
              <a:gd name="T44" fmla="*/ 181151 w 186347"/>
              <a:gd name="T45" fmla="*/ 130207 h 275069"/>
              <a:gd name="T46" fmla="*/ 114274 w 186347"/>
              <a:gd name="T47" fmla="*/ 85303 h 275069"/>
              <a:gd name="T48" fmla="*/ 68774 w 186347"/>
              <a:gd name="T49" fmla="*/ 105259 h 275069"/>
              <a:gd name="T50" fmla="*/ 58909 w 186347"/>
              <a:gd name="T51" fmla="*/ 116194 h 275069"/>
              <a:gd name="T52" fmla="*/ 175038 w 186347"/>
              <a:gd name="T53" fmla="*/ 116194 h 275069"/>
              <a:gd name="T54" fmla="*/ 141104 w 186347"/>
              <a:gd name="T55" fmla="*/ 89329 h 275069"/>
              <a:gd name="T56" fmla="*/ 114274 w 186347"/>
              <a:gd name="T57" fmla="*/ 85303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7" name="object 18">
            <a:extLst>
              <a:ext uri="{FF2B5EF4-FFF2-40B4-BE49-F238E27FC236}">
                <a16:creationId xmlns:a16="http://schemas.microsoft.com/office/drawing/2014/main" id="{55912430-9CF1-45D6-A35C-10119B618138}"/>
              </a:ext>
            </a:extLst>
          </p:cNvPr>
          <p:cNvSpPr>
            <a:spLocks/>
          </p:cNvSpPr>
          <p:nvPr/>
        </p:nvSpPr>
        <p:spPr bwMode="auto">
          <a:xfrm>
            <a:off x="8405329" y="6396827"/>
            <a:ext cx="33923" cy="107271"/>
          </a:xfrm>
          <a:custGeom>
            <a:avLst/>
            <a:gdLst>
              <a:gd name="T0" fmla="*/ 58992 w 58483"/>
              <a:gd name="T1" fmla="*/ 185534 h 185940"/>
              <a:gd name="T2" fmla="*/ 0 w 58483"/>
              <a:gd name="T3" fmla="*/ 185534 h 185940"/>
              <a:gd name="T4" fmla="*/ 0 w 58483"/>
              <a:gd name="T5" fmla="*/ 0 h 185940"/>
              <a:gd name="T6" fmla="*/ 58992 w 58483"/>
              <a:gd name="T7" fmla="*/ 0 h 185940"/>
              <a:gd name="T8" fmla="*/ 58992 w 58483"/>
              <a:gd name="T9" fmla="*/ 185534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8" name="object 19">
            <a:extLst>
              <a:ext uri="{FF2B5EF4-FFF2-40B4-BE49-F238E27FC236}">
                <a16:creationId xmlns:a16="http://schemas.microsoft.com/office/drawing/2014/main" id="{7543CB33-197F-4EFA-9180-138820343EF5}"/>
              </a:ext>
            </a:extLst>
          </p:cNvPr>
          <p:cNvSpPr>
            <a:spLocks/>
          </p:cNvSpPr>
          <p:nvPr/>
        </p:nvSpPr>
        <p:spPr bwMode="auto">
          <a:xfrm>
            <a:off x="8403496" y="6344567"/>
            <a:ext cx="37590" cy="35757"/>
          </a:xfrm>
          <a:custGeom>
            <a:avLst/>
            <a:gdLst>
              <a:gd name="T0" fmla="*/ 22959 w 64473"/>
              <a:gd name="T1" fmla="*/ 0 h 61899"/>
              <a:gd name="T2" fmla="*/ 11083 w 64473"/>
              <a:gd name="T3" fmla="*/ 6796 h 61899"/>
              <a:gd name="T4" fmla="*/ 2975 w 64473"/>
              <a:gd name="T5" fmla="*/ 18055 h 61899"/>
              <a:gd name="T6" fmla="*/ 0 w 64473"/>
              <a:gd name="T7" fmla="*/ 32669 h 61899"/>
              <a:gd name="T8" fmla="*/ 3284 w 64473"/>
              <a:gd name="T9" fmla="*/ 44515 h 61899"/>
              <a:gd name="T10" fmla="*/ 11448 w 64473"/>
              <a:gd name="T11" fmla="*/ 54038 h 61899"/>
              <a:gd name="T12" fmla="*/ 24255 w 64473"/>
              <a:gd name="T13" fmla="*/ 60192 h 61899"/>
              <a:gd name="T14" fmla="*/ 41461 w 64473"/>
              <a:gd name="T15" fmla="*/ 61927 h 61899"/>
              <a:gd name="T16" fmla="*/ 53939 w 64473"/>
              <a:gd name="T17" fmla="*/ 55480 h 61899"/>
              <a:gd name="T18" fmla="*/ 62516 w 64473"/>
              <a:gd name="T19" fmla="*/ 44608 h 61899"/>
              <a:gd name="T20" fmla="*/ 65707 w 64473"/>
              <a:gd name="T21" fmla="*/ 30778 h 61899"/>
              <a:gd name="T22" fmla="*/ 65565 w 64473"/>
              <a:gd name="T23" fmla="*/ 27789 h 61899"/>
              <a:gd name="T24" fmla="*/ 61949 w 64473"/>
              <a:gd name="T25" fmla="*/ 16342 h 61899"/>
              <a:gd name="T26" fmla="*/ 53557 w 64473"/>
              <a:gd name="T27" fmla="*/ 7223 h 61899"/>
              <a:gd name="T28" fmla="*/ 40518 w 64473"/>
              <a:gd name="T29" fmla="*/ 1439 h 61899"/>
              <a:gd name="T30" fmla="*/ 2295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99" name="object 20">
            <a:extLst>
              <a:ext uri="{FF2B5EF4-FFF2-40B4-BE49-F238E27FC236}">
                <a16:creationId xmlns:a16="http://schemas.microsoft.com/office/drawing/2014/main" id="{CD81D564-352A-4B9C-A0AE-27867A07F45E}"/>
              </a:ext>
            </a:extLst>
          </p:cNvPr>
          <p:cNvSpPr>
            <a:spLocks/>
          </p:cNvSpPr>
          <p:nvPr/>
        </p:nvSpPr>
        <p:spPr bwMode="auto">
          <a:xfrm>
            <a:off x="8464007" y="6345484"/>
            <a:ext cx="33923" cy="158614"/>
          </a:xfrm>
          <a:custGeom>
            <a:avLst/>
            <a:gdLst>
              <a:gd name="T0" fmla="*/ 58992 w 58483"/>
              <a:gd name="T1" fmla="*/ 274206 h 275069"/>
              <a:gd name="T2" fmla="*/ 0 w 58483"/>
              <a:gd name="T3" fmla="*/ 274206 h 275069"/>
              <a:gd name="T4" fmla="*/ 0 w 58483"/>
              <a:gd name="T5" fmla="*/ 0 h 275069"/>
              <a:gd name="T6" fmla="*/ 58992 w 58483"/>
              <a:gd name="T7" fmla="*/ 0 h 275069"/>
              <a:gd name="T8" fmla="*/ 58992 w 58483"/>
              <a:gd name="T9" fmla="*/ 274206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0" name="object 21">
            <a:extLst>
              <a:ext uri="{FF2B5EF4-FFF2-40B4-BE49-F238E27FC236}">
                <a16:creationId xmlns:a16="http://schemas.microsoft.com/office/drawing/2014/main" id="{71528E38-30F5-469D-A895-EE692E34405A}"/>
              </a:ext>
            </a:extLst>
          </p:cNvPr>
          <p:cNvSpPr>
            <a:spLocks/>
          </p:cNvSpPr>
          <p:nvPr/>
        </p:nvSpPr>
        <p:spPr bwMode="auto">
          <a:xfrm>
            <a:off x="8516267" y="6345484"/>
            <a:ext cx="113689" cy="161365"/>
          </a:xfrm>
          <a:custGeom>
            <a:avLst/>
            <a:gdLst>
              <a:gd name="T0" fmla="*/ 101688 w 197236"/>
              <a:gd name="T1" fmla="*/ 86676 h 278582"/>
              <a:gd name="T2" fmla="*/ 55439 w 197236"/>
              <a:gd name="T3" fmla="*/ 94553 h 278582"/>
              <a:gd name="T4" fmla="*/ 22471 w 197236"/>
              <a:gd name="T5" fmla="*/ 117445 h 278582"/>
              <a:gd name="T6" fmla="*/ 3873 w 197236"/>
              <a:gd name="T7" fmla="*/ 152624 h 278582"/>
              <a:gd name="T8" fmla="*/ 0 w 197236"/>
              <a:gd name="T9" fmla="*/ 181557 h 278582"/>
              <a:gd name="T10" fmla="*/ 1013 w 197236"/>
              <a:gd name="T11" fmla="*/ 197742 h 278582"/>
              <a:gd name="T12" fmla="*/ 15198 w 197236"/>
              <a:gd name="T13" fmla="*/ 239527 h 278582"/>
              <a:gd name="T14" fmla="*/ 43348 w 197236"/>
              <a:gd name="T15" fmla="*/ 268260 h 278582"/>
              <a:gd name="T16" fmla="*/ 81926 w 197236"/>
              <a:gd name="T17" fmla="*/ 280220 h 278582"/>
              <a:gd name="T18" fmla="*/ 96474 w 197236"/>
              <a:gd name="T19" fmla="*/ 279540 h 278582"/>
              <a:gd name="T20" fmla="*/ 109097 w 197236"/>
              <a:gd name="T21" fmla="*/ 277223 h 278582"/>
              <a:gd name="T22" fmla="*/ 120406 w 197236"/>
              <a:gd name="T23" fmla="*/ 273113 h 278582"/>
              <a:gd name="T24" fmla="*/ 131016 w 197236"/>
              <a:gd name="T25" fmla="*/ 267051 h 278582"/>
              <a:gd name="T26" fmla="*/ 196465 w 197236"/>
              <a:gd name="T27" fmla="*/ 267051 h 278582"/>
              <a:gd name="T28" fmla="*/ 196465 w 197236"/>
              <a:gd name="T29" fmla="*/ 239462 h 278582"/>
              <a:gd name="T30" fmla="*/ 115354 w 197236"/>
              <a:gd name="T31" fmla="*/ 239462 h 278582"/>
              <a:gd name="T32" fmla="*/ 98583 w 197236"/>
              <a:gd name="T33" fmla="*/ 238443 h 278582"/>
              <a:gd name="T34" fmla="*/ 66486 w 197236"/>
              <a:gd name="T35" fmla="*/ 216892 h 278582"/>
              <a:gd name="T36" fmla="*/ 59238 w 197236"/>
              <a:gd name="T37" fmla="*/ 190104 h 278582"/>
              <a:gd name="T38" fmla="*/ 60459 w 197236"/>
              <a:gd name="T39" fmla="*/ 171084 h 278582"/>
              <a:gd name="T40" fmla="*/ 78784 w 197236"/>
              <a:gd name="T41" fmla="*/ 133852 h 278582"/>
              <a:gd name="T42" fmla="*/ 101896 w 197236"/>
              <a:gd name="T43" fmla="*/ 125492 h 278582"/>
              <a:gd name="T44" fmla="*/ 196465 w 197236"/>
              <a:gd name="T45" fmla="*/ 125492 h 278582"/>
              <a:gd name="T46" fmla="*/ 196465 w 197236"/>
              <a:gd name="T47" fmla="*/ 97776 h 278582"/>
              <a:gd name="T48" fmla="*/ 138196 w 197236"/>
              <a:gd name="T49" fmla="*/ 97776 h 278582"/>
              <a:gd name="T50" fmla="*/ 126189 w 197236"/>
              <a:gd name="T51" fmla="*/ 92593 h 278582"/>
              <a:gd name="T52" fmla="*/ 114058 w 197236"/>
              <a:gd name="T53" fmla="*/ 88880 h 278582"/>
              <a:gd name="T54" fmla="*/ 101688 w 197236"/>
              <a:gd name="T55" fmla="*/ 86676 h 278582"/>
              <a:gd name="T56" fmla="*/ 196465 w 197236"/>
              <a:gd name="T57" fmla="*/ 267051 h 278582"/>
              <a:gd name="T58" fmla="*/ 131016 w 197236"/>
              <a:gd name="T59" fmla="*/ 267051 h 278582"/>
              <a:gd name="T60" fmla="*/ 138196 w 197236"/>
              <a:gd name="T61" fmla="*/ 276699 h 278582"/>
              <a:gd name="T62" fmla="*/ 196465 w 197236"/>
              <a:gd name="T63" fmla="*/ 276699 h 278582"/>
              <a:gd name="T64" fmla="*/ 196465 w 197236"/>
              <a:gd name="T65" fmla="*/ 267051 h 278582"/>
              <a:gd name="T66" fmla="*/ 196465 w 197236"/>
              <a:gd name="T67" fmla="*/ 125492 h 278582"/>
              <a:gd name="T68" fmla="*/ 101896 w 197236"/>
              <a:gd name="T69" fmla="*/ 125492 h 278582"/>
              <a:gd name="T70" fmla="*/ 115755 w 197236"/>
              <a:gd name="T71" fmla="*/ 126896 h 278582"/>
              <a:gd name="T72" fmla="*/ 128210 w 197236"/>
              <a:gd name="T73" fmla="*/ 130790 h 278582"/>
              <a:gd name="T74" fmla="*/ 138196 w 197236"/>
              <a:gd name="T75" fmla="*/ 225574 h 278582"/>
              <a:gd name="T76" fmla="*/ 126601 w 197236"/>
              <a:gd name="T77" fmla="*/ 234475 h 278582"/>
              <a:gd name="T78" fmla="*/ 115354 w 197236"/>
              <a:gd name="T79" fmla="*/ 239462 h 278582"/>
              <a:gd name="T80" fmla="*/ 196465 w 197236"/>
              <a:gd name="T81" fmla="*/ 239462 h 278582"/>
              <a:gd name="T82" fmla="*/ 196465 w 197236"/>
              <a:gd name="T83" fmla="*/ 125492 h 278582"/>
              <a:gd name="T84" fmla="*/ 196465 w 197236"/>
              <a:gd name="T85" fmla="*/ 0 h 278582"/>
              <a:gd name="T86" fmla="*/ 138196 w 197236"/>
              <a:gd name="T87" fmla="*/ 0 h 278582"/>
              <a:gd name="T88" fmla="*/ 138196 w 197236"/>
              <a:gd name="T89" fmla="*/ 97776 h 278582"/>
              <a:gd name="T90" fmla="*/ 196465 w 197236"/>
              <a:gd name="T91" fmla="*/ 97776 h 278582"/>
              <a:gd name="T92" fmla="*/ 196465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1" name="object 22">
            <a:extLst>
              <a:ext uri="{FF2B5EF4-FFF2-40B4-BE49-F238E27FC236}">
                <a16:creationId xmlns:a16="http://schemas.microsoft.com/office/drawing/2014/main" id="{46F61C55-5250-4B3D-B738-7CED57984B7D}"/>
              </a:ext>
            </a:extLst>
          </p:cNvPr>
          <p:cNvSpPr>
            <a:spLocks/>
          </p:cNvSpPr>
          <p:nvPr/>
        </p:nvSpPr>
        <p:spPr bwMode="auto">
          <a:xfrm>
            <a:off x="8653794" y="6394994"/>
            <a:ext cx="86183" cy="109104"/>
          </a:xfrm>
          <a:custGeom>
            <a:avLst/>
            <a:gdLst>
              <a:gd name="T0" fmla="*/ 59120 w 148435"/>
              <a:gd name="T1" fmla="*/ 3331 h 189286"/>
              <a:gd name="T2" fmla="*/ 0 w 148435"/>
              <a:gd name="T3" fmla="*/ 3331 h 189286"/>
              <a:gd name="T4" fmla="*/ 0 w 148435"/>
              <a:gd name="T5" fmla="*/ 188539 h 189286"/>
              <a:gd name="T6" fmla="*/ 59120 w 148435"/>
              <a:gd name="T7" fmla="*/ 188539 h 189286"/>
              <a:gd name="T8" fmla="*/ 60946 w 148435"/>
              <a:gd name="T9" fmla="*/ 103921 h 189286"/>
              <a:gd name="T10" fmla="*/ 67400 w 148435"/>
              <a:gd name="T11" fmla="*/ 89390 h 189286"/>
              <a:gd name="T12" fmla="*/ 103455 w 148435"/>
              <a:gd name="T13" fmla="*/ 56608 h 189286"/>
              <a:gd name="T14" fmla="*/ 106882 w 148435"/>
              <a:gd name="T15" fmla="*/ 56359 h 189286"/>
              <a:gd name="T16" fmla="*/ 59120 w 148435"/>
              <a:gd name="T17" fmla="*/ 56359 h 189286"/>
              <a:gd name="T18" fmla="*/ 59120 w 148435"/>
              <a:gd name="T19" fmla="*/ 3331 h 189286"/>
              <a:gd name="T20" fmla="*/ 144258 w 148435"/>
              <a:gd name="T21" fmla="*/ 55629 h 189286"/>
              <a:gd name="T22" fmla="*/ 116994 w 148435"/>
              <a:gd name="T23" fmla="*/ 55629 h 189286"/>
              <a:gd name="T24" fmla="*/ 128523 w 148435"/>
              <a:gd name="T25" fmla="*/ 60055 h 189286"/>
              <a:gd name="T26" fmla="*/ 142679 w 148435"/>
              <a:gd name="T27" fmla="*/ 68010 h 189286"/>
              <a:gd name="T28" fmla="*/ 144258 w 148435"/>
              <a:gd name="T29" fmla="*/ 55629 h 189286"/>
              <a:gd name="T30" fmla="*/ 114935 w 148435"/>
              <a:gd name="T31" fmla="*/ 0 h 189286"/>
              <a:gd name="T32" fmla="*/ 76810 w 148435"/>
              <a:gd name="T33" fmla="*/ 26391 h 189286"/>
              <a:gd name="T34" fmla="*/ 59929 w 148435"/>
              <a:gd name="T35" fmla="*/ 56359 h 189286"/>
              <a:gd name="T36" fmla="*/ 106882 w 148435"/>
              <a:gd name="T37" fmla="*/ 56359 h 189286"/>
              <a:gd name="T38" fmla="*/ 116994 w 148435"/>
              <a:gd name="T39" fmla="*/ 55629 h 189286"/>
              <a:gd name="T40" fmla="*/ 144258 w 148435"/>
              <a:gd name="T41" fmla="*/ 55629 h 189286"/>
              <a:gd name="T42" fmla="*/ 150019 w 148435"/>
              <a:gd name="T43" fmla="*/ 10415 h 189286"/>
              <a:gd name="T44" fmla="*/ 138528 w 148435"/>
              <a:gd name="T45" fmla="*/ 4209 h 189286"/>
              <a:gd name="T46" fmla="*/ 127371 w 148435"/>
              <a:gd name="T47" fmla="*/ 869 h 189286"/>
              <a:gd name="T48" fmla="*/ 114935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2" name="object 23">
            <a:extLst>
              <a:ext uri="{FF2B5EF4-FFF2-40B4-BE49-F238E27FC236}">
                <a16:creationId xmlns:a16="http://schemas.microsoft.com/office/drawing/2014/main" id="{69336DC4-E037-4DB3-B05C-E571B9C43F21}"/>
              </a:ext>
            </a:extLst>
          </p:cNvPr>
          <p:cNvSpPr>
            <a:spLocks/>
          </p:cNvSpPr>
          <p:nvPr/>
        </p:nvSpPr>
        <p:spPr bwMode="auto">
          <a:xfrm>
            <a:off x="8747312" y="6394994"/>
            <a:ext cx="111855" cy="111855"/>
          </a:xfrm>
          <a:custGeom>
            <a:avLst/>
            <a:gdLst>
              <a:gd name="T0" fmla="*/ 105547 w 193899"/>
              <a:gd name="T1" fmla="*/ 0 h 192655"/>
              <a:gd name="T2" fmla="*/ 59342 w 193899"/>
              <a:gd name="T3" fmla="*/ 7954 h 192655"/>
              <a:gd name="T4" fmla="*/ 25197 w 193899"/>
              <a:gd name="T5" fmla="*/ 30456 h 192655"/>
              <a:gd name="T6" fmla="*/ 4919 w 193899"/>
              <a:gd name="T7" fmla="*/ 64796 h 192655"/>
              <a:gd name="T8" fmla="*/ 0 w 193899"/>
              <a:gd name="T9" fmla="*/ 92930 h 192655"/>
              <a:gd name="T10" fmla="*/ 899 w 193899"/>
              <a:gd name="T11" fmla="*/ 108796 h 192655"/>
              <a:gd name="T12" fmla="*/ 14131 w 193899"/>
              <a:gd name="T13" fmla="*/ 149138 h 192655"/>
              <a:gd name="T14" fmla="*/ 41606 w 193899"/>
              <a:gd name="T15" fmla="*/ 177568 h 192655"/>
              <a:gd name="T16" fmla="*/ 81328 w 193899"/>
              <a:gd name="T17" fmla="*/ 192753 h 192655"/>
              <a:gd name="T18" fmla="*/ 107237 w 193899"/>
              <a:gd name="T19" fmla="*/ 194700 h 192655"/>
              <a:gd name="T20" fmla="*/ 118415 w 193899"/>
              <a:gd name="T21" fmla="*/ 194392 h 192655"/>
              <a:gd name="T22" fmla="*/ 168824 w 193899"/>
              <a:gd name="T23" fmla="*/ 182836 h 192655"/>
              <a:gd name="T24" fmla="*/ 185163 w 193899"/>
              <a:gd name="T25" fmla="*/ 159480 h 192655"/>
              <a:gd name="T26" fmla="*/ 131026 w 193899"/>
              <a:gd name="T27" fmla="*/ 159480 h 192655"/>
              <a:gd name="T28" fmla="*/ 112573 w 193899"/>
              <a:gd name="T29" fmla="*/ 158448 h 192655"/>
              <a:gd name="T30" fmla="*/ 74224 w 193899"/>
              <a:gd name="T31" fmla="*/ 141605 h 192655"/>
              <a:gd name="T32" fmla="*/ 60257 w 193899"/>
              <a:gd name="T33" fmla="*/ 106929 h 192655"/>
              <a:gd name="T34" fmla="*/ 193451 w 193899"/>
              <a:gd name="T35" fmla="*/ 106929 h 192655"/>
              <a:gd name="T36" fmla="*/ 193141 w 193899"/>
              <a:gd name="T37" fmla="*/ 89842 h 192655"/>
              <a:gd name="T38" fmla="*/ 191117 w 193899"/>
              <a:gd name="T39" fmla="*/ 75947 h 192655"/>
              <a:gd name="T40" fmla="*/ 61461 w 193899"/>
              <a:gd name="T41" fmla="*/ 75947 h 192655"/>
              <a:gd name="T42" fmla="*/ 64853 w 193899"/>
              <a:gd name="T43" fmla="*/ 60274 h 192655"/>
              <a:gd name="T44" fmla="*/ 71631 w 193899"/>
              <a:gd name="T45" fmla="*/ 48105 h 192655"/>
              <a:gd name="T46" fmla="*/ 81507 w 193899"/>
              <a:gd name="T47" fmla="*/ 39709 h 192655"/>
              <a:gd name="T48" fmla="*/ 94185 w 193899"/>
              <a:gd name="T49" fmla="*/ 35352 h 192655"/>
              <a:gd name="T50" fmla="*/ 101690 w 193899"/>
              <a:gd name="T51" fmla="*/ 34772 h 192655"/>
              <a:gd name="T52" fmla="*/ 172908 w 193899"/>
              <a:gd name="T53" fmla="*/ 34772 h 192655"/>
              <a:gd name="T54" fmla="*/ 164844 w 193899"/>
              <a:gd name="T55" fmla="*/ 25635 h 192655"/>
              <a:gd name="T56" fmla="*/ 154873 w 193899"/>
              <a:gd name="T57" fmla="*/ 17284 h 192655"/>
              <a:gd name="T58" fmla="*/ 143808 w 193899"/>
              <a:gd name="T59" fmla="*/ 10509 h 192655"/>
              <a:gd name="T60" fmla="*/ 131801 w 193899"/>
              <a:gd name="T61" fmla="*/ 5347 h 192655"/>
              <a:gd name="T62" fmla="*/ 118997 w 193899"/>
              <a:gd name="T63" fmla="*/ 1833 h 192655"/>
              <a:gd name="T64" fmla="*/ 105547 w 193899"/>
              <a:gd name="T65" fmla="*/ 0 h 192655"/>
              <a:gd name="T66" fmla="*/ 190234 w 193899"/>
              <a:gd name="T67" fmla="*/ 133011 h 192655"/>
              <a:gd name="T68" fmla="*/ 153316 w 193899"/>
              <a:gd name="T69" fmla="*/ 154333 h 192655"/>
              <a:gd name="T70" fmla="*/ 131026 w 193899"/>
              <a:gd name="T71" fmla="*/ 159480 h 192655"/>
              <a:gd name="T72" fmla="*/ 185163 w 193899"/>
              <a:gd name="T73" fmla="*/ 159480 h 192655"/>
              <a:gd name="T74" fmla="*/ 190234 w 193899"/>
              <a:gd name="T75" fmla="*/ 133011 h 192655"/>
              <a:gd name="T76" fmla="*/ 172908 w 193899"/>
              <a:gd name="T77" fmla="*/ 34772 h 192655"/>
              <a:gd name="T78" fmla="*/ 101690 w 193899"/>
              <a:gd name="T79" fmla="*/ 34772 h 192655"/>
              <a:gd name="T80" fmla="*/ 115542 w 193899"/>
              <a:gd name="T81" fmla="*/ 36996 h 192655"/>
              <a:gd name="T82" fmla="*/ 126892 w 193899"/>
              <a:gd name="T83" fmla="*/ 43435 h 192655"/>
              <a:gd name="T84" fmla="*/ 135373 w 193899"/>
              <a:gd name="T85" fmla="*/ 53742 h 192655"/>
              <a:gd name="T86" fmla="*/ 140616 w 193899"/>
              <a:gd name="T87" fmla="*/ 67574 h 192655"/>
              <a:gd name="T88" fmla="*/ 61461 w 193899"/>
              <a:gd name="T89" fmla="*/ 75947 h 192655"/>
              <a:gd name="T90" fmla="*/ 191117 w 193899"/>
              <a:gd name="T91" fmla="*/ 75947 h 192655"/>
              <a:gd name="T92" fmla="*/ 190850 w 193899"/>
              <a:gd name="T93" fmla="*/ 74123 h 192655"/>
              <a:gd name="T94" fmla="*/ 186728 w 193899"/>
              <a:gd name="T95" fmla="*/ 59808 h 192655"/>
              <a:gd name="T96" fmla="*/ 180921 w 193899"/>
              <a:gd name="T97" fmla="*/ 46932 h 192655"/>
              <a:gd name="T98" fmla="*/ 173576 w 193899"/>
              <a:gd name="T99" fmla="*/ 35530 h 192655"/>
              <a:gd name="T100" fmla="*/ 172908 w 193899"/>
              <a:gd name="T101" fmla="*/ 34772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3" name="object 24">
            <a:extLst>
              <a:ext uri="{FF2B5EF4-FFF2-40B4-BE49-F238E27FC236}">
                <a16:creationId xmlns:a16="http://schemas.microsoft.com/office/drawing/2014/main" id="{9746ABE6-B6F2-49BC-81F8-B8D0084DCB1C}"/>
              </a:ext>
            </a:extLst>
          </p:cNvPr>
          <p:cNvSpPr>
            <a:spLocks/>
          </p:cNvSpPr>
          <p:nvPr/>
        </p:nvSpPr>
        <p:spPr bwMode="auto">
          <a:xfrm>
            <a:off x="8876587" y="6394994"/>
            <a:ext cx="108188" cy="109104"/>
          </a:xfrm>
          <a:custGeom>
            <a:avLst/>
            <a:gdLst>
              <a:gd name="T0" fmla="*/ 58855 w 186753"/>
              <a:gd name="T1" fmla="*/ 3511 h 189472"/>
              <a:gd name="T2" fmla="*/ 0 w 186753"/>
              <a:gd name="T3" fmla="*/ 3511 h 189472"/>
              <a:gd name="T4" fmla="*/ 0 w 186753"/>
              <a:gd name="T5" fmla="*/ 188354 h 189472"/>
              <a:gd name="T6" fmla="*/ 58855 w 186753"/>
              <a:gd name="T7" fmla="*/ 188354 h 189472"/>
              <a:gd name="T8" fmla="*/ 65113 w 186753"/>
              <a:gd name="T9" fmla="*/ 60557 h 189472"/>
              <a:gd name="T10" fmla="*/ 74355 w 186753"/>
              <a:gd name="T11" fmla="*/ 50411 h 189472"/>
              <a:gd name="T12" fmla="*/ 84048 w 186753"/>
              <a:gd name="T13" fmla="*/ 43858 h 189472"/>
              <a:gd name="T14" fmla="*/ 95214 w 186753"/>
              <a:gd name="T15" fmla="*/ 40521 h 189472"/>
              <a:gd name="T16" fmla="*/ 108878 w 186753"/>
              <a:gd name="T17" fmla="*/ 40018 h 189472"/>
              <a:gd name="T18" fmla="*/ 182316 w 186753"/>
              <a:gd name="T19" fmla="*/ 40018 h 189472"/>
              <a:gd name="T20" fmla="*/ 181315 w 186753"/>
              <a:gd name="T21" fmla="*/ 36845 h 189472"/>
              <a:gd name="T22" fmla="*/ 177149 w 186753"/>
              <a:gd name="T23" fmla="*/ 29972 h 189472"/>
              <a:gd name="T24" fmla="*/ 58855 w 186753"/>
              <a:gd name="T25" fmla="*/ 29972 h 189472"/>
              <a:gd name="T26" fmla="*/ 58855 w 186753"/>
              <a:gd name="T27" fmla="*/ 3511 h 189472"/>
              <a:gd name="T28" fmla="*/ 182316 w 186753"/>
              <a:gd name="T29" fmla="*/ 40018 h 189472"/>
              <a:gd name="T30" fmla="*/ 108878 w 186753"/>
              <a:gd name="T31" fmla="*/ 40018 h 189472"/>
              <a:gd name="T32" fmla="*/ 119416 w 186753"/>
              <a:gd name="T33" fmla="*/ 46131 h 189472"/>
              <a:gd name="T34" fmla="*/ 126470 w 186753"/>
              <a:gd name="T35" fmla="*/ 57849 h 189472"/>
              <a:gd name="T36" fmla="*/ 129044 w 186753"/>
              <a:gd name="T37" fmla="*/ 75688 h 189472"/>
              <a:gd name="T38" fmla="*/ 129044 w 186753"/>
              <a:gd name="T39" fmla="*/ 188354 h 189472"/>
              <a:gd name="T40" fmla="*/ 187899 w 186753"/>
              <a:gd name="T41" fmla="*/ 188354 h 189472"/>
              <a:gd name="T42" fmla="*/ 186177 w 186753"/>
              <a:gd name="T43" fmla="*/ 52264 h 189472"/>
              <a:gd name="T44" fmla="*/ 182316 w 186753"/>
              <a:gd name="T45" fmla="*/ 40018 h 189472"/>
              <a:gd name="T46" fmla="*/ 115387 w 186753"/>
              <a:gd name="T47" fmla="*/ 0 h 189472"/>
              <a:gd name="T48" fmla="*/ 69361 w 186753"/>
              <a:gd name="T49" fmla="*/ 19295 h 189472"/>
              <a:gd name="T50" fmla="*/ 58855 w 186753"/>
              <a:gd name="T51" fmla="*/ 29972 h 189472"/>
              <a:gd name="T52" fmla="*/ 177149 w 186753"/>
              <a:gd name="T53" fmla="*/ 29972 h 189472"/>
              <a:gd name="T54" fmla="*/ 140887 w 186753"/>
              <a:gd name="T55" fmla="*/ 3368 h 189472"/>
              <a:gd name="T56" fmla="*/ 115387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4" name="object 25">
            <a:extLst>
              <a:ext uri="{FF2B5EF4-FFF2-40B4-BE49-F238E27FC236}">
                <a16:creationId xmlns:a16="http://schemas.microsoft.com/office/drawing/2014/main" id="{26E1A284-41B1-4BBB-B294-BAD76987B0C8}"/>
              </a:ext>
            </a:extLst>
          </p:cNvPr>
          <p:cNvSpPr>
            <a:spLocks/>
          </p:cNvSpPr>
          <p:nvPr/>
        </p:nvSpPr>
        <p:spPr bwMode="auto">
          <a:xfrm>
            <a:off x="6621149" y="6108938"/>
            <a:ext cx="456589" cy="477676"/>
          </a:xfrm>
          <a:custGeom>
            <a:avLst/>
            <a:gdLst>
              <a:gd name="T0" fmla="*/ 66593 w 790525"/>
              <a:gd name="T1" fmla="*/ 162684 h 826770"/>
              <a:gd name="T2" fmla="*/ 78808 w 790525"/>
              <a:gd name="T3" fmla="*/ 207168 h 826770"/>
              <a:gd name="T4" fmla="*/ 31283 w 790525"/>
              <a:gd name="T5" fmla="*/ 292324 h 826770"/>
              <a:gd name="T6" fmla="*/ 426 w 790525"/>
              <a:gd name="T7" fmla="*/ 466448 h 826770"/>
              <a:gd name="T8" fmla="*/ 43643 w 790525"/>
              <a:gd name="T9" fmla="*/ 625320 h 826770"/>
              <a:gd name="T10" fmla="*/ 81020 w 790525"/>
              <a:gd name="T11" fmla="*/ 682513 h 826770"/>
              <a:gd name="T12" fmla="*/ 157244 w 790525"/>
              <a:gd name="T13" fmla="*/ 754958 h 826770"/>
              <a:gd name="T14" fmla="*/ 207225 w 790525"/>
              <a:gd name="T15" fmla="*/ 784191 h 826770"/>
              <a:gd name="T16" fmla="*/ 315789 w 790525"/>
              <a:gd name="T17" fmla="*/ 822320 h 826770"/>
              <a:gd name="T18" fmla="*/ 514333 w 790525"/>
              <a:gd name="T19" fmla="*/ 819778 h 826770"/>
              <a:gd name="T20" fmla="*/ 609406 w 790525"/>
              <a:gd name="T21" fmla="*/ 786733 h 826770"/>
              <a:gd name="T22" fmla="*/ 616350 w 790525"/>
              <a:gd name="T23" fmla="*/ 744790 h 826770"/>
              <a:gd name="T24" fmla="*/ 201652 w 790525"/>
              <a:gd name="T25" fmla="*/ 715558 h 826770"/>
              <a:gd name="T26" fmla="*/ 134171 w 790525"/>
              <a:gd name="T27" fmla="*/ 654552 h 826770"/>
              <a:gd name="T28" fmla="*/ 66499 w 790525"/>
              <a:gd name="T29" fmla="*/ 543976 h 826770"/>
              <a:gd name="T30" fmla="*/ 42323 w 790525"/>
              <a:gd name="T31" fmla="*/ 401628 h 826770"/>
              <a:gd name="T32" fmla="*/ 83755 w 790525"/>
              <a:gd name="T33" fmla="*/ 247840 h 826770"/>
              <a:gd name="T34" fmla="*/ 191920 w 790525"/>
              <a:gd name="T35" fmla="*/ 212252 h 826770"/>
              <a:gd name="T36" fmla="*/ 154503 w 790525"/>
              <a:gd name="T37" fmla="*/ 174124 h 826770"/>
              <a:gd name="T38" fmla="*/ 119436 w 790525"/>
              <a:gd name="T39" fmla="*/ 148704 h 826770"/>
              <a:gd name="T40" fmla="*/ 119272 w 790525"/>
              <a:gd name="T41" fmla="*/ 255466 h 826770"/>
              <a:gd name="T42" fmla="*/ 183990 w 790525"/>
              <a:gd name="T43" fmla="*/ 330454 h 826770"/>
              <a:gd name="T44" fmla="*/ 225218 w 790525"/>
              <a:gd name="T45" fmla="*/ 381292 h 826770"/>
              <a:gd name="T46" fmla="*/ 254343 w 790525"/>
              <a:gd name="T47" fmla="*/ 425776 h 826770"/>
              <a:gd name="T48" fmla="*/ 253846 w 790525"/>
              <a:gd name="T49" fmla="*/ 482970 h 826770"/>
              <a:gd name="T50" fmla="*/ 237170 w 790525"/>
              <a:gd name="T51" fmla="*/ 555416 h 826770"/>
              <a:gd name="T52" fmla="*/ 222822 w 790525"/>
              <a:gd name="T53" fmla="*/ 719372 h 826770"/>
              <a:gd name="T54" fmla="*/ 592729 w 790525"/>
              <a:gd name="T55" fmla="*/ 669804 h 826770"/>
              <a:gd name="T56" fmla="*/ 577614 w 790525"/>
              <a:gd name="T57" fmla="*/ 482970 h 826770"/>
              <a:gd name="T58" fmla="*/ 626460 w 790525"/>
              <a:gd name="T59" fmla="*/ 357144 h 826770"/>
              <a:gd name="T60" fmla="*/ 405864 w 790525"/>
              <a:gd name="T61" fmla="*/ 321556 h 826770"/>
              <a:gd name="T62" fmla="*/ 286597 w 790525"/>
              <a:gd name="T63" fmla="*/ 284698 h 826770"/>
              <a:gd name="T64" fmla="*/ 210553 w 790525"/>
              <a:gd name="T65" fmla="*/ 228776 h 826770"/>
              <a:gd name="T66" fmla="*/ 728637 w 790525"/>
              <a:gd name="T67" fmla="*/ 339350 h 826770"/>
              <a:gd name="T68" fmla="*/ 738793 w 790525"/>
              <a:gd name="T69" fmla="*/ 504576 h 826770"/>
              <a:gd name="T70" fmla="*/ 662168 w 790525"/>
              <a:gd name="T71" fmla="*/ 665990 h 826770"/>
              <a:gd name="T72" fmla="*/ 666359 w 790525"/>
              <a:gd name="T73" fmla="*/ 685055 h 826770"/>
              <a:gd name="T74" fmla="*/ 710413 w 790525"/>
              <a:gd name="T75" fmla="*/ 645654 h 826770"/>
              <a:gd name="T76" fmla="*/ 785828 w 790525"/>
              <a:gd name="T77" fmla="*/ 415608 h 826770"/>
              <a:gd name="T78" fmla="*/ 759329 w 790525"/>
              <a:gd name="T79" fmla="*/ 269446 h 826770"/>
              <a:gd name="T80" fmla="*/ 584015 w 790525"/>
              <a:gd name="T81" fmla="*/ 142350 h 826770"/>
              <a:gd name="T82" fmla="*/ 578326 w 790525"/>
              <a:gd name="T83" fmla="*/ 264362 h 826770"/>
              <a:gd name="T84" fmla="*/ 653158 w 790525"/>
              <a:gd name="T85" fmla="*/ 321556 h 826770"/>
              <a:gd name="T86" fmla="*/ 759329 w 790525"/>
              <a:gd name="T87" fmla="*/ 269446 h 826770"/>
              <a:gd name="T88" fmla="*/ 790085 w 790525"/>
              <a:gd name="T89" fmla="*/ 166498 h 826770"/>
              <a:gd name="T90" fmla="*/ 660861 w 790525"/>
              <a:gd name="T91" fmla="*/ 128368 h 826770"/>
              <a:gd name="T92" fmla="*/ 300680 w 790525"/>
              <a:gd name="T93" fmla="*/ 85156 h 826770"/>
              <a:gd name="T94" fmla="*/ 291952 w 790525"/>
              <a:gd name="T95" fmla="*/ 138536 h 826770"/>
              <a:gd name="T96" fmla="*/ 385229 w 790525"/>
              <a:gd name="T97" fmla="*/ 283428 h 826770"/>
              <a:gd name="T98" fmla="*/ 523297 w 790525"/>
              <a:gd name="T99" fmla="*/ 205898 h 826770"/>
              <a:gd name="T100" fmla="*/ 630142 w 790525"/>
              <a:gd name="T101" fmla="*/ 104220 h 826770"/>
              <a:gd name="T102" fmla="*/ 718299 w 790525"/>
              <a:gd name="T103" fmla="*/ 146162 h 826770"/>
              <a:gd name="T104" fmla="*/ 776465 w 790525"/>
              <a:gd name="T105" fmla="*/ 143620 h 826770"/>
              <a:gd name="T106" fmla="*/ 401525 w 790525"/>
              <a:gd name="T107" fmla="*/ 0 h 826770"/>
              <a:gd name="T108" fmla="*/ 238863 w 790525"/>
              <a:gd name="T109" fmla="*/ 73716 h 826770"/>
              <a:gd name="T110" fmla="*/ 152940 w 790525"/>
              <a:gd name="T111" fmla="*/ 129640 h 826770"/>
              <a:gd name="T112" fmla="*/ 177012 w 790525"/>
              <a:gd name="T113" fmla="*/ 142350 h 826770"/>
              <a:gd name="T114" fmla="*/ 231943 w 790525"/>
              <a:gd name="T115" fmla="*/ 109304 h 826770"/>
              <a:gd name="T116" fmla="*/ 575090 w 790525"/>
              <a:gd name="T117" fmla="*/ 72446 h 826770"/>
              <a:gd name="T118" fmla="*/ 503438 w 790525"/>
              <a:gd name="T119" fmla="*/ 47026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5" name="object 26">
            <a:extLst>
              <a:ext uri="{FF2B5EF4-FFF2-40B4-BE49-F238E27FC236}">
                <a16:creationId xmlns:a16="http://schemas.microsoft.com/office/drawing/2014/main" id="{7322001C-A261-44DC-850A-7BC2D4A0DD42}"/>
              </a:ext>
            </a:extLst>
          </p:cNvPr>
          <p:cNvSpPr>
            <a:spLocks/>
          </p:cNvSpPr>
          <p:nvPr/>
        </p:nvSpPr>
        <p:spPr bwMode="auto">
          <a:xfrm>
            <a:off x="1597755" y="2204095"/>
            <a:ext cx="4584225" cy="609702"/>
          </a:xfrm>
          <a:custGeom>
            <a:avLst/>
            <a:gdLst>
              <a:gd name="T0" fmla="*/ 0 w 7937779"/>
              <a:gd name="T1" fmla="*/ 1055740 h 1055636"/>
              <a:gd name="T2" fmla="*/ 7937221 w 7937779"/>
              <a:gd name="T3" fmla="*/ 1055740 h 1055636"/>
              <a:gd name="T4" fmla="*/ 7937221 w 7937779"/>
              <a:gd name="T5" fmla="*/ 0 h 1055636"/>
              <a:gd name="T6" fmla="*/ 0 w 7937779"/>
              <a:gd name="T7" fmla="*/ 0 h 1055636"/>
              <a:gd name="T8" fmla="*/ 0 w 7937779"/>
              <a:gd name="T9" fmla="*/ 10557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937779" h="1055636">
                <a:moveTo>
                  <a:pt x="0" y="1055636"/>
                </a:moveTo>
                <a:lnTo>
                  <a:pt x="7937779" y="1055636"/>
                </a:lnTo>
                <a:lnTo>
                  <a:pt x="793777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6" name="object 27">
            <a:extLst>
              <a:ext uri="{FF2B5EF4-FFF2-40B4-BE49-F238E27FC236}">
                <a16:creationId xmlns:a16="http://schemas.microsoft.com/office/drawing/2014/main" id="{AD4525C1-33B3-4CCC-9B29-E55839BFA34A}"/>
              </a:ext>
            </a:extLst>
          </p:cNvPr>
          <p:cNvSpPr>
            <a:spLocks/>
          </p:cNvSpPr>
          <p:nvPr/>
        </p:nvSpPr>
        <p:spPr bwMode="auto">
          <a:xfrm>
            <a:off x="1597755" y="4642903"/>
            <a:ext cx="4584225" cy="609702"/>
          </a:xfrm>
          <a:custGeom>
            <a:avLst/>
            <a:gdLst>
              <a:gd name="T0" fmla="*/ 0 w 7937779"/>
              <a:gd name="T1" fmla="*/ 1055740 h 1055636"/>
              <a:gd name="T2" fmla="*/ 7937221 w 7937779"/>
              <a:gd name="T3" fmla="*/ 1055740 h 1055636"/>
              <a:gd name="T4" fmla="*/ 7937221 w 7937779"/>
              <a:gd name="T5" fmla="*/ 0 h 1055636"/>
              <a:gd name="T6" fmla="*/ 0 w 7937779"/>
              <a:gd name="T7" fmla="*/ 0 h 1055636"/>
              <a:gd name="T8" fmla="*/ 0 w 7937779"/>
              <a:gd name="T9" fmla="*/ 1055740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937779" h="1055636">
                <a:moveTo>
                  <a:pt x="0" y="1055636"/>
                </a:moveTo>
                <a:lnTo>
                  <a:pt x="7937779" y="1055636"/>
                </a:lnTo>
                <a:lnTo>
                  <a:pt x="793777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7" name="object 28">
            <a:extLst>
              <a:ext uri="{FF2B5EF4-FFF2-40B4-BE49-F238E27FC236}">
                <a16:creationId xmlns:a16="http://schemas.microsoft.com/office/drawing/2014/main" id="{FE5F26F3-1D53-4832-8E2D-402CA7F2AECE}"/>
              </a:ext>
            </a:extLst>
          </p:cNvPr>
          <p:cNvSpPr>
            <a:spLocks/>
          </p:cNvSpPr>
          <p:nvPr/>
        </p:nvSpPr>
        <p:spPr bwMode="auto">
          <a:xfrm>
            <a:off x="1597755" y="3002667"/>
            <a:ext cx="4584225" cy="609702"/>
          </a:xfrm>
          <a:custGeom>
            <a:avLst/>
            <a:gdLst>
              <a:gd name="T0" fmla="*/ 0 w 7937779"/>
              <a:gd name="T1" fmla="*/ 1055738 h 1055636"/>
              <a:gd name="T2" fmla="*/ 7937221 w 7937779"/>
              <a:gd name="T3" fmla="*/ 1055738 h 1055636"/>
              <a:gd name="T4" fmla="*/ 7937221 w 7937779"/>
              <a:gd name="T5" fmla="*/ 0 h 1055636"/>
              <a:gd name="T6" fmla="*/ 0 w 7937779"/>
              <a:gd name="T7" fmla="*/ 0 h 1055636"/>
              <a:gd name="T8" fmla="*/ 0 w 7937779"/>
              <a:gd name="T9" fmla="*/ 1055738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937779" h="1055636">
                <a:moveTo>
                  <a:pt x="0" y="1055636"/>
                </a:moveTo>
                <a:lnTo>
                  <a:pt x="7937779" y="1055636"/>
                </a:lnTo>
                <a:lnTo>
                  <a:pt x="793777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8" name="object 29">
            <a:extLst>
              <a:ext uri="{FF2B5EF4-FFF2-40B4-BE49-F238E27FC236}">
                <a16:creationId xmlns:a16="http://schemas.microsoft.com/office/drawing/2014/main" id="{BE3DB0E5-853C-41D4-9BCE-E1609470F94C}"/>
              </a:ext>
            </a:extLst>
          </p:cNvPr>
          <p:cNvSpPr>
            <a:spLocks/>
          </p:cNvSpPr>
          <p:nvPr/>
        </p:nvSpPr>
        <p:spPr bwMode="auto">
          <a:xfrm>
            <a:off x="1597755" y="3800323"/>
            <a:ext cx="4584225" cy="609702"/>
          </a:xfrm>
          <a:custGeom>
            <a:avLst/>
            <a:gdLst>
              <a:gd name="T0" fmla="*/ 0 w 7937779"/>
              <a:gd name="T1" fmla="*/ 1055738 h 1055636"/>
              <a:gd name="T2" fmla="*/ 7937221 w 7937779"/>
              <a:gd name="T3" fmla="*/ 1055738 h 1055636"/>
              <a:gd name="T4" fmla="*/ 7937221 w 7937779"/>
              <a:gd name="T5" fmla="*/ 0 h 1055636"/>
              <a:gd name="T6" fmla="*/ 0 w 7937779"/>
              <a:gd name="T7" fmla="*/ 0 h 1055636"/>
              <a:gd name="T8" fmla="*/ 0 w 7937779"/>
              <a:gd name="T9" fmla="*/ 1055738 h 10556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937779" h="1055636">
                <a:moveTo>
                  <a:pt x="0" y="1055636"/>
                </a:moveTo>
                <a:lnTo>
                  <a:pt x="7937779" y="1055636"/>
                </a:lnTo>
                <a:lnTo>
                  <a:pt x="7937779" y="0"/>
                </a:lnTo>
                <a:lnTo>
                  <a:pt x="0" y="0"/>
                </a:lnTo>
                <a:lnTo>
                  <a:pt x="0" y="10556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09" name="object 30">
            <a:extLst>
              <a:ext uri="{FF2B5EF4-FFF2-40B4-BE49-F238E27FC236}">
                <a16:creationId xmlns:a16="http://schemas.microsoft.com/office/drawing/2014/main" id="{6F305808-DC9E-42CC-91C6-97EC24BFC511}"/>
              </a:ext>
            </a:extLst>
          </p:cNvPr>
          <p:cNvSpPr txBox="1">
            <a:spLocks noChangeArrowheads="1"/>
          </p:cNvSpPr>
          <p:nvPr/>
        </p:nvSpPr>
        <p:spPr bwMode="auto">
          <a:xfrm>
            <a:off x="1795242" y="1453199"/>
            <a:ext cx="6586157" cy="2918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200000"/>
              </a:lnSpc>
              <a:spcBef>
                <a:spcPts val="0"/>
              </a:spcBef>
              <a:spcAft>
                <a:spcPts val="0"/>
              </a:spcAft>
              <a:buClrTx/>
              <a:buSzTx/>
              <a:buFont typeface="Arial" panose="020B0604020202020204" pitchFamily="34" charset="0"/>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ရင်းနှီးသူများ</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ဆက်ဆံရေး</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ခက်ခဲခြင်း</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p>
          <a:p>
            <a:pPr marL="12700" marR="0" lvl="0" indent="0" algn="l" defTabSz="457200" rtl="0" eaLnBrk="1" fontAlgn="auto" latinLnBrk="0" hangingPunct="1">
              <a:lnSpc>
                <a:spcPct val="200000"/>
              </a:lnSpc>
              <a:spcBef>
                <a:spcPts val="0"/>
              </a:spcBef>
              <a:spcAft>
                <a:spcPts val="0"/>
              </a:spcAft>
              <a:buClrTx/>
              <a:buSzTx/>
              <a:buFont typeface="Arial" panose="020B0604020202020204" pitchFamily="34" charset="0"/>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အာရုံစိုက်ခြင်းနှင</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မှတ်ဉာဏ</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အားနည်းလာြခင်း</a:t>
            </a:r>
            <a:endParaRPr kumimoji="0" lang="en-US" altLang="en-US" sz="578"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ct val="200000"/>
              </a:lnSpc>
              <a:spcBef>
                <a:spcPts val="0"/>
              </a:spcBef>
              <a:spcAft>
                <a:spcPts val="0"/>
              </a:spcAft>
              <a:buClrTx/>
              <a:buSzTx/>
              <a:buFontTx/>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အသက်ရ</a:t>
            </a:r>
            <a:r>
              <a:rPr lang="en-US" altLang="en-US" sz="2079" dirty="0">
                <a:solidFill>
                  <a:srgbClr val="231F20"/>
                </a:solidFill>
                <a:latin typeface="Gill Sans Light"/>
                <a:ea typeface="Gill Sans Light"/>
                <a:cs typeface="Gill Sans Light"/>
              </a:rPr>
              <a:t>ှ</a:t>
            </a:r>
            <a:r>
              <a:rPr lang="en-US" altLang="en-US" sz="2079" dirty="0" err="1">
                <a:solidFill>
                  <a:srgbClr val="231F20"/>
                </a:solidFill>
                <a:latin typeface="Gill Sans Light"/>
                <a:ea typeface="Gill Sans Light"/>
                <a:cs typeface="Gill Sans Light"/>
              </a:rPr>
              <a:t>င်နေရတာကို</a:t>
            </a:r>
            <a:r>
              <a:rPr lang="en-US" altLang="en-US" sz="2079" dirty="0">
                <a:solidFill>
                  <a:srgbClr val="231F20"/>
                </a:solidFill>
                <a:latin typeface="Gill Sans Light"/>
                <a:ea typeface="Gill Sans Light"/>
                <a:cs typeface="Gill Sans Light"/>
              </a:rPr>
              <a:t> </a:t>
            </a:r>
            <a:r>
              <a:rPr lang="en-US" altLang="en-US" sz="2079" dirty="0" err="1">
                <a:solidFill>
                  <a:srgbClr val="231F20"/>
                </a:solidFill>
                <a:latin typeface="Gill Sans Light"/>
                <a:ea typeface="Gill Sans Light"/>
                <a:cs typeface="Gill Sans Light"/>
              </a:rPr>
              <a:t>အပြစ်ရှိသလို</a:t>
            </a:r>
            <a:r>
              <a:rPr lang="en-US" altLang="en-US" sz="2079" dirty="0">
                <a:solidFill>
                  <a:srgbClr val="231F20"/>
                </a:solidFill>
                <a:latin typeface="Gill Sans Light"/>
                <a:ea typeface="Gill Sans Light"/>
                <a:cs typeface="Gill Sans Light"/>
              </a:rPr>
              <a:t> </a:t>
            </a:r>
            <a:r>
              <a:rPr lang="en-US" altLang="en-US" sz="2079" dirty="0" err="1">
                <a:solidFill>
                  <a:srgbClr val="231F20"/>
                </a:solidFill>
                <a:latin typeface="Gill Sans Light"/>
                <a:ea typeface="Gill Sans Light"/>
                <a:cs typeface="Gill Sans Light"/>
              </a:rPr>
              <a:t>ခံစားရခြင်း</a:t>
            </a:r>
            <a:endPar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endParaRPr>
          </a:p>
          <a:p>
            <a:pPr marL="12700" marR="0" lvl="0" indent="0" algn="l" defTabSz="457200" rtl="0" eaLnBrk="1" fontAlgn="auto" latinLnBrk="0" hangingPunct="1">
              <a:lnSpc>
                <a:spcPct val="200000"/>
              </a:lnSpc>
              <a:spcBef>
                <a:spcPts val="0"/>
              </a:spcBef>
              <a:spcAft>
                <a:spcPts val="0"/>
              </a:spcAft>
              <a:buClrTx/>
              <a:buSzTx/>
              <a:buFontTx/>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မကောင်းတဲ့အတွေးတွေ</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များလာခြင်း</a:t>
            </a:r>
            <a:endParaRPr kumimoji="0" lang="en-US" altLang="en-US" sz="809"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12700" marR="0" lvl="0" indent="0" algn="l" defTabSz="457200" rtl="0" eaLnBrk="1" fontAlgn="auto" latinLnBrk="0" hangingPunct="1">
              <a:lnSpc>
                <a:spcPct val="200000"/>
              </a:lnSpc>
              <a:spcBef>
                <a:spcPts val="0"/>
              </a:spcBef>
              <a:spcAft>
                <a:spcPts val="0"/>
              </a:spcAft>
              <a:buClrTx/>
              <a:buSzTx/>
              <a:buFont typeface="Arial" panose="020B0604020202020204" pitchFamily="34" charset="0"/>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အလုပ်နှင</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ကိုယ်ရေးကိုယ်တာဘဝ</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ခွဲခြားရန</a:t>
            </a:r>
            <a:r>
              <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rPr>
              <a:t>် </a:t>
            </a: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ခက်ခဲလာြခင်း</a:t>
            </a:r>
            <a:endParaRPr kumimoji="0" lang="en-US" altLang="en-US" sz="2079" b="0" i="0" u="none" strike="noStrike" kern="1200" cap="none" spc="0" normalizeH="0" baseline="0" noProof="0" dirty="0">
              <a:ln>
                <a:noFill/>
              </a:ln>
              <a:solidFill>
                <a:srgbClr val="231F20"/>
              </a:solidFill>
              <a:effectLst/>
              <a:uLnTx/>
              <a:uFillTx/>
              <a:latin typeface="Gill Sans Light"/>
              <a:ea typeface="Gill Sans Light"/>
              <a:cs typeface="Gill Sans Light"/>
            </a:endParaRPr>
          </a:p>
          <a:p>
            <a:pPr marL="12700" marR="0" lvl="0" indent="0" algn="l" defTabSz="457200" rtl="0" eaLnBrk="1" fontAlgn="auto" latinLnBrk="0" hangingPunct="1">
              <a:lnSpc>
                <a:spcPct val="200000"/>
              </a:lnSpc>
              <a:spcBef>
                <a:spcPts val="0"/>
              </a:spcBef>
              <a:spcAft>
                <a:spcPts val="0"/>
              </a:spcAft>
              <a:buClrTx/>
              <a:buSzTx/>
              <a:buFont typeface="Arial" panose="020B0604020202020204" pitchFamily="34" charset="0"/>
              <a:buNone/>
              <a:tabLst/>
              <a:defRPr/>
            </a:pPr>
            <a:r>
              <a:rPr kumimoji="0" lang="en-US" altLang="en-US" sz="2079" b="0" i="0" u="none" strike="noStrike" kern="1200" cap="none" spc="0" normalizeH="0" baseline="0" noProof="0" dirty="0" err="1">
                <a:ln>
                  <a:noFill/>
                </a:ln>
                <a:solidFill>
                  <a:srgbClr val="231F20"/>
                </a:solidFill>
                <a:effectLst/>
                <a:uLnTx/>
                <a:uFillTx/>
                <a:latin typeface="Gill Sans Light"/>
                <a:ea typeface="Gill Sans Light"/>
                <a:cs typeface="Gill Sans Light"/>
              </a:rPr>
              <a:t>စိတ်မရှည်တော့ခြင်း</a:t>
            </a:r>
            <a:endParaRPr kumimoji="0" lang="en-US" altLang="en-US" sz="2079" b="0" i="0" u="none" strike="noStrike" kern="1200" cap="none" spc="0" normalizeH="0" baseline="0" noProof="0" dirty="0">
              <a:ln>
                <a:noFill/>
              </a:ln>
              <a:solidFill>
                <a:prstClr val="black"/>
              </a:solidFill>
              <a:effectLst/>
              <a:uLnTx/>
              <a:uFillTx/>
              <a:latin typeface="Gill Sans Light"/>
              <a:ea typeface="Gill Sans Light"/>
              <a:cs typeface="Gill Sans Light"/>
            </a:endParaRPr>
          </a:p>
          <a:p>
            <a:pPr marL="12700" marR="0" lvl="0" indent="0" algn="l" defTabSz="457200" rtl="0" eaLnBrk="1" fontAlgn="auto" latinLnBrk="0" hangingPunct="1">
              <a:lnSpc>
                <a:spcPct val="200000"/>
              </a:lnSpc>
              <a:spcBef>
                <a:spcPts val="0"/>
              </a:spcBef>
              <a:spcAft>
                <a:spcPts val="0"/>
              </a:spcAft>
              <a:buClrTx/>
              <a:buSzTx/>
              <a:buFontTx/>
              <a:buNone/>
              <a:tabLst/>
              <a:defRPr/>
            </a:pPr>
            <a:endParaRPr kumimoji="0" lang="en-US" altLang="en-US" sz="2079" b="0" i="0" u="none" strike="noStrike" kern="1200" cap="none" spc="0" normalizeH="0" baseline="0" noProof="0" dirty="0">
              <a:ln>
                <a:noFill/>
              </a:ln>
              <a:solidFill>
                <a:prstClr val="black"/>
              </a:solidFill>
              <a:effectLst/>
              <a:uLnTx/>
              <a:uFillTx/>
              <a:latin typeface="Gill Sans Light"/>
              <a:ea typeface="Gill Sans Light"/>
              <a:cs typeface="Gill Sans Light"/>
            </a:endParaRPr>
          </a:p>
        </p:txBody>
      </p:sp>
      <p:sp>
        <p:nvSpPr>
          <p:cNvPr id="20510" name="object 31">
            <a:extLst>
              <a:ext uri="{FF2B5EF4-FFF2-40B4-BE49-F238E27FC236}">
                <a16:creationId xmlns:a16="http://schemas.microsoft.com/office/drawing/2014/main" id="{A4AD73B7-AE0F-422A-8AAB-0FD520D2F73B}"/>
              </a:ext>
            </a:extLst>
          </p:cNvPr>
          <p:cNvSpPr>
            <a:spLocks/>
          </p:cNvSpPr>
          <p:nvPr/>
        </p:nvSpPr>
        <p:spPr bwMode="auto">
          <a:xfrm>
            <a:off x="1077374" y="2957690"/>
            <a:ext cx="446626" cy="395109"/>
          </a:xfrm>
          <a:custGeom>
            <a:avLst/>
            <a:gdLst>
              <a:gd name="T0" fmla="*/ 312750 w 745629"/>
              <a:gd name="T1" fmla="*/ 5092 h 777621"/>
              <a:gd name="T2" fmla="*/ 201745 w 745629"/>
              <a:gd name="T3" fmla="*/ 43427 h 777621"/>
              <a:gd name="T4" fmla="*/ 109335 w 745629"/>
              <a:gd name="T5" fmla="*/ 113956 h 777621"/>
              <a:gd name="T6" fmla="*/ 41666 w 745629"/>
              <a:gd name="T7" fmla="*/ 210273 h 777621"/>
              <a:gd name="T8" fmla="*/ 4885 w 745629"/>
              <a:gd name="T9" fmla="*/ 325965 h 777621"/>
              <a:gd name="T10" fmla="*/ 1237 w 745629"/>
              <a:gd name="T11" fmla="*/ 420985 h 777621"/>
              <a:gd name="T12" fmla="*/ 29333 w 745629"/>
              <a:gd name="T13" fmla="*/ 540514 h 777621"/>
              <a:gd name="T14" fmla="*/ 89858 w 745629"/>
              <a:gd name="T15" fmla="*/ 642270 h 777621"/>
              <a:gd name="T16" fmla="*/ 176659 w 745629"/>
              <a:gd name="T17" fmla="*/ 719841 h 777621"/>
              <a:gd name="T18" fmla="*/ 283592 w 745629"/>
              <a:gd name="T19" fmla="*/ 766821 h 777621"/>
              <a:gd name="T20" fmla="*/ 373304 w 745629"/>
              <a:gd name="T21" fmla="*/ 778129 h 777621"/>
              <a:gd name="T22" fmla="*/ 463018 w 745629"/>
              <a:gd name="T23" fmla="*/ 766821 h 777621"/>
              <a:gd name="T24" fmla="*/ 569953 w 745629"/>
              <a:gd name="T25" fmla="*/ 719841 h 777621"/>
              <a:gd name="T26" fmla="*/ 618770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9 w 745629"/>
              <a:gd name="T37" fmla="*/ 537879 h 777621"/>
              <a:gd name="T38" fmla="*/ 727653 w 745629"/>
              <a:gd name="T39" fmla="*/ 511819 h 777621"/>
              <a:gd name="T40" fmla="*/ 359409 w 745629"/>
              <a:gd name="T41" fmla="*/ 510249 h 777621"/>
              <a:gd name="T42" fmla="*/ 308332 w 745629"/>
              <a:gd name="T43" fmla="*/ 452185 h 777621"/>
              <a:gd name="T44" fmla="*/ 308169 w 745629"/>
              <a:gd name="T45" fmla="*/ 158993 h 777621"/>
              <a:gd name="T46" fmla="*/ 331716 w 745629"/>
              <a:gd name="T47" fmla="*/ 110253 h 777621"/>
              <a:gd name="T48" fmla="*/ 618556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70 w 745629"/>
              <a:gd name="T65" fmla="*/ 682051 h 777621"/>
              <a:gd name="T66" fmla="*/ 690690 w 745629"/>
              <a:gd name="T67" fmla="*/ 594015 h 777621"/>
              <a:gd name="T68" fmla="*/ 718239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3 w 745629"/>
              <a:gd name="T79" fmla="*/ 511819 h 777621"/>
              <a:gd name="T80" fmla="*/ 741736 w 745629"/>
              <a:gd name="T81" fmla="*/ 452185 h 777621"/>
              <a:gd name="T82" fmla="*/ 746621 w 745629"/>
              <a:gd name="T83" fmla="*/ 389077 h 777621"/>
              <a:gd name="T84" fmla="*/ 735772 w 745629"/>
              <a:gd name="T85" fmla="*/ 295576 h 777621"/>
              <a:gd name="T86" fmla="*/ 690690 w 745629"/>
              <a:gd name="T87" fmla="*/ 184126 h 777621"/>
              <a:gd name="T88" fmla="*/ 637280 w 745629"/>
              <a:gd name="T89" fmla="*/ 113956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9"/>
                </a:lnTo>
                <a:lnTo>
                  <a:pt x="152628" y="75019"/>
                </a:lnTo>
                <a:lnTo>
                  <a:pt x="109189" y="113882"/>
                </a:lnTo>
                <a:lnTo>
                  <a:pt x="71927" y="159187"/>
                </a:lnTo>
                <a:lnTo>
                  <a:pt x="41610" y="210135"/>
                </a:lnTo>
                <a:lnTo>
                  <a:pt x="19005" y="265923"/>
                </a:lnTo>
                <a:lnTo>
                  <a:pt x="4879" y="325753"/>
                </a:lnTo>
                <a:lnTo>
                  <a:pt x="0" y="388823"/>
                </a:lnTo>
                <a:lnTo>
                  <a:pt x="1235" y="420711"/>
                </a:lnTo>
                <a:lnTo>
                  <a:pt x="10834" y="482257"/>
                </a:lnTo>
                <a:lnTo>
                  <a:pt x="29295" y="540162"/>
                </a:lnTo>
                <a:lnTo>
                  <a:pt x="55853" y="593627"/>
                </a:lnTo>
                <a:lnTo>
                  <a:pt x="89738" y="641850"/>
                </a:lnTo>
                <a:lnTo>
                  <a:pt x="130185" y="684031"/>
                </a:lnTo>
                <a:lnTo>
                  <a:pt x="176425" y="719371"/>
                </a:lnTo>
                <a:lnTo>
                  <a:pt x="227690" y="747067"/>
                </a:lnTo>
                <a:lnTo>
                  <a:pt x="283215" y="766321"/>
                </a:lnTo>
                <a:lnTo>
                  <a:pt x="342231" y="776332"/>
                </a:lnTo>
                <a:lnTo>
                  <a:pt x="372808" y="777621"/>
                </a:lnTo>
                <a:lnTo>
                  <a:pt x="403385" y="776332"/>
                </a:lnTo>
                <a:lnTo>
                  <a:pt x="462402" y="766321"/>
                </a:lnTo>
                <a:lnTo>
                  <a:pt x="517928" y="747067"/>
                </a:lnTo>
                <a:lnTo>
                  <a:pt x="569195" y="719371"/>
                </a:lnTo>
                <a:lnTo>
                  <a:pt x="615437" y="684031"/>
                </a:lnTo>
                <a:lnTo>
                  <a:pt x="617948"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5" y="537527"/>
                </a:lnTo>
                <a:lnTo>
                  <a:pt x="726623" y="511715"/>
                </a:lnTo>
                <a:lnTo>
                  <a:pt x="726686" y="511485"/>
                </a:lnTo>
                <a:lnTo>
                  <a:pt x="373913" y="511485"/>
                </a:lnTo>
                <a:lnTo>
                  <a:pt x="358931" y="509915"/>
                </a:lnTo>
                <a:lnTo>
                  <a:pt x="323083" y="489054"/>
                </a:lnTo>
                <a:lnTo>
                  <a:pt x="307922" y="451889"/>
                </a:lnTo>
                <a:lnTo>
                  <a:pt x="307797" y="325753"/>
                </a:lnTo>
                <a:lnTo>
                  <a:pt x="307759" y="158889"/>
                </a:lnTo>
                <a:lnTo>
                  <a:pt x="309414" y="144631"/>
                </a:lnTo>
                <a:lnTo>
                  <a:pt x="331275" y="110181"/>
                </a:lnTo>
                <a:lnTo>
                  <a:pt x="370697" y="95815"/>
                </a:lnTo>
                <a:lnTo>
                  <a:pt x="617734" y="95815"/>
                </a:lnTo>
                <a:lnTo>
                  <a:pt x="615437" y="93595"/>
                </a:lnTo>
                <a:lnTo>
                  <a:pt x="569195" y="58253"/>
                </a:lnTo>
                <a:lnTo>
                  <a:pt x="517928" y="30555"/>
                </a:lnTo>
                <a:lnTo>
                  <a:pt x="462402" y="11300"/>
                </a:lnTo>
                <a:lnTo>
                  <a:pt x="403385" y="1288"/>
                </a:lnTo>
                <a:lnTo>
                  <a:pt x="372808" y="0"/>
                </a:lnTo>
                <a:close/>
              </a:path>
              <a:path w="745629" h="777621">
                <a:moveTo>
                  <a:pt x="717285"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8" y="681605"/>
                </a:lnTo>
                <a:lnTo>
                  <a:pt x="655885" y="641850"/>
                </a:lnTo>
                <a:lnTo>
                  <a:pt x="689772" y="593627"/>
                </a:lnTo>
                <a:lnTo>
                  <a:pt x="716331" y="540162"/>
                </a:lnTo>
                <a:lnTo>
                  <a:pt x="717285" y="537527"/>
                </a:lnTo>
                <a:close/>
              </a:path>
              <a:path w="745629" h="777621">
                <a:moveTo>
                  <a:pt x="617734"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6" y="511485"/>
                </a:lnTo>
                <a:lnTo>
                  <a:pt x="734794" y="482257"/>
                </a:lnTo>
                <a:lnTo>
                  <a:pt x="740750" y="451889"/>
                </a:lnTo>
                <a:lnTo>
                  <a:pt x="744393" y="420711"/>
                </a:lnTo>
                <a:lnTo>
                  <a:pt x="745629" y="388823"/>
                </a:lnTo>
                <a:lnTo>
                  <a:pt x="744393" y="356933"/>
                </a:lnTo>
                <a:lnTo>
                  <a:pt x="734794" y="295383"/>
                </a:lnTo>
                <a:lnTo>
                  <a:pt x="716331" y="237474"/>
                </a:lnTo>
                <a:lnTo>
                  <a:pt x="689772" y="184006"/>
                </a:lnTo>
                <a:lnTo>
                  <a:pt x="655885" y="135779"/>
                </a:lnTo>
                <a:lnTo>
                  <a:pt x="636433" y="113882"/>
                </a:lnTo>
                <a:lnTo>
                  <a:pt x="617734" y="95815"/>
                </a:lnTo>
                <a:close/>
              </a:path>
            </a:pathLst>
          </a:custGeom>
          <a:solidFill>
            <a:schemeClr val="tx1"/>
          </a:solidFill>
          <a:ln>
            <a:noFill/>
          </a:ln>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11" name="object 32">
            <a:extLst>
              <a:ext uri="{FF2B5EF4-FFF2-40B4-BE49-F238E27FC236}">
                <a16:creationId xmlns:a16="http://schemas.microsoft.com/office/drawing/2014/main" id="{7CFF9096-F629-4804-9F68-A10ACB24C011}"/>
              </a:ext>
            </a:extLst>
          </p:cNvPr>
          <p:cNvSpPr>
            <a:spLocks/>
          </p:cNvSpPr>
          <p:nvPr/>
        </p:nvSpPr>
        <p:spPr bwMode="auto">
          <a:xfrm>
            <a:off x="1077374" y="3567290"/>
            <a:ext cx="446626" cy="395109"/>
          </a:xfrm>
          <a:custGeom>
            <a:avLst/>
            <a:gdLst>
              <a:gd name="T0" fmla="*/ 312750 w 745629"/>
              <a:gd name="T1" fmla="*/ 5092 h 777621"/>
              <a:gd name="T2" fmla="*/ 201745 w 745629"/>
              <a:gd name="T3" fmla="*/ 43427 h 777621"/>
              <a:gd name="T4" fmla="*/ 109335 w 745629"/>
              <a:gd name="T5" fmla="*/ 113956 h 777621"/>
              <a:gd name="T6" fmla="*/ 41666 w 745629"/>
              <a:gd name="T7" fmla="*/ 210273 h 777621"/>
              <a:gd name="T8" fmla="*/ 4885 w 745629"/>
              <a:gd name="T9" fmla="*/ 325965 h 777621"/>
              <a:gd name="T10" fmla="*/ 1237 w 745629"/>
              <a:gd name="T11" fmla="*/ 420985 h 777621"/>
              <a:gd name="T12" fmla="*/ 29333 w 745629"/>
              <a:gd name="T13" fmla="*/ 540514 h 777621"/>
              <a:gd name="T14" fmla="*/ 89858 w 745629"/>
              <a:gd name="T15" fmla="*/ 642270 h 777621"/>
              <a:gd name="T16" fmla="*/ 176659 w 745629"/>
              <a:gd name="T17" fmla="*/ 719841 h 777621"/>
              <a:gd name="T18" fmla="*/ 283592 w 745629"/>
              <a:gd name="T19" fmla="*/ 766821 h 777621"/>
              <a:gd name="T20" fmla="*/ 373304 w 745629"/>
              <a:gd name="T21" fmla="*/ 778129 h 777621"/>
              <a:gd name="T22" fmla="*/ 463018 w 745629"/>
              <a:gd name="T23" fmla="*/ 766821 h 777621"/>
              <a:gd name="T24" fmla="*/ 569953 w 745629"/>
              <a:gd name="T25" fmla="*/ 719841 h 777621"/>
              <a:gd name="T26" fmla="*/ 618770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9 w 745629"/>
              <a:gd name="T37" fmla="*/ 537879 h 777621"/>
              <a:gd name="T38" fmla="*/ 727653 w 745629"/>
              <a:gd name="T39" fmla="*/ 511819 h 777621"/>
              <a:gd name="T40" fmla="*/ 359409 w 745629"/>
              <a:gd name="T41" fmla="*/ 510249 h 777621"/>
              <a:gd name="T42" fmla="*/ 308332 w 745629"/>
              <a:gd name="T43" fmla="*/ 452185 h 777621"/>
              <a:gd name="T44" fmla="*/ 308169 w 745629"/>
              <a:gd name="T45" fmla="*/ 158993 h 777621"/>
              <a:gd name="T46" fmla="*/ 331716 w 745629"/>
              <a:gd name="T47" fmla="*/ 110253 h 777621"/>
              <a:gd name="T48" fmla="*/ 618556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70 w 745629"/>
              <a:gd name="T65" fmla="*/ 682051 h 777621"/>
              <a:gd name="T66" fmla="*/ 690690 w 745629"/>
              <a:gd name="T67" fmla="*/ 594015 h 777621"/>
              <a:gd name="T68" fmla="*/ 718239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3 w 745629"/>
              <a:gd name="T79" fmla="*/ 511819 h 777621"/>
              <a:gd name="T80" fmla="*/ 741736 w 745629"/>
              <a:gd name="T81" fmla="*/ 452185 h 777621"/>
              <a:gd name="T82" fmla="*/ 746621 w 745629"/>
              <a:gd name="T83" fmla="*/ 389077 h 777621"/>
              <a:gd name="T84" fmla="*/ 735772 w 745629"/>
              <a:gd name="T85" fmla="*/ 295576 h 777621"/>
              <a:gd name="T86" fmla="*/ 690690 w 745629"/>
              <a:gd name="T87" fmla="*/ 184126 h 777621"/>
              <a:gd name="T88" fmla="*/ 637280 w 745629"/>
              <a:gd name="T89" fmla="*/ 113956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9"/>
                </a:lnTo>
                <a:lnTo>
                  <a:pt x="152628" y="75019"/>
                </a:lnTo>
                <a:lnTo>
                  <a:pt x="109189" y="113882"/>
                </a:lnTo>
                <a:lnTo>
                  <a:pt x="71927" y="159187"/>
                </a:lnTo>
                <a:lnTo>
                  <a:pt x="41610" y="210135"/>
                </a:lnTo>
                <a:lnTo>
                  <a:pt x="19005" y="265923"/>
                </a:lnTo>
                <a:lnTo>
                  <a:pt x="4879" y="325753"/>
                </a:lnTo>
                <a:lnTo>
                  <a:pt x="0" y="388823"/>
                </a:lnTo>
                <a:lnTo>
                  <a:pt x="1235" y="420711"/>
                </a:lnTo>
                <a:lnTo>
                  <a:pt x="10834" y="482257"/>
                </a:lnTo>
                <a:lnTo>
                  <a:pt x="29295" y="540162"/>
                </a:lnTo>
                <a:lnTo>
                  <a:pt x="55853" y="593627"/>
                </a:lnTo>
                <a:lnTo>
                  <a:pt x="89738" y="641850"/>
                </a:lnTo>
                <a:lnTo>
                  <a:pt x="130185" y="684031"/>
                </a:lnTo>
                <a:lnTo>
                  <a:pt x="176425" y="719371"/>
                </a:lnTo>
                <a:lnTo>
                  <a:pt x="227690" y="747067"/>
                </a:lnTo>
                <a:lnTo>
                  <a:pt x="283215" y="766321"/>
                </a:lnTo>
                <a:lnTo>
                  <a:pt x="342231" y="776332"/>
                </a:lnTo>
                <a:lnTo>
                  <a:pt x="372808" y="777621"/>
                </a:lnTo>
                <a:lnTo>
                  <a:pt x="403385" y="776332"/>
                </a:lnTo>
                <a:lnTo>
                  <a:pt x="462402" y="766321"/>
                </a:lnTo>
                <a:lnTo>
                  <a:pt x="517928" y="747067"/>
                </a:lnTo>
                <a:lnTo>
                  <a:pt x="569195" y="719371"/>
                </a:lnTo>
                <a:lnTo>
                  <a:pt x="615437" y="684031"/>
                </a:lnTo>
                <a:lnTo>
                  <a:pt x="617948"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5" y="537527"/>
                </a:lnTo>
                <a:lnTo>
                  <a:pt x="726623" y="511715"/>
                </a:lnTo>
                <a:lnTo>
                  <a:pt x="726686" y="511485"/>
                </a:lnTo>
                <a:lnTo>
                  <a:pt x="373913" y="511485"/>
                </a:lnTo>
                <a:lnTo>
                  <a:pt x="358931" y="509915"/>
                </a:lnTo>
                <a:lnTo>
                  <a:pt x="323083" y="489054"/>
                </a:lnTo>
                <a:lnTo>
                  <a:pt x="307922" y="451889"/>
                </a:lnTo>
                <a:lnTo>
                  <a:pt x="307797" y="325753"/>
                </a:lnTo>
                <a:lnTo>
                  <a:pt x="307759" y="158889"/>
                </a:lnTo>
                <a:lnTo>
                  <a:pt x="309414" y="144631"/>
                </a:lnTo>
                <a:lnTo>
                  <a:pt x="331275" y="110181"/>
                </a:lnTo>
                <a:lnTo>
                  <a:pt x="370697" y="95815"/>
                </a:lnTo>
                <a:lnTo>
                  <a:pt x="617734" y="95815"/>
                </a:lnTo>
                <a:lnTo>
                  <a:pt x="615437" y="93595"/>
                </a:lnTo>
                <a:lnTo>
                  <a:pt x="569195" y="58253"/>
                </a:lnTo>
                <a:lnTo>
                  <a:pt x="517928" y="30555"/>
                </a:lnTo>
                <a:lnTo>
                  <a:pt x="462402" y="11300"/>
                </a:lnTo>
                <a:lnTo>
                  <a:pt x="403385" y="1288"/>
                </a:lnTo>
                <a:lnTo>
                  <a:pt x="372808" y="0"/>
                </a:lnTo>
                <a:close/>
              </a:path>
              <a:path w="745629" h="777621">
                <a:moveTo>
                  <a:pt x="717285"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8" y="681605"/>
                </a:lnTo>
                <a:lnTo>
                  <a:pt x="655885" y="641850"/>
                </a:lnTo>
                <a:lnTo>
                  <a:pt x="689772" y="593627"/>
                </a:lnTo>
                <a:lnTo>
                  <a:pt x="716331" y="540162"/>
                </a:lnTo>
                <a:lnTo>
                  <a:pt x="717285" y="537527"/>
                </a:lnTo>
                <a:close/>
              </a:path>
              <a:path w="745629" h="777621">
                <a:moveTo>
                  <a:pt x="617734"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6" y="511485"/>
                </a:lnTo>
                <a:lnTo>
                  <a:pt x="734794" y="482257"/>
                </a:lnTo>
                <a:lnTo>
                  <a:pt x="740750" y="451889"/>
                </a:lnTo>
                <a:lnTo>
                  <a:pt x="744393" y="420711"/>
                </a:lnTo>
                <a:lnTo>
                  <a:pt x="745629" y="388823"/>
                </a:lnTo>
                <a:lnTo>
                  <a:pt x="744393" y="356933"/>
                </a:lnTo>
                <a:lnTo>
                  <a:pt x="734794" y="295383"/>
                </a:lnTo>
                <a:lnTo>
                  <a:pt x="716331" y="237474"/>
                </a:lnTo>
                <a:lnTo>
                  <a:pt x="689772" y="184006"/>
                </a:lnTo>
                <a:lnTo>
                  <a:pt x="655885" y="135779"/>
                </a:lnTo>
                <a:lnTo>
                  <a:pt x="636433" y="113882"/>
                </a:lnTo>
                <a:lnTo>
                  <a:pt x="617734" y="95815"/>
                </a:lnTo>
                <a:close/>
              </a:path>
            </a:pathLst>
          </a:custGeom>
          <a:solidFill>
            <a:schemeClr val="tx1"/>
          </a:solidFill>
          <a:ln>
            <a:noFill/>
          </a:ln>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12" name="object 33">
            <a:extLst>
              <a:ext uri="{FF2B5EF4-FFF2-40B4-BE49-F238E27FC236}">
                <a16:creationId xmlns:a16="http://schemas.microsoft.com/office/drawing/2014/main" id="{594DCD92-40DE-4BE4-9E26-EB96D34613F6}"/>
              </a:ext>
            </a:extLst>
          </p:cNvPr>
          <p:cNvSpPr>
            <a:spLocks/>
          </p:cNvSpPr>
          <p:nvPr/>
        </p:nvSpPr>
        <p:spPr bwMode="auto">
          <a:xfrm>
            <a:off x="1077374" y="4207655"/>
            <a:ext cx="446626" cy="395109"/>
          </a:xfrm>
          <a:custGeom>
            <a:avLst/>
            <a:gdLst>
              <a:gd name="T0" fmla="*/ 312750 w 745629"/>
              <a:gd name="T1" fmla="*/ 5092 h 777621"/>
              <a:gd name="T2" fmla="*/ 201745 w 745629"/>
              <a:gd name="T3" fmla="*/ 43427 h 777621"/>
              <a:gd name="T4" fmla="*/ 109335 w 745629"/>
              <a:gd name="T5" fmla="*/ 113956 h 777621"/>
              <a:gd name="T6" fmla="*/ 41666 w 745629"/>
              <a:gd name="T7" fmla="*/ 210273 h 777621"/>
              <a:gd name="T8" fmla="*/ 4885 w 745629"/>
              <a:gd name="T9" fmla="*/ 325965 h 777621"/>
              <a:gd name="T10" fmla="*/ 1237 w 745629"/>
              <a:gd name="T11" fmla="*/ 420985 h 777621"/>
              <a:gd name="T12" fmla="*/ 29333 w 745629"/>
              <a:gd name="T13" fmla="*/ 540514 h 777621"/>
              <a:gd name="T14" fmla="*/ 89858 w 745629"/>
              <a:gd name="T15" fmla="*/ 642270 h 777621"/>
              <a:gd name="T16" fmla="*/ 176659 w 745629"/>
              <a:gd name="T17" fmla="*/ 719841 h 777621"/>
              <a:gd name="T18" fmla="*/ 283592 w 745629"/>
              <a:gd name="T19" fmla="*/ 766821 h 777621"/>
              <a:gd name="T20" fmla="*/ 373304 w 745629"/>
              <a:gd name="T21" fmla="*/ 778129 h 777621"/>
              <a:gd name="T22" fmla="*/ 463018 w 745629"/>
              <a:gd name="T23" fmla="*/ 766821 h 777621"/>
              <a:gd name="T24" fmla="*/ 569953 w 745629"/>
              <a:gd name="T25" fmla="*/ 719841 h 777621"/>
              <a:gd name="T26" fmla="*/ 618770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9 w 745629"/>
              <a:gd name="T37" fmla="*/ 537879 h 777621"/>
              <a:gd name="T38" fmla="*/ 727653 w 745629"/>
              <a:gd name="T39" fmla="*/ 511819 h 777621"/>
              <a:gd name="T40" fmla="*/ 359409 w 745629"/>
              <a:gd name="T41" fmla="*/ 510249 h 777621"/>
              <a:gd name="T42" fmla="*/ 308332 w 745629"/>
              <a:gd name="T43" fmla="*/ 452185 h 777621"/>
              <a:gd name="T44" fmla="*/ 308169 w 745629"/>
              <a:gd name="T45" fmla="*/ 158993 h 777621"/>
              <a:gd name="T46" fmla="*/ 331716 w 745629"/>
              <a:gd name="T47" fmla="*/ 110253 h 777621"/>
              <a:gd name="T48" fmla="*/ 618556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70 w 745629"/>
              <a:gd name="T65" fmla="*/ 682051 h 777621"/>
              <a:gd name="T66" fmla="*/ 690690 w 745629"/>
              <a:gd name="T67" fmla="*/ 594015 h 777621"/>
              <a:gd name="T68" fmla="*/ 718239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3 w 745629"/>
              <a:gd name="T79" fmla="*/ 511819 h 777621"/>
              <a:gd name="T80" fmla="*/ 741736 w 745629"/>
              <a:gd name="T81" fmla="*/ 452185 h 777621"/>
              <a:gd name="T82" fmla="*/ 746621 w 745629"/>
              <a:gd name="T83" fmla="*/ 389077 h 777621"/>
              <a:gd name="T84" fmla="*/ 735772 w 745629"/>
              <a:gd name="T85" fmla="*/ 295576 h 777621"/>
              <a:gd name="T86" fmla="*/ 690690 w 745629"/>
              <a:gd name="T87" fmla="*/ 184126 h 777621"/>
              <a:gd name="T88" fmla="*/ 637280 w 745629"/>
              <a:gd name="T89" fmla="*/ 113956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9"/>
                </a:lnTo>
                <a:lnTo>
                  <a:pt x="152628" y="75019"/>
                </a:lnTo>
                <a:lnTo>
                  <a:pt x="109189" y="113882"/>
                </a:lnTo>
                <a:lnTo>
                  <a:pt x="71927" y="159187"/>
                </a:lnTo>
                <a:lnTo>
                  <a:pt x="41610" y="210135"/>
                </a:lnTo>
                <a:lnTo>
                  <a:pt x="19005" y="265923"/>
                </a:lnTo>
                <a:lnTo>
                  <a:pt x="4879" y="325753"/>
                </a:lnTo>
                <a:lnTo>
                  <a:pt x="0" y="388823"/>
                </a:lnTo>
                <a:lnTo>
                  <a:pt x="1235" y="420711"/>
                </a:lnTo>
                <a:lnTo>
                  <a:pt x="10834" y="482257"/>
                </a:lnTo>
                <a:lnTo>
                  <a:pt x="29295" y="540162"/>
                </a:lnTo>
                <a:lnTo>
                  <a:pt x="55853" y="593627"/>
                </a:lnTo>
                <a:lnTo>
                  <a:pt x="89738" y="641850"/>
                </a:lnTo>
                <a:lnTo>
                  <a:pt x="130185" y="684031"/>
                </a:lnTo>
                <a:lnTo>
                  <a:pt x="176425" y="719371"/>
                </a:lnTo>
                <a:lnTo>
                  <a:pt x="227690" y="747067"/>
                </a:lnTo>
                <a:lnTo>
                  <a:pt x="283215" y="766321"/>
                </a:lnTo>
                <a:lnTo>
                  <a:pt x="342231" y="776332"/>
                </a:lnTo>
                <a:lnTo>
                  <a:pt x="372808" y="777621"/>
                </a:lnTo>
                <a:lnTo>
                  <a:pt x="403385" y="776332"/>
                </a:lnTo>
                <a:lnTo>
                  <a:pt x="462402" y="766321"/>
                </a:lnTo>
                <a:lnTo>
                  <a:pt x="517928" y="747067"/>
                </a:lnTo>
                <a:lnTo>
                  <a:pt x="569195" y="719371"/>
                </a:lnTo>
                <a:lnTo>
                  <a:pt x="615437" y="684031"/>
                </a:lnTo>
                <a:lnTo>
                  <a:pt x="617948"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5" y="537527"/>
                </a:lnTo>
                <a:lnTo>
                  <a:pt x="726623" y="511715"/>
                </a:lnTo>
                <a:lnTo>
                  <a:pt x="726686" y="511485"/>
                </a:lnTo>
                <a:lnTo>
                  <a:pt x="373913" y="511485"/>
                </a:lnTo>
                <a:lnTo>
                  <a:pt x="358931" y="509915"/>
                </a:lnTo>
                <a:lnTo>
                  <a:pt x="323083" y="489054"/>
                </a:lnTo>
                <a:lnTo>
                  <a:pt x="307922" y="451889"/>
                </a:lnTo>
                <a:lnTo>
                  <a:pt x="307797" y="325753"/>
                </a:lnTo>
                <a:lnTo>
                  <a:pt x="307759" y="158889"/>
                </a:lnTo>
                <a:lnTo>
                  <a:pt x="309414" y="144631"/>
                </a:lnTo>
                <a:lnTo>
                  <a:pt x="331275" y="110181"/>
                </a:lnTo>
                <a:lnTo>
                  <a:pt x="370697" y="95815"/>
                </a:lnTo>
                <a:lnTo>
                  <a:pt x="617734" y="95815"/>
                </a:lnTo>
                <a:lnTo>
                  <a:pt x="615437" y="93595"/>
                </a:lnTo>
                <a:lnTo>
                  <a:pt x="569195" y="58253"/>
                </a:lnTo>
                <a:lnTo>
                  <a:pt x="517928" y="30555"/>
                </a:lnTo>
                <a:lnTo>
                  <a:pt x="462402" y="11300"/>
                </a:lnTo>
                <a:lnTo>
                  <a:pt x="403385" y="1288"/>
                </a:lnTo>
                <a:lnTo>
                  <a:pt x="372808" y="0"/>
                </a:lnTo>
                <a:close/>
              </a:path>
              <a:path w="745629" h="777621">
                <a:moveTo>
                  <a:pt x="717285"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8" y="681605"/>
                </a:lnTo>
                <a:lnTo>
                  <a:pt x="655885" y="641850"/>
                </a:lnTo>
                <a:lnTo>
                  <a:pt x="689772" y="593627"/>
                </a:lnTo>
                <a:lnTo>
                  <a:pt x="716331" y="540162"/>
                </a:lnTo>
                <a:lnTo>
                  <a:pt x="717285" y="537527"/>
                </a:lnTo>
                <a:close/>
              </a:path>
              <a:path w="745629" h="777621">
                <a:moveTo>
                  <a:pt x="617734"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6" y="511485"/>
                </a:lnTo>
                <a:lnTo>
                  <a:pt x="734794" y="482257"/>
                </a:lnTo>
                <a:lnTo>
                  <a:pt x="740750" y="451889"/>
                </a:lnTo>
                <a:lnTo>
                  <a:pt x="744393" y="420711"/>
                </a:lnTo>
                <a:lnTo>
                  <a:pt x="745629" y="388823"/>
                </a:lnTo>
                <a:lnTo>
                  <a:pt x="744393" y="356933"/>
                </a:lnTo>
                <a:lnTo>
                  <a:pt x="734794" y="295383"/>
                </a:lnTo>
                <a:lnTo>
                  <a:pt x="716331" y="237474"/>
                </a:lnTo>
                <a:lnTo>
                  <a:pt x="689772" y="184006"/>
                </a:lnTo>
                <a:lnTo>
                  <a:pt x="655885" y="135779"/>
                </a:lnTo>
                <a:lnTo>
                  <a:pt x="636433" y="113882"/>
                </a:lnTo>
                <a:lnTo>
                  <a:pt x="617734" y="95815"/>
                </a:lnTo>
                <a:close/>
              </a:path>
            </a:pathLst>
          </a:custGeom>
          <a:solidFill>
            <a:schemeClr val="tx1"/>
          </a:solidFill>
          <a:ln>
            <a:noFill/>
          </a:ln>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13" name="object 34">
            <a:extLst>
              <a:ext uri="{FF2B5EF4-FFF2-40B4-BE49-F238E27FC236}">
                <a16:creationId xmlns:a16="http://schemas.microsoft.com/office/drawing/2014/main" id="{844EEF96-3F0E-451F-9A70-38C0EAD1CA57}"/>
              </a:ext>
            </a:extLst>
          </p:cNvPr>
          <p:cNvSpPr>
            <a:spLocks/>
          </p:cNvSpPr>
          <p:nvPr/>
        </p:nvSpPr>
        <p:spPr bwMode="auto">
          <a:xfrm>
            <a:off x="1077374" y="4855152"/>
            <a:ext cx="446626" cy="395109"/>
          </a:xfrm>
          <a:custGeom>
            <a:avLst/>
            <a:gdLst>
              <a:gd name="T0" fmla="*/ 312750 w 745629"/>
              <a:gd name="T1" fmla="*/ 5092 h 777621"/>
              <a:gd name="T2" fmla="*/ 201745 w 745629"/>
              <a:gd name="T3" fmla="*/ 43427 h 777621"/>
              <a:gd name="T4" fmla="*/ 109335 w 745629"/>
              <a:gd name="T5" fmla="*/ 113956 h 777621"/>
              <a:gd name="T6" fmla="*/ 41666 w 745629"/>
              <a:gd name="T7" fmla="*/ 210273 h 777621"/>
              <a:gd name="T8" fmla="*/ 4885 w 745629"/>
              <a:gd name="T9" fmla="*/ 325965 h 777621"/>
              <a:gd name="T10" fmla="*/ 1237 w 745629"/>
              <a:gd name="T11" fmla="*/ 420985 h 777621"/>
              <a:gd name="T12" fmla="*/ 29333 w 745629"/>
              <a:gd name="T13" fmla="*/ 540514 h 777621"/>
              <a:gd name="T14" fmla="*/ 89858 w 745629"/>
              <a:gd name="T15" fmla="*/ 642270 h 777621"/>
              <a:gd name="T16" fmla="*/ 176659 w 745629"/>
              <a:gd name="T17" fmla="*/ 719841 h 777621"/>
              <a:gd name="T18" fmla="*/ 283592 w 745629"/>
              <a:gd name="T19" fmla="*/ 766821 h 777621"/>
              <a:gd name="T20" fmla="*/ 373304 w 745629"/>
              <a:gd name="T21" fmla="*/ 778129 h 777621"/>
              <a:gd name="T22" fmla="*/ 463018 w 745629"/>
              <a:gd name="T23" fmla="*/ 766821 h 777621"/>
              <a:gd name="T24" fmla="*/ 569953 w 745629"/>
              <a:gd name="T25" fmla="*/ 719841 h 777621"/>
              <a:gd name="T26" fmla="*/ 618770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9 w 745629"/>
              <a:gd name="T37" fmla="*/ 537879 h 777621"/>
              <a:gd name="T38" fmla="*/ 727653 w 745629"/>
              <a:gd name="T39" fmla="*/ 511819 h 777621"/>
              <a:gd name="T40" fmla="*/ 359409 w 745629"/>
              <a:gd name="T41" fmla="*/ 510249 h 777621"/>
              <a:gd name="T42" fmla="*/ 308332 w 745629"/>
              <a:gd name="T43" fmla="*/ 452185 h 777621"/>
              <a:gd name="T44" fmla="*/ 308169 w 745629"/>
              <a:gd name="T45" fmla="*/ 158993 h 777621"/>
              <a:gd name="T46" fmla="*/ 331716 w 745629"/>
              <a:gd name="T47" fmla="*/ 110253 h 777621"/>
              <a:gd name="T48" fmla="*/ 618556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70 w 745629"/>
              <a:gd name="T65" fmla="*/ 682051 h 777621"/>
              <a:gd name="T66" fmla="*/ 690690 w 745629"/>
              <a:gd name="T67" fmla="*/ 594015 h 777621"/>
              <a:gd name="T68" fmla="*/ 718239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3 w 745629"/>
              <a:gd name="T79" fmla="*/ 511819 h 777621"/>
              <a:gd name="T80" fmla="*/ 741736 w 745629"/>
              <a:gd name="T81" fmla="*/ 452185 h 777621"/>
              <a:gd name="T82" fmla="*/ 746621 w 745629"/>
              <a:gd name="T83" fmla="*/ 389077 h 777621"/>
              <a:gd name="T84" fmla="*/ 735772 w 745629"/>
              <a:gd name="T85" fmla="*/ 295576 h 777621"/>
              <a:gd name="T86" fmla="*/ 690690 w 745629"/>
              <a:gd name="T87" fmla="*/ 184126 h 777621"/>
              <a:gd name="T88" fmla="*/ 637280 w 745629"/>
              <a:gd name="T89" fmla="*/ 113956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9"/>
                </a:lnTo>
                <a:lnTo>
                  <a:pt x="152628" y="75019"/>
                </a:lnTo>
                <a:lnTo>
                  <a:pt x="109189" y="113882"/>
                </a:lnTo>
                <a:lnTo>
                  <a:pt x="71927" y="159187"/>
                </a:lnTo>
                <a:lnTo>
                  <a:pt x="41610" y="210135"/>
                </a:lnTo>
                <a:lnTo>
                  <a:pt x="19005" y="265923"/>
                </a:lnTo>
                <a:lnTo>
                  <a:pt x="4879" y="325753"/>
                </a:lnTo>
                <a:lnTo>
                  <a:pt x="0" y="388823"/>
                </a:lnTo>
                <a:lnTo>
                  <a:pt x="1235" y="420711"/>
                </a:lnTo>
                <a:lnTo>
                  <a:pt x="10834" y="482257"/>
                </a:lnTo>
                <a:lnTo>
                  <a:pt x="29295" y="540162"/>
                </a:lnTo>
                <a:lnTo>
                  <a:pt x="55853" y="593627"/>
                </a:lnTo>
                <a:lnTo>
                  <a:pt x="89738" y="641850"/>
                </a:lnTo>
                <a:lnTo>
                  <a:pt x="130185" y="684031"/>
                </a:lnTo>
                <a:lnTo>
                  <a:pt x="176425" y="719371"/>
                </a:lnTo>
                <a:lnTo>
                  <a:pt x="227690" y="747067"/>
                </a:lnTo>
                <a:lnTo>
                  <a:pt x="283215" y="766321"/>
                </a:lnTo>
                <a:lnTo>
                  <a:pt x="342231" y="776332"/>
                </a:lnTo>
                <a:lnTo>
                  <a:pt x="372808" y="777621"/>
                </a:lnTo>
                <a:lnTo>
                  <a:pt x="403385" y="776332"/>
                </a:lnTo>
                <a:lnTo>
                  <a:pt x="462402" y="766321"/>
                </a:lnTo>
                <a:lnTo>
                  <a:pt x="517928" y="747067"/>
                </a:lnTo>
                <a:lnTo>
                  <a:pt x="569195" y="719371"/>
                </a:lnTo>
                <a:lnTo>
                  <a:pt x="615437" y="684031"/>
                </a:lnTo>
                <a:lnTo>
                  <a:pt x="617948"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5" y="537527"/>
                </a:lnTo>
                <a:lnTo>
                  <a:pt x="726623" y="511715"/>
                </a:lnTo>
                <a:lnTo>
                  <a:pt x="726686" y="511485"/>
                </a:lnTo>
                <a:lnTo>
                  <a:pt x="373913" y="511485"/>
                </a:lnTo>
                <a:lnTo>
                  <a:pt x="358931" y="509915"/>
                </a:lnTo>
                <a:lnTo>
                  <a:pt x="323083" y="489054"/>
                </a:lnTo>
                <a:lnTo>
                  <a:pt x="307922" y="451889"/>
                </a:lnTo>
                <a:lnTo>
                  <a:pt x="307797" y="325753"/>
                </a:lnTo>
                <a:lnTo>
                  <a:pt x="307759" y="158889"/>
                </a:lnTo>
                <a:lnTo>
                  <a:pt x="309414" y="144631"/>
                </a:lnTo>
                <a:lnTo>
                  <a:pt x="331275" y="110181"/>
                </a:lnTo>
                <a:lnTo>
                  <a:pt x="370697" y="95815"/>
                </a:lnTo>
                <a:lnTo>
                  <a:pt x="617734" y="95815"/>
                </a:lnTo>
                <a:lnTo>
                  <a:pt x="615437" y="93595"/>
                </a:lnTo>
                <a:lnTo>
                  <a:pt x="569195" y="58253"/>
                </a:lnTo>
                <a:lnTo>
                  <a:pt x="517928" y="30555"/>
                </a:lnTo>
                <a:lnTo>
                  <a:pt x="462402" y="11300"/>
                </a:lnTo>
                <a:lnTo>
                  <a:pt x="403385" y="1288"/>
                </a:lnTo>
                <a:lnTo>
                  <a:pt x="372808" y="0"/>
                </a:lnTo>
                <a:close/>
              </a:path>
              <a:path w="745629" h="777621">
                <a:moveTo>
                  <a:pt x="717285"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8" y="681605"/>
                </a:lnTo>
                <a:lnTo>
                  <a:pt x="655885" y="641850"/>
                </a:lnTo>
                <a:lnTo>
                  <a:pt x="689772" y="593627"/>
                </a:lnTo>
                <a:lnTo>
                  <a:pt x="716331" y="540162"/>
                </a:lnTo>
                <a:lnTo>
                  <a:pt x="717285" y="537527"/>
                </a:lnTo>
                <a:close/>
              </a:path>
              <a:path w="745629" h="777621">
                <a:moveTo>
                  <a:pt x="617734"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6" y="511485"/>
                </a:lnTo>
                <a:lnTo>
                  <a:pt x="734794" y="482257"/>
                </a:lnTo>
                <a:lnTo>
                  <a:pt x="740750" y="451889"/>
                </a:lnTo>
                <a:lnTo>
                  <a:pt x="744393" y="420711"/>
                </a:lnTo>
                <a:lnTo>
                  <a:pt x="745629" y="388823"/>
                </a:lnTo>
                <a:lnTo>
                  <a:pt x="744393" y="356933"/>
                </a:lnTo>
                <a:lnTo>
                  <a:pt x="734794" y="295383"/>
                </a:lnTo>
                <a:lnTo>
                  <a:pt x="716331" y="237474"/>
                </a:lnTo>
                <a:lnTo>
                  <a:pt x="689772" y="184006"/>
                </a:lnTo>
                <a:lnTo>
                  <a:pt x="655885" y="135779"/>
                </a:lnTo>
                <a:lnTo>
                  <a:pt x="636433" y="113882"/>
                </a:lnTo>
                <a:lnTo>
                  <a:pt x="617734" y="95815"/>
                </a:lnTo>
                <a:close/>
              </a:path>
            </a:pathLst>
          </a:custGeom>
          <a:solidFill>
            <a:schemeClr val="tx1"/>
          </a:solidFill>
          <a:ln>
            <a:noFill/>
          </a:ln>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14" name="object 35">
            <a:extLst>
              <a:ext uri="{FF2B5EF4-FFF2-40B4-BE49-F238E27FC236}">
                <a16:creationId xmlns:a16="http://schemas.microsoft.com/office/drawing/2014/main" id="{F37500E5-BA56-4AFB-87A4-2F60C02488B3}"/>
              </a:ext>
            </a:extLst>
          </p:cNvPr>
          <p:cNvSpPr txBox="1">
            <a:spLocks noChangeArrowheads="1"/>
          </p:cNvSpPr>
          <p:nvPr/>
        </p:nvSpPr>
        <p:spPr bwMode="auto">
          <a:xfrm>
            <a:off x="534214" y="743562"/>
            <a:ext cx="8095741" cy="106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marL="12700" marR="0" lvl="0" indent="0" algn="l" defTabSz="457200" rtl="0" eaLnBrk="1" fontAlgn="auto" latinLnBrk="0" hangingPunct="1">
              <a:lnSpc>
                <a:spcPct val="100000"/>
              </a:lnSpc>
              <a:spcBef>
                <a:spcPct val="0"/>
              </a:spcBef>
              <a:spcAft>
                <a:spcPts val="0"/>
              </a:spcAft>
              <a:buClrTx/>
              <a:buSzTx/>
              <a:buFontTx/>
              <a:buNone/>
              <a:tabLst/>
              <a:defRPr/>
            </a:pPr>
            <a:r>
              <a:rPr lang="en-US" altLang="en-US" dirty="0" err="1"/>
              <a:t>တဆင</a:t>
            </a:r>
            <a:r>
              <a:rPr lang="en-US" altLang="en-US" dirty="0"/>
              <a:t>့်</a:t>
            </a:r>
            <a:r>
              <a:rPr lang="en-US" altLang="en-US" dirty="0" err="1"/>
              <a:t>ခံ</a:t>
            </a:r>
            <a:r>
              <a:rPr lang="en-US" altLang="en-US" dirty="0"/>
              <a:t> </a:t>
            </a:r>
            <a:r>
              <a:rPr lang="en-US" altLang="en-US" dirty="0" err="1"/>
              <a:t>စိတ်ဒဏ်ရာ</a:t>
            </a:r>
            <a:r>
              <a:rPr lang="en-US" altLang="en-US" dirty="0"/>
              <a:t> </a:t>
            </a:r>
            <a:r>
              <a:rPr lang="en-US" altLang="en-US" dirty="0" err="1"/>
              <a:t>လက္ခဏာများ</a:t>
            </a:r>
            <a:endParaRPr lang="en-US" altLang="en-US" dirty="0"/>
          </a:p>
        </p:txBody>
      </p:sp>
      <p:sp>
        <p:nvSpPr>
          <p:cNvPr id="37" name="object 37">
            <a:extLst>
              <a:ext uri="{FF2B5EF4-FFF2-40B4-BE49-F238E27FC236}">
                <a16:creationId xmlns:a16="http://schemas.microsoft.com/office/drawing/2014/main" id="{3F8C8B9C-11DF-46F2-BFCC-B45AC97E8E76}"/>
              </a:ext>
            </a:extLst>
          </p:cNvPr>
          <p:cNvSpPr>
            <a:spLocks noGrp="1"/>
          </p:cNvSpPr>
          <p:nvPr>
            <p:ph type="ftr" sz="quarter" idx="10"/>
          </p:nvPr>
        </p:nvSpPr>
        <p:spPr/>
        <p:txBody>
          <a:bodyPr vert="horz" rtlCol="0"/>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Se</a:t>
            </a:r>
            <a:r>
              <a:rPr kumimoji="0" sz="899" b="0" i="0" u="none" strike="noStrike" kern="1200" cap="none" spc="9"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12" normalizeH="0" baseline="0" noProof="0">
                <a:ln>
                  <a:noFill/>
                </a:ln>
                <a:solidFill>
                  <a:prstClr val="black">
                    <a:tint val="75000"/>
                  </a:prstClr>
                </a:solidFill>
                <a:effectLst/>
                <a:uLnTx/>
                <a:uFillTx/>
                <a:latin typeface="Calibri" panose="020F0502020204030204"/>
                <a:ea typeface="+mn-ea"/>
                <a:cs typeface="+mn-cs"/>
              </a:rPr>
              <a:t>t</a:t>
            </a:r>
            <a:r>
              <a:rPr kumimoji="0" sz="899" b="0" i="0" u="none" strike="noStrike" kern="1200" cap="none" spc="-6" normalizeH="0" baseline="0" noProof="0">
                <a:ln>
                  <a:noFill/>
                </a:ln>
                <a:solidFill>
                  <a:prstClr val="black">
                    <a:tint val="75000"/>
                  </a:prstClr>
                </a:solidFill>
                <a:effectLst/>
                <a:uLnTx/>
                <a:uFillTx/>
                <a:latin typeface="Calibri" panose="020F0502020204030204"/>
                <a:ea typeface="+mn-ea"/>
                <a:cs typeface="+mn-cs"/>
              </a:rPr>
              <a:t>i</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on</a:t>
            </a:r>
            <a:r>
              <a:rPr kumimoji="0" sz="899" b="0" i="0" u="none" strike="noStrike" kern="1200" cap="none" spc="3" normalizeH="0" baseline="0" noProof="0">
                <a:ln>
                  <a:noFill/>
                </a:ln>
                <a:solidFill>
                  <a:prstClr val="black">
                    <a:tint val="75000"/>
                  </a:prstClr>
                </a:solidFill>
                <a:effectLst/>
                <a:uLnTx/>
                <a:uFillTx/>
                <a:latin typeface="Calibri" panose="020F0502020204030204"/>
                <a:ea typeface="+mn-ea"/>
                <a:cs typeface="+mn-cs"/>
              </a:rPr>
              <a:t> </a:t>
            </a:r>
            <a:r>
              <a:rPr kumimoji="0" sz="899" b="0" i="0" u="none" strike="noStrike" kern="1200" cap="none" spc="17" normalizeH="0" baseline="0" noProof="0">
                <a:ln>
                  <a:noFill/>
                </a:ln>
                <a:solidFill>
                  <a:prstClr val="black">
                    <a:tint val="75000"/>
                  </a:prstClr>
                </a:solidFill>
                <a:effectLst/>
                <a:uLnTx/>
                <a:uFillTx/>
                <a:latin typeface="Calibri" panose="020F0502020204030204"/>
                <a:ea typeface="+mn-ea"/>
                <a:cs typeface="+mn-cs"/>
              </a:rPr>
              <a:t>C</a:t>
            </a:r>
            <a:r>
              <a:rPr kumimoji="0" sz="899" b="0" i="0" u="none" strike="noStrike" kern="1200" cap="none" spc="0" normalizeH="0" baseline="0" noProof="0">
                <a:ln>
                  <a:noFill/>
                </a:ln>
                <a:solidFill>
                  <a:prstClr val="black">
                    <a:tint val="75000"/>
                  </a:prstClr>
                </a:solidFill>
                <a:effectLst/>
                <a:uLnTx/>
                <a:uFillTx/>
                <a:latin typeface="Calibri" panose="020F0502020204030204"/>
                <a:ea typeface="+mn-ea"/>
                <a:cs typeface="+mn-cs"/>
              </a:rPr>
              <a:t>:</a:t>
            </a:r>
            <a:endParaRPr kumimoji="0" sz="8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object 36">
            <a:extLst>
              <a:ext uri="{FF2B5EF4-FFF2-40B4-BE49-F238E27FC236}">
                <a16:creationId xmlns:a16="http://schemas.microsoft.com/office/drawing/2014/main" id="{41FFA669-ECED-434A-AB0D-AC936C0D54A9}"/>
              </a:ext>
            </a:extLst>
          </p:cNvPr>
          <p:cNvSpPr txBox="1"/>
          <p:nvPr/>
        </p:nvSpPr>
        <p:spPr>
          <a:xfrm>
            <a:off x="9043328" y="5027724"/>
            <a:ext cx="69313" cy="728708"/>
          </a:xfrm>
          <a:prstGeom prst="rect">
            <a:avLst/>
          </a:prstGeom>
        </p:spPr>
        <p:txBody>
          <a:bodyPr vert="vert270" lIns="0" tIns="0" rIns="0" bIns="0"/>
          <a:lstStyle/>
          <a:p>
            <a:pPr marL="7334" marR="0" lvl="0" indent="0" algn="l" defTabSz="457200" rtl="0" eaLnBrk="1" fontAlgn="auto" latinLnBrk="0" hangingPunct="1">
              <a:lnSpc>
                <a:spcPct val="100000"/>
              </a:lnSpc>
              <a:spcBef>
                <a:spcPts val="0"/>
              </a:spcBef>
              <a:spcAft>
                <a:spcPts val="0"/>
              </a:spcAft>
              <a:buClrTx/>
              <a:buSzTx/>
              <a:buFontTx/>
              <a:buNone/>
              <a:tabLst/>
              <a:defRPr/>
            </a:pPr>
            <a:r>
              <a:rPr kumimoji="0" sz="404" b="0" i="0" u="none" strike="noStrike" kern="1200" cap="none" spc="-9" normalizeH="0" baseline="0" noProof="0" dirty="0">
                <a:ln>
                  <a:noFill/>
                </a:ln>
                <a:solidFill>
                  <a:srgbClr val="FFFFFF"/>
                </a:solidFill>
                <a:effectLst/>
                <a:uLnTx/>
                <a:uFillTx/>
                <a:latin typeface="Gill Sans"/>
                <a:ea typeface="+mn-ea"/>
                <a:cs typeface="Gill Sans"/>
              </a:rPr>
              <a:t>J</a:t>
            </a:r>
            <a:r>
              <a:rPr kumimoji="0" sz="404" b="0" i="0" u="none" strike="noStrike" kern="1200" cap="none" spc="0" normalizeH="0" baseline="0" noProof="0" dirty="0">
                <a:ln>
                  <a:noFill/>
                </a:ln>
                <a:solidFill>
                  <a:srgbClr val="FFFFFF"/>
                </a:solidFill>
                <a:effectLst/>
                <a:uLnTx/>
                <a:uFillTx/>
                <a:latin typeface="Gill Sans"/>
                <a:ea typeface="+mn-ea"/>
                <a:cs typeface="Gill Sans"/>
              </a:rPr>
              <a:t>onathan Hyams/S</a:t>
            </a:r>
            <a:r>
              <a:rPr kumimoji="0" sz="404" b="0" i="0" u="none" strike="noStrike" kern="1200" cap="none" spc="-17" normalizeH="0" baseline="0" noProof="0" dirty="0">
                <a:ln>
                  <a:noFill/>
                </a:ln>
                <a:solidFill>
                  <a:srgbClr val="FFFFFF"/>
                </a:solidFill>
                <a:effectLst/>
                <a:uLnTx/>
                <a:uFillTx/>
                <a:latin typeface="Gill Sans"/>
                <a:ea typeface="+mn-ea"/>
                <a:cs typeface="Gill Sans"/>
              </a:rPr>
              <a:t>a</a:t>
            </a:r>
            <a:r>
              <a:rPr kumimoji="0" sz="404" b="0" i="0" u="none" strike="noStrike" kern="1200" cap="none" spc="-9" normalizeH="0" baseline="0" noProof="0" dirty="0">
                <a:ln>
                  <a:noFill/>
                </a:ln>
                <a:solidFill>
                  <a:srgbClr val="FFFFFF"/>
                </a:solidFill>
                <a:effectLst/>
                <a:uLnTx/>
                <a:uFillTx/>
                <a:latin typeface="Gill Sans"/>
                <a:ea typeface="+mn-ea"/>
                <a:cs typeface="Gill Sans"/>
              </a:rPr>
              <a:t>v</a:t>
            </a:r>
            <a:r>
              <a:rPr kumimoji="0" sz="404" b="0" i="0" u="none" strike="noStrike" kern="1200" cap="none" spc="0" normalizeH="0" baseline="0" noProof="0" dirty="0">
                <a:ln>
                  <a:noFill/>
                </a:ln>
                <a:solidFill>
                  <a:srgbClr val="FFFFFF"/>
                </a:solidFill>
                <a:effectLst/>
                <a:uLnTx/>
                <a:uFillTx/>
                <a:latin typeface="Gill Sans"/>
                <a:ea typeface="+mn-ea"/>
                <a:cs typeface="Gill Sans"/>
              </a:rPr>
              <a:t>e the Child</a:t>
            </a:r>
            <a:r>
              <a:rPr kumimoji="0" sz="404" b="0" i="0" u="none" strike="noStrike" kern="1200" cap="none" spc="-9" normalizeH="0" baseline="0" noProof="0" dirty="0">
                <a:ln>
                  <a:noFill/>
                </a:ln>
                <a:solidFill>
                  <a:srgbClr val="FFFFFF"/>
                </a:solidFill>
                <a:effectLst/>
                <a:uLnTx/>
                <a:uFillTx/>
                <a:latin typeface="Gill Sans"/>
                <a:ea typeface="+mn-ea"/>
                <a:cs typeface="Gill Sans"/>
              </a:rPr>
              <a:t>r</a:t>
            </a:r>
            <a:r>
              <a:rPr kumimoji="0" sz="404" b="0" i="0" u="none" strike="noStrike" kern="1200" cap="none" spc="0" normalizeH="0" baseline="0" noProof="0" dirty="0">
                <a:ln>
                  <a:noFill/>
                </a:ln>
                <a:solidFill>
                  <a:srgbClr val="FFFFFF"/>
                </a:solidFill>
                <a:effectLst/>
                <a:uLnTx/>
                <a:uFillTx/>
                <a:latin typeface="Gill Sans"/>
                <a:ea typeface="+mn-ea"/>
                <a:cs typeface="Gill Sans"/>
              </a:rPr>
              <a:t>en</a:t>
            </a:r>
            <a:endParaRPr kumimoji="0" sz="404" b="0" i="0" u="none" strike="noStrike" kern="1200" cap="none" spc="0" normalizeH="0" baseline="0" noProof="0">
              <a:ln>
                <a:noFill/>
              </a:ln>
              <a:solidFill>
                <a:prstClr val="black"/>
              </a:solidFill>
              <a:effectLst/>
              <a:uLnTx/>
              <a:uFillTx/>
              <a:latin typeface="Gill Sans"/>
              <a:ea typeface="+mn-ea"/>
              <a:cs typeface="Gill Sans"/>
            </a:endParaRPr>
          </a:p>
        </p:txBody>
      </p:sp>
      <p:sp>
        <p:nvSpPr>
          <p:cNvPr id="40" name="object 31">
            <a:extLst>
              <a:ext uri="{FF2B5EF4-FFF2-40B4-BE49-F238E27FC236}">
                <a16:creationId xmlns:a16="http://schemas.microsoft.com/office/drawing/2014/main" id="{12D79CB6-8E22-46E0-9B09-0DAC7AE0C618}"/>
              </a:ext>
            </a:extLst>
          </p:cNvPr>
          <p:cNvSpPr>
            <a:spLocks/>
          </p:cNvSpPr>
          <p:nvPr/>
        </p:nvSpPr>
        <p:spPr bwMode="auto">
          <a:xfrm>
            <a:off x="1077374" y="1676399"/>
            <a:ext cx="446626" cy="395109"/>
          </a:xfrm>
          <a:custGeom>
            <a:avLst/>
            <a:gdLst>
              <a:gd name="T0" fmla="*/ 312750 w 745629"/>
              <a:gd name="T1" fmla="*/ 5092 h 777621"/>
              <a:gd name="T2" fmla="*/ 201745 w 745629"/>
              <a:gd name="T3" fmla="*/ 43427 h 777621"/>
              <a:gd name="T4" fmla="*/ 109335 w 745629"/>
              <a:gd name="T5" fmla="*/ 113956 h 777621"/>
              <a:gd name="T6" fmla="*/ 41666 w 745629"/>
              <a:gd name="T7" fmla="*/ 210273 h 777621"/>
              <a:gd name="T8" fmla="*/ 4885 w 745629"/>
              <a:gd name="T9" fmla="*/ 325965 h 777621"/>
              <a:gd name="T10" fmla="*/ 1237 w 745629"/>
              <a:gd name="T11" fmla="*/ 420985 h 777621"/>
              <a:gd name="T12" fmla="*/ 29333 w 745629"/>
              <a:gd name="T13" fmla="*/ 540514 h 777621"/>
              <a:gd name="T14" fmla="*/ 89858 w 745629"/>
              <a:gd name="T15" fmla="*/ 642270 h 777621"/>
              <a:gd name="T16" fmla="*/ 176659 w 745629"/>
              <a:gd name="T17" fmla="*/ 719841 h 777621"/>
              <a:gd name="T18" fmla="*/ 283592 w 745629"/>
              <a:gd name="T19" fmla="*/ 766821 h 777621"/>
              <a:gd name="T20" fmla="*/ 373304 w 745629"/>
              <a:gd name="T21" fmla="*/ 778129 h 777621"/>
              <a:gd name="T22" fmla="*/ 463018 w 745629"/>
              <a:gd name="T23" fmla="*/ 766821 h 777621"/>
              <a:gd name="T24" fmla="*/ 569953 w 745629"/>
              <a:gd name="T25" fmla="*/ 719841 h 777621"/>
              <a:gd name="T26" fmla="*/ 618770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9 w 745629"/>
              <a:gd name="T37" fmla="*/ 537879 h 777621"/>
              <a:gd name="T38" fmla="*/ 727653 w 745629"/>
              <a:gd name="T39" fmla="*/ 511819 h 777621"/>
              <a:gd name="T40" fmla="*/ 359409 w 745629"/>
              <a:gd name="T41" fmla="*/ 510249 h 777621"/>
              <a:gd name="T42" fmla="*/ 308332 w 745629"/>
              <a:gd name="T43" fmla="*/ 452185 h 777621"/>
              <a:gd name="T44" fmla="*/ 308169 w 745629"/>
              <a:gd name="T45" fmla="*/ 158993 h 777621"/>
              <a:gd name="T46" fmla="*/ 331716 w 745629"/>
              <a:gd name="T47" fmla="*/ 110253 h 777621"/>
              <a:gd name="T48" fmla="*/ 618556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70 w 745629"/>
              <a:gd name="T65" fmla="*/ 682051 h 777621"/>
              <a:gd name="T66" fmla="*/ 690690 w 745629"/>
              <a:gd name="T67" fmla="*/ 594015 h 777621"/>
              <a:gd name="T68" fmla="*/ 718239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3 w 745629"/>
              <a:gd name="T79" fmla="*/ 511819 h 777621"/>
              <a:gd name="T80" fmla="*/ 741736 w 745629"/>
              <a:gd name="T81" fmla="*/ 452185 h 777621"/>
              <a:gd name="T82" fmla="*/ 746621 w 745629"/>
              <a:gd name="T83" fmla="*/ 389077 h 777621"/>
              <a:gd name="T84" fmla="*/ 735772 w 745629"/>
              <a:gd name="T85" fmla="*/ 295576 h 777621"/>
              <a:gd name="T86" fmla="*/ 690690 w 745629"/>
              <a:gd name="T87" fmla="*/ 184126 h 777621"/>
              <a:gd name="T88" fmla="*/ 637280 w 745629"/>
              <a:gd name="T89" fmla="*/ 113956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9"/>
                </a:lnTo>
                <a:lnTo>
                  <a:pt x="152628" y="75019"/>
                </a:lnTo>
                <a:lnTo>
                  <a:pt x="109189" y="113882"/>
                </a:lnTo>
                <a:lnTo>
                  <a:pt x="71927" y="159187"/>
                </a:lnTo>
                <a:lnTo>
                  <a:pt x="41610" y="210135"/>
                </a:lnTo>
                <a:lnTo>
                  <a:pt x="19005" y="265923"/>
                </a:lnTo>
                <a:lnTo>
                  <a:pt x="4879" y="325753"/>
                </a:lnTo>
                <a:lnTo>
                  <a:pt x="0" y="388823"/>
                </a:lnTo>
                <a:lnTo>
                  <a:pt x="1235" y="420711"/>
                </a:lnTo>
                <a:lnTo>
                  <a:pt x="10834" y="482257"/>
                </a:lnTo>
                <a:lnTo>
                  <a:pt x="29295" y="540162"/>
                </a:lnTo>
                <a:lnTo>
                  <a:pt x="55853" y="593627"/>
                </a:lnTo>
                <a:lnTo>
                  <a:pt x="89738" y="641850"/>
                </a:lnTo>
                <a:lnTo>
                  <a:pt x="130185" y="684031"/>
                </a:lnTo>
                <a:lnTo>
                  <a:pt x="176425" y="719371"/>
                </a:lnTo>
                <a:lnTo>
                  <a:pt x="227690" y="747067"/>
                </a:lnTo>
                <a:lnTo>
                  <a:pt x="283215" y="766321"/>
                </a:lnTo>
                <a:lnTo>
                  <a:pt x="342231" y="776332"/>
                </a:lnTo>
                <a:lnTo>
                  <a:pt x="372808" y="777621"/>
                </a:lnTo>
                <a:lnTo>
                  <a:pt x="403385" y="776332"/>
                </a:lnTo>
                <a:lnTo>
                  <a:pt x="462402" y="766321"/>
                </a:lnTo>
                <a:lnTo>
                  <a:pt x="517928" y="747067"/>
                </a:lnTo>
                <a:lnTo>
                  <a:pt x="569195" y="719371"/>
                </a:lnTo>
                <a:lnTo>
                  <a:pt x="615437" y="684031"/>
                </a:lnTo>
                <a:lnTo>
                  <a:pt x="617948"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5" y="537527"/>
                </a:lnTo>
                <a:lnTo>
                  <a:pt x="726623" y="511715"/>
                </a:lnTo>
                <a:lnTo>
                  <a:pt x="726686" y="511485"/>
                </a:lnTo>
                <a:lnTo>
                  <a:pt x="373913" y="511485"/>
                </a:lnTo>
                <a:lnTo>
                  <a:pt x="358931" y="509915"/>
                </a:lnTo>
                <a:lnTo>
                  <a:pt x="323083" y="489054"/>
                </a:lnTo>
                <a:lnTo>
                  <a:pt x="307922" y="451889"/>
                </a:lnTo>
                <a:lnTo>
                  <a:pt x="307797" y="325753"/>
                </a:lnTo>
                <a:lnTo>
                  <a:pt x="307759" y="158889"/>
                </a:lnTo>
                <a:lnTo>
                  <a:pt x="309414" y="144631"/>
                </a:lnTo>
                <a:lnTo>
                  <a:pt x="331275" y="110181"/>
                </a:lnTo>
                <a:lnTo>
                  <a:pt x="370697" y="95815"/>
                </a:lnTo>
                <a:lnTo>
                  <a:pt x="617734" y="95815"/>
                </a:lnTo>
                <a:lnTo>
                  <a:pt x="615437" y="93595"/>
                </a:lnTo>
                <a:lnTo>
                  <a:pt x="569195" y="58253"/>
                </a:lnTo>
                <a:lnTo>
                  <a:pt x="517928" y="30555"/>
                </a:lnTo>
                <a:lnTo>
                  <a:pt x="462402" y="11300"/>
                </a:lnTo>
                <a:lnTo>
                  <a:pt x="403385" y="1288"/>
                </a:lnTo>
                <a:lnTo>
                  <a:pt x="372808" y="0"/>
                </a:lnTo>
                <a:close/>
              </a:path>
              <a:path w="745629" h="777621">
                <a:moveTo>
                  <a:pt x="717285"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8" y="681605"/>
                </a:lnTo>
                <a:lnTo>
                  <a:pt x="655885" y="641850"/>
                </a:lnTo>
                <a:lnTo>
                  <a:pt x="689772" y="593627"/>
                </a:lnTo>
                <a:lnTo>
                  <a:pt x="716331" y="540162"/>
                </a:lnTo>
                <a:lnTo>
                  <a:pt x="717285" y="537527"/>
                </a:lnTo>
                <a:close/>
              </a:path>
              <a:path w="745629" h="777621">
                <a:moveTo>
                  <a:pt x="617734"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6" y="511485"/>
                </a:lnTo>
                <a:lnTo>
                  <a:pt x="734794" y="482257"/>
                </a:lnTo>
                <a:lnTo>
                  <a:pt x="740750" y="451889"/>
                </a:lnTo>
                <a:lnTo>
                  <a:pt x="744393" y="420711"/>
                </a:lnTo>
                <a:lnTo>
                  <a:pt x="745629" y="388823"/>
                </a:lnTo>
                <a:lnTo>
                  <a:pt x="744393" y="356933"/>
                </a:lnTo>
                <a:lnTo>
                  <a:pt x="734794" y="295383"/>
                </a:lnTo>
                <a:lnTo>
                  <a:pt x="716331" y="237474"/>
                </a:lnTo>
                <a:lnTo>
                  <a:pt x="689772" y="184006"/>
                </a:lnTo>
                <a:lnTo>
                  <a:pt x="655885" y="135779"/>
                </a:lnTo>
                <a:lnTo>
                  <a:pt x="636433" y="113882"/>
                </a:lnTo>
                <a:lnTo>
                  <a:pt x="617734" y="95815"/>
                </a:lnTo>
                <a:close/>
              </a:path>
            </a:pathLst>
          </a:custGeom>
          <a:solidFill>
            <a:schemeClr val="tx1"/>
          </a:solidFill>
          <a:ln>
            <a:noFill/>
          </a:ln>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object 32">
            <a:extLst>
              <a:ext uri="{FF2B5EF4-FFF2-40B4-BE49-F238E27FC236}">
                <a16:creationId xmlns:a16="http://schemas.microsoft.com/office/drawing/2014/main" id="{38B043CE-5E3E-42C1-A2E2-8D2547B3D708}"/>
              </a:ext>
            </a:extLst>
          </p:cNvPr>
          <p:cNvSpPr>
            <a:spLocks/>
          </p:cNvSpPr>
          <p:nvPr/>
        </p:nvSpPr>
        <p:spPr bwMode="auto">
          <a:xfrm>
            <a:off x="1077374" y="2285999"/>
            <a:ext cx="446626" cy="395109"/>
          </a:xfrm>
          <a:custGeom>
            <a:avLst/>
            <a:gdLst>
              <a:gd name="T0" fmla="*/ 312750 w 745629"/>
              <a:gd name="T1" fmla="*/ 5092 h 777621"/>
              <a:gd name="T2" fmla="*/ 201745 w 745629"/>
              <a:gd name="T3" fmla="*/ 43427 h 777621"/>
              <a:gd name="T4" fmla="*/ 109335 w 745629"/>
              <a:gd name="T5" fmla="*/ 113956 h 777621"/>
              <a:gd name="T6" fmla="*/ 41666 w 745629"/>
              <a:gd name="T7" fmla="*/ 210273 h 777621"/>
              <a:gd name="T8" fmla="*/ 4885 w 745629"/>
              <a:gd name="T9" fmla="*/ 325965 h 777621"/>
              <a:gd name="T10" fmla="*/ 1237 w 745629"/>
              <a:gd name="T11" fmla="*/ 420985 h 777621"/>
              <a:gd name="T12" fmla="*/ 29333 w 745629"/>
              <a:gd name="T13" fmla="*/ 540514 h 777621"/>
              <a:gd name="T14" fmla="*/ 89858 w 745629"/>
              <a:gd name="T15" fmla="*/ 642270 h 777621"/>
              <a:gd name="T16" fmla="*/ 176659 w 745629"/>
              <a:gd name="T17" fmla="*/ 719841 h 777621"/>
              <a:gd name="T18" fmla="*/ 283592 w 745629"/>
              <a:gd name="T19" fmla="*/ 766821 h 777621"/>
              <a:gd name="T20" fmla="*/ 373304 w 745629"/>
              <a:gd name="T21" fmla="*/ 778129 h 777621"/>
              <a:gd name="T22" fmla="*/ 463018 w 745629"/>
              <a:gd name="T23" fmla="*/ 766821 h 777621"/>
              <a:gd name="T24" fmla="*/ 569953 w 745629"/>
              <a:gd name="T25" fmla="*/ 719841 h 777621"/>
              <a:gd name="T26" fmla="*/ 618770 w 745629"/>
              <a:gd name="T27" fmla="*/ 682051 h 777621"/>
              <a:gd name="T28" fmla="*/ 366623 w 745629"/>
              <a:gd name="T29" fmla="*/ 680952 h 777621"/>
              <a:gd name="T30" fmla="*/ 306538 w 745629"/>
              <a:gd name="T31" fmla="*/ 630349 h 777621"/>
              <a:gd name="T32" fmla="*/ 305308 w 745629"/>
              <a:gd name="T33" fmla="*/ 600714 h 777621"/>
              <a:gd name="T34" fmla="*/ 355955 w 745629"/>
              <a:gd name="T35" fmla="*/ 540177 h 777621"/>
              <a:gd name="T36" fmla="*/ 718239 w 745629"/>
              <a:gd name="T37" fmla="*/ 537879 h 777621"/>
              <a:gd name="T38" fmla="*/ 727653 w 745629"/>
              <a:gd name="T39" fmla="*/ 511819 h 777621"/>
              <a:gd name="T40" fmla="*/ 359409 w 745629"/>
              <a:gd name="T41" fmla="*/ 510249 h 777621"/>
              <a:gd name="T42" fmla="*/ 308332 w 745629"/>
              <a:gd name="T43" fmla="*/ 452185 h 777621"/>
              <a:gd name="T44" fmla="*/ 308169 w 745629"/>
              <a:gd name="T45" fmla="*/ 158993 h 777621"/>
              <a:gd name="T46" fmla="*/ 331716 w 745629"/>
              <a:gd name="T47" fmla="*/ 110253 h 777621"/>
              <a:gd name="T48" fmla="*/ 618556 w 745629"/>
              <a:gd name="T49" fmla="*/ 95877 h 777621"/>
              <a:gd name="T50" fmla="*/ 569953 w 745629"/>
              <a:gd name="T51" fmla="*/ 58291 h 777621"/>
              <a:gd name="T52" fmla="*/ 463018 w 745629"/>
              <a:gd name="T53" fmla="*/ 11308 h 777621"/>
              <a:gd name="T54" fmla="*/ 373304 w 745629"/>
              <a:gd name="T55" fmla="*/ 0 h 777621"/>
              <a:gd name="T56" fmla="*/ 373304 w 745629"/>
              <a:gd name="T57" fmla="*/ 537879 h 777621"/>
              <a:gd name="T58" fmla="*/ 400680 w 745629"/>
              <a:gd name="T59" fmla="*/ 543714 h 777621"/>
              <a:gd name="T60" fmla="*/ 441633 w 745629"/>
              <a:gd name="T61" fmla="*/ 597015 h 777621"/>
              <a:gd name="T62" fmla="*/ 425353 w 745629"/>
              <a:gd name="T63" fmla="*/ 655975 h 777621"/>
              <a:gd name="T64" fmla="*/ 618770 w 745629"/>
              <a:gd name="T65" fmla="*/ 682051 h 777621"/>
              <a:gd name="T66" fmla="*/ 690690 w 745629"/>
              <a:gd name="T67" fmla="*/ 594015 h 777621"/>
              <a:gd name="T68" fmla="*/ 718239 w 745629"/>
              <a:gd name="T69" fmla="*/ 537879 h 777621"/>
              <a:gd name="T70" fmla="*/ 371191 w 745629"/>
              <a:gd name="T71" fmla="*/ 95877 h 777621"/>
              <a:gd name="T72" fmla="*/ 399896 w 745629"/>
              <a:gd name="T73" fmla="*/ 101945 h 777621"/>
              <a:gd name="T74" fmla="*/ 437423 w 745629"/>
              <a:gd name="T75" fmla="*/ 448691 h 777621"/>
              <a:gd name="T76" fmla="*/ 413879 w 745629"/>
              <a:gd name="T77" fmla="*/ 497434 h 777621"/>
              <a:gd name="T78" fmla="*/ 727653 w 745629"/>
              <a:gd name="T79" fmla="*/ 511819 h 777621"/>
              <a:gd name="T80" fmla="*/ 741736 w 745629"/>
              <a:gd name="T81" fmla="*/ 452185 h 777621"/>
              <a:gd name="T82" fmla="*/ 746621 w 745629"/>
              <a:gd name="T83" fmla="*/ 389077 h 777621"/>
              <a:gd name="T84" fmla="*/ 735772 w 745629"/>
              <a:gd name="T85" fmla="*/ 295576 h 777621"/>
              <a:gd name="T86" fmla="*/ 690690 w 745629"/>
              <a:gd name="T87" fmla="*/ 184126 h 777621"/>
              <a:gd name="T88" fmla="*/ 637280 w 745629"/>
              <a:gd name="T89" fmla="*/ 113956 h 77762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45629" h="777621">
                <a:moveTo>
                  <a:pt x="372808" y="0"/>
                </a:moveTo>
                <a:lnTo>
                  <a:pt x="312334" y="5088"/>
                </a:lnTo>
                <a:lnTo>
                  <a:pt x="254968" y="19822"/>
                </a:lnTo>
                <a:lnTo>
                  <a:pt x="201477" y="43399"/>
                </a:lnTo>
                <a:lnTo>
                  <a:pt x="152628" y="75019"/>
                </a:lnTo>
                <a:lnTo>
                  <a:pt x="109189" y="113882"/>
                </a:lnTo>
                <a:lnTo>
                  <a:pt x="71927" y="159187"/>
                </a:lnTo>
                <a:lnTo>
                  <a:pt x="41610" y="210135"/>
                </a:lnTo>
                <a:lnTo>
                  <a:pt x="19005" y="265923"/>
                </a:lnTo>
                <a:lnTo>
                  <a:pt x="4879" y="325753"/>
                </a:lnTo>
                <a:lnTo>
                  <a:pt x="0" y="388823"/>
                </a:lnTo>
                <a:lnTo>
                  <a:pt x="1235" y="420711"/>
                </a:lnTo>
                <a:lnTo>
                  <a:pt x="10834" y="482257"/>
                </a:lnTo>
                <a:lnTo>
                  <a:pt x="29295" y="540162"/>
                </a:lnTo>
                <a:lnTo>
                  <a:pt x="55853" y="593627"/>
                </a:lnTo>
                <a:lnTo>
                  <a:pt x="89738" y="641850"/>
                </a:lnTo>
                <a:lnTo>
                  <a:pt x="130185" y="684031"/>
                </a:lnTo>
                <a:lnTo>
                  <a:pt x="176425" y="719371"/>
                </a:lnTo>
                <a:lnTo>
                  <a:pt x="227690" y="747067"/>
                </a:lnTo>
                <a:lnTo>
                  <a:pt x="283215" y="766321"/>
                </a:lnTo>
                <a:lnTo>
                  <a:pt x="342231" y="776332"/>
                </a:lnTo>
                <a:lnTo>
                  <a:pt x="372808" y="777621"/>
                </a:lnTo>
                <a:lnTo>
                  <a:pt x="403385" y="776332"/>
                </a:lnTo>
                <a:lnTo>
                  <a:pt x="462402" y="766321"/>
                </a:lnTo>
                <a:lnTo>
                  <a:pt x="517928" y="747067"/>
                </a:lnTo>
                <a:lnTo>
                  <a:pt x="569195" y="719371"/>
                </a:lnTo>
                <a:lnTo>
                  <a:pt x="615437" y="684031"/>
                </a:lnTo>
                <a:lnTo>
                  <a:pt x="617948" y="681605"/>
                </a:lnTo>
                <a:lnTo>
                  <a:pt x="382372" y="681605"/>
                </a:lnTo>
                <a:lnTo>
                  <a:pt x="366135" y="680508"/>
                </a:lnTo>
                <a:lnTo>
                  <a:pt x="327272" y="663139"/>
                </a:lnTo>
                <a:lnTo>
                  <a:pt x="306130" y="629937"/>
                </a:lnTo>
                <a:lnTo>
                  <a:pt x="303677" y="616526"/>
                </a:lnTo>
                <a:lnTo>
                  <a:pt x="304902" y="600322"/>
                </a:lnTo>
                <a:lnTo>
                  <a:pt x="322447" y="561055"/>
                </a:lnTo>
                <a:lnTo>
                  <a:pt x="355482" y="539825"/>
                </a:lnTo>
                <a:lnTo>
                  <a:pt x="372808" y="537527"/>
                </a:lnTo>
                <a:lnTo>
                  <a:pt x="717285" y="537527"/>
                </a:lnTo>
                <a:lnTo>
                  <a:pt x="726623" y="511715"/>
                </a:lnTo>
                <a:lnTo>
                  <a:pt x="726686" y="511485"/>
                </a:lnTo>
                <a:lnTo>
                  <a:pt x="373913" y="511485"/>
                </a:lnTo>
                <a:lnTo>
                  <a:pt x="358931" y="509915"/>
                </a:lnTo>
                <a:lnTo>
                  <a:pt x="323083" y="489054"/>
                </a:lnTo>
                <a:lnTo>
                  <a:pt x="307922" y="451889"/>
                </a:lnTo>
                <a:lnTo>
                  <a:pt x="307797" y="325753"/>
                </a:lnTo>
                <a:lnTo>
                  <a:pt x="307759" y="158889"/>
                </a:lnTo>
                <a:lnTo>
                  <a:pt x="309414" y="144631"/>
                </a:lnTo>
                <a:lnTo>
                  <a:pt x="331275" y="110181"/>
                </a:lnTo>
                <a:lnTo>
                  <a:pt x="370697" y="95815"/>
                </a:lnTo>
                <a:lnTo>
                  <a:pt x="617734" y="95815"/>
                </a:lnTo>
                <a:lnTo>
                  <a:pt x="615437" y="93595"/>
                </a:lnTo>
                <a:lnTo>
                  <a:pt x="569195" y="58253"/>
                </a:lnTo>
                <a:lnTo>
                  <a:pt x="517928" y="30555"/>
                </a:lnTo>
                <a:lnTo>
                  <a:pt x="462402" y="11300"/>
                </a:lnTo>
                <a:lnTo>
                  <a:pt x="403385" y="1288"/>
                </a:lnTo>
                <a:lnTo>
                  <a:pt x="372808" y="0"/>
                </a:lnTo>
                <a:close/>
              </a:path>
              <a:path w="745629" h="777621">
                <a:moveTo>
                  <a:pt x="717285" y="537527"/>
                </a:moveTo>
                <a:lnTo>
                  <a:pt x="372808" y="537527"/>
                </a:lnTo>
                <a:lnTo>
                  <a:pt x="386972" y="539035"/>
                </a:lnTo>
                <a:lnTo>
                  <a:pt x="400148" y="543359"/>
                </a:lnTo>
                <a:lnTo>
                  <a:pt x="430845" y="570197"/>
                </a:lnTo>
                <a:lnTo>
                  <a:pt x="441046" y="596625"/>
                </a:lnTo>
                <a:lnTo>
                  <a:pt x="440219" y="614074"/>
                </a:lnTo>
                <a:lnTo>
                  <a:pt x="424787" y="655547"/>
                </a:lnTo>
                <a:lnTo>
                  <a:pt x="382372" y="681605"/>
                </a:lnTo>
                <a:lnTo>
                  <a:pt x="617948" y="681605"/>
                </a:lnTo>
                <a:lnTo>
                  <a:pt x="655885" y="641850"/>
                </a:lnTo>
                <a:lnTo>
                  <a:pt x="689772" y="593627"/>
                </a:lnTo>
                <a:lnTo>
                  <a:pt x="716331" y="540162"/>
                </a:lnTo>
                <a:lnTo>
                  <a:pt x="717285" y="537527"/>
                </a:lnTo>
                <a:close/>
              </a:path>
              <a:path w="745629" h="777621">
                <a:moveTo>
                  <a:pt x="617734" y="95815"/>
                </a:moveTo>
                <a:lnTo>
                  <a:pt x="370697" y="95815"/>
                </a:lnTo>
                <a:lnTo>
                  <a:pt x="385678" y="97385"/>
                </a:lnTo>
                <a:lnTo>
                  <a:pt x="399364" y="101879"/>
                </a:lnTo>
                <a:lnTo>
                  <a:pt x="429338" y="129423"/>
                </a:lnTo>
                <a:lnTo>
                  <a:pt x="436841" y="448398"/>
                </a:lnTo>
                <a:lnTo>
                  <a:pt x="435187" y="462656"/>
                </a:lnTo>
                <a:lnTo>
                  <a:pt x="413329" y="497110"/>
                </a:lnTo>
                <a:lnTo>
                  <a:pt x="373913" y="511485"/>
                </a:lnTo>
                <a:lnTo>
                  <a:pt x="726686" y="511485"/>
                </a:lnTo>
                <a:lnTo>
                  <a:pt x="734794" y="482257"/>
                </a:lnTo>
                <a:lnTo>
                  <a:pt x="740750" y="451889"/>
                </a:lnTo>
                <a:lnTo>
                  <a:pt x="744393" y="420711"/>
                </a:lnTo>
                <a:lnTo>
                  <a:pt x="745629" y="388823"/>
                </a:lnTo>
                <a:lnTo>
                  <a:pt x="744393" y="356933"/>
                </a:lnTo>
                <a:lnTo>
                  <a:pt x="734794" y="295383"/>
                </a:lnTo>
                <a:lnTo>
                  <a:pt x="716331" y="237474"/>
                </a:lnTo>
                <a:lnTo>
                  <a:pt x="689772" y="184006"/>
                </a:lnTo>
                <a:lnTo>
                  <a:pt x="655885" y="135779"/>
                </a:lnTo>
                <a:lnTo>
                  <a:pt x="636433" y="113882"/>
                </a:lnTo>
                <a:lnTo>
                  <a:pt x="617734" y="95815"/>
                </a:lnTo>
                <a:close/>
              </a:path>
            </a:pathLst>
          </a:custGeom>
          <a:solidFill>
            <a:schemeClr val="tx1"/>
          </a:solidFill>
          <a:ln>
            <a:noFill/>
          </a:ln>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4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bject 3">
            <a:extLst>
              <a:ext uri="{FF2B5EF4-FFF2-40B4-BE49-F238E27FC236}">
                <a16:creationId xmlns:a16="http://schemas.microsoft.com/office/drawing/2014/main" id="{1B63468E-FDC5-4508-8F43-A788EFB2B6F7}"/>
              </a:ext>
            </a:extLst>
          </p:cNvPr>
          <p:cNvSpPr>
            <a:spLocks/>
          </p:cNvSpPr>
          <p:nvPr/>
        </p:nvSpPr>
        <p:spPr bwMode="auto">
          <a:xfrm>
            <a:off x="2445" y="5795377"/>
            <a:ext cx="9140027" cy="118273"/>
          </a:xfrm>
          <a:custGeom>
            <a:avLst/>
            <a:gdLst>
              <a:gd name="T0" fmla="*/ 0 w 15825596"/>
              <a:gd name="T1" fmla="*/ 206628 h 204177"/>
              <a:gd name="T2" fmla="*/ 15826364 w 15825596"/>
              <a:gd name="T3" fmla="*/ 206628 h 204177"/>
              <a:gd name="T4" fmla="*/ 15826364 w 15825596"/>
              <a:gd name="T5" fmla="*/ 0 h 204177"/>
              <a:gd name="T6" fmla="*/ 0 w 15825596"/>
              <a:gd name="T7" fmla="*/ 0 h 204177"/>
              <a:gd name="T8" fmla="*/ 0 w 15825596"/>
              <a:gd name="T9" fmla="*/ 206628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15" name="object 4">
            <a:extLst>
              <a:ext uri="{FF2B5EF4-FFF2-40B4-BE49-F238E27FC236}">
                <a16:creationId xmlns:a16="http://schemas.microsoft.com/office/drawing/2014/main" id="{FD01E4A3-2DF8-4731-A7EC-37155434F1C5}"/>
              </a:ext>
            </a:extLst>
          </p:cNvPr>
          <p:cNvSpPr>
            <a:spLocks/>
          </p:cNvSpPr>
          <p:nvPr/>
        </p:nvSpPr>
        <p:spPr bwMode="auto">
          <a:xfrm>
            <a:off x="2445" y="5603756"/>
            <a:ext cx="1435779"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16" name="object 5">
            <a:extLst>
              <a:ext uri="{FF2B5EF4-FFF2-40B4-BE49-F238E27FC236}">
                <a16:creationId xmlns:a16="http://schemas.microsoft.com/office/drawing/2014/main" id="{4322E18B-9B34-4B40-B6A8-0D84574266CC}"/>
              </a:ext>
            </a:extLst>
          </p:cNvPr>
          <p:cNvSpPr>
            <a:spLocks/>
          </p:cNvSpPr>
          <p:nvPr/>
        </p:nvSpPr>
        <p:spPr bwMode="auto">
          <a:xfrm>
            <a:off x="2445" y="0"/>
            <a:ext cx="9140027"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17" name="object 6">
            <a:extLst>
              <a:ext uri="{FF2B5EF4-FFF2-40B4-BE49-F238E27FC236}">
                <a16:creationId xmlns:a16="http://schemas.microsoft.com/office/drawing/2014/main" id="{98228373-73AF-408F-8CCB-14F1394A83D5}"/>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18" name="object 7">
            <a:extLst>
              <a:ext uri="{FF2B5EF4-FFF2-40B4-BE49-F238E27FC236}">
                <a16:creationId xmlns:a16="http://schemas.microsoft.com/office/drawing/2014/main" id="{2964A4B6-6858-4F64-96DF-7D22D2AB3A58}"/>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a:solidFill>
                  <a:srgbClr val="ED1C24"/>
                </a:solidFill>
                <a:latin typeface="Gill Sans" pitchFamily="34" charset="0"/>
                <a:cs typeface="Gill Sans" pitchFamily="34" charset="0"/>
              </a:rPr>
              <a:t>23</a:t>
            </a:r>
            <a:endParaRPr lang="en-US" altLang="en-US" sz="2021">
              <a:latin typeface="Gill Sans" pitchFamily="34" charset="0"/>
              <a:cs typeface="Gill Sans" pitchFamily="34" charset="0"/>
            </a:endParaRPr>
          </a:p>
        </p:txBody>
      </p:sp>
      <p:sp>
        <p:nvSpPr>
          <p:cNvPr id="13319" name="object 8">
            <a:extLst>
              <a:ext uri="{FF2B5EF4-FFF2-40B4-BE49-F238E27FC236}">
                <a16:creationId xmlns:a16="http://schemas.microsoft.com/office/drawing/2014/main" id="{87FDD294-8031-4C81-8D98-453EA3FA58A9}"/>
              </a:ext>
            </a:extLst>
          </p:cNvPr>
          <p:cNvSpPr>
            <a:spLocks/>
          </p:cNvSpPr>
          <p:nvPr/>
        </p:nvSpPr>
        <p:spPr bwMode="auto">
          <a:xfrm>
            <a:off x="7137332" y="6343651"/>
            <a:ext cx="116440" cy="163198"/>
          </a:xfrm>
          <a:custGeom>
            <a:avLst/>
            <a:gdLst>
              <a:gd name="T0" fmla="*/ 5648 w 201527"/>
              <a:gd name="T1" fmla="*/ 197396 h 282176"/>
              <a:gd name="T2" fmla="*/ 8693 w 201527"/>
              <a:gd name="T3" fmla="*/ 258588 h 282176"/>
              <a:gd name="T4" fmla="*/ 49795 w 201527"/>
              <a:gd name="T5" fmla="*/ 276284 h 282176"/>
              <a:gd name="T6" fmla="*/ 90641 w 201527"/>
              <a:gd name="T7" fmla="*/ 283254 h 282176"/>
              <a:gd name="T8" fmla="*/ 107915 w 201527"/>
              <a:gd name="T9" fmla="*/ 283776 h 282176"/>
              <a:gd name="T10" fmla="*/ 123819 w 201527"/>
              <a:gd name="T11" fmla="*/ 282773 h 282176"/>
              <a:gd name="T12" fmla="*/ 165303 w 201527"/>
              <a:gd name="T13" fmla="*/ 270779 h 282176"/>
              <a:gd name="T14" fmla="*/ 194918 w 201527"/>
              <a:gd name="T15" fmla="*/ 245114 h 282176"/>
              <a:gd name="T16" fmla="*/ 201871 w 201527"/>
              <a:gd name="T17" fmla="*/ 232711 h 282176"/>
              <a:gd name="T18" fmla="*/ 89537 w 201527"/>
              <a:gd name="T19" fmla="*/ 232711 h 282176"/>
              <a:gd name="T20" fmla="*/ 78595 w 201527"/>
              <a:gd name="T21" fmla="*/ 231352 h 282176"/>
              <a:gd name="T22" fmla="*/ 33082 w 201527"/>
              <a:gd name="T23" fmla="*/ 214251 h 282176"/>
              <a:gd name="T24" fmla="*/ 19974 w 201527"/>
              <a:gd name="T25" fmla="*/ 206592 h 282176"/>
              <a:gd name="T26" fmla="*/ 5648 w 201527"/>
              <a:gd name="T27" fmla="*/ 197396 h 282176"/>
              <a:gd name="T28" fmla="*/ 97562 w 201527"/>
              <a:gd name="T29" fmla="*/ 0 h 282176"/>
              <a:gd name="T30" fmla="*/ 50219 w 201527"/>
              <a:gd name="T31" fmla="*/ 9555 h 282176"/>
              <a:gd name="T32" fmla="*/ 17183 w 201527"/>
              <a:gd name="T33" fmla="*/ 32599 h 282176"/>
              <a:gd name="T34" fmla="*/ 0 w 201527"/>
              <a:gd name="T35" fmla="*/ 80848 h 282176"/>
              <a:gd name="T36" fmla="*/ 1617 w 201527"/>
              <a:gd name="T37" fmla="*/ 96947 h 282176"/>
              <a:gd name="T38" fmla="*/ 20203 w 201527"/>
              <a:gd name="T39" fmla="*/ 133251 h 282176"/>
              <a:gd name="T40" fmla="*/ 52296 w 201527"/>
              <a:gd name="T41" fmla="*/ 156189 h 282176"/>
              <a:gd name="T42" fmla="*/ 100339 w 201527"/>
              <a:gd name="T43" fmla="*/ 176253 h 282176"/>
              <a:gd name="T44" fmla="*/ 111031 w 201527"/>
              <a:gd name="T45" fmla="*/ 180857 h 282176"/>
              <a:gd name="T46" fmla="*/ 139718 w 201527"/>
              <a:gd name="T47" fmla="*/ 212422 h 282176"/>
              <a:gd name="T48" fmla="*/ 135314 w 201527"/>
              <a:gd name="T49" fmla="*/ 221204 h 282176"/>
              <a:gd name="T50" fmla="*/ 125851 w 201527"/>
              <a:gd name="T51" fmla="*/ 227641 h 282176"/>
              <a:gd name="T52" fmla="*/ 110775 w 201527"/>
              <a:gd name="T53" fmla="*/ 231540 h 282176"/>
              <a:gd name="T54" fmla="*/ 89537 w 201527"/>
              <a:gd name="T55" fmla="*/ 232711 h 282176"/>
              <a:gd name="T56" fmla="*/ 201871 w 201527"/>
              <a:gd name="T57" fmla="*/ 232711 h 282176"/>
              <a:gd name="T58" fmla="*/ 206455 w 201527"/>
              <a:gd name="T59" fmla="*/ 220289 h 282176"/>
              <a:gd name="T60" fmla="*/ 209399 w 201527"/>
              <a:gd name="T61" fmla="*/ 205534 h 282176"/>
              <a:gd name="T62" fmla="*/ 210302 w 201527"/>
              <a:gd name="T63" fmla="*/ 189207 h 282176"/>
              <a:gd name="T64" fmla="*/ 207096 w 201527"/>
              <a:gd name="T65" fmla="*/ 174315 h 282176"/>
              <a:gd name="T66" fmla="*/ 184337 w 201527"/>
              <a:gd name="T67" fmla="*/ 140678 h 282176"/>
              <a:gd name="T68" fmla="*/ 149564 w 201527"/>
              <a:gd name="T69" fmla="*/ 118964 h 282176"/>
              <a:gd name="T70" fmla="*/ 112708 w 201527"/>
              <a:gd name="T71" fmla="*/ 103216 h 282176"/>
              <a:gd name="T72" fmla="*/ 101675 w 201527"/>
              <a:gd name="T73" fmla="*/ 98262 h 282176"/>
              <a:gd name="T74" fmla="*/ 72455 w 201527"/>
              <a:gd name="T75" fmla="*/ 65783 h 282176"/>
              <a:gd name="T76" fmla="*/ 80290 w 201527"/>
              <a:gd name="T77" fmla="*/ 57638 h 282176"/>
              <a:gd name="T78" fmla="*/ 93812 w 201527"/>
              <a:gd name="T79" fmla="*/ 52409 h 282176"/>
              <a:gd name="T80" fmla="*/ 112366 w 201527"/>
              <a:gd name="T81" fmla="*/ 50562 h 282176"/>
              <a:gd name="T82" fmla="*/ 197768 w 201527"/>
              <a:gd name="T83" fmla="*/ 50562 h 282176"/>
              <a:gd name="T84" fmla="*/ 197043 w 201527"/>
              <a:gd name="T85" fmla="*/ 20775 h 282176"/>
              <a:gd name="T86" fmla="*/ 160505 w 201527"/>
              <a:gd name="T87" fmla="*/ 7747 h 282176"/>
              <a:gd name="T88" fmla="*/ 111256 w 201527"/>
              <a:gd name="T89" fmla="*/ 250 h 282176"/>
              <a:gd name="T90" fmla="*/ 97562 w 201527"/>
              <a:gd name="T91" fmla="*/ 0 h 282176"/>
              <a:gd name="T92" fmla="*/ 197768 w 201527"/>
              <a:gd name="T93" fmla="*/ 50562 h 282176"/>
              <a:gd name="T94" fmla="*/ 112366 w 201527"/>
              <a:gd name="T95" fmla="*/ 50562 h 282176"/>
              <a:gd name="T96" fmla="*/ 122319 w 201527"/>
              <a:gd name="T97" fmla="*/ 51090 h 282176"/>
              <a:gd name="T98" fmla="*/ 132618 w 201527"/>
              <a:gd name="T99" fmla="*/ 52508 h 282176"/>
              <a:gd name="T100" fmla="*/ 182449 w 201527"/>
              <a:gd name="T101" fmla="*/ 68421 h 282176"/>
              <a:gd name="T102" fmla="*/ 198373 w 201527"/>
              <a:gd name="T103" fmla="*/ 75295 h 282176"/>
              <a:gd name="T104" fmla="*/ 197768 w 201527"/>
              <a:gd name="T105" fmla="*/ 50562 h 28217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1527" h="282176">
                <a:moveTo>
                  <a:pt x="5640" y="196283"/>
                </a:moveTo>
                <a:lnTo>
                  <a:pt x="8677" y="257130"/>
                </a:lnTo>
                <a:lnTo>
                  <a:pt x="49711" y="274727"/>
                </a:lnTo>
                <a:lnTo>
                  <a:pt x="90485" y="281658"/>
                </a:lnTo>
                <a:lnTo>
                  <a:pt x="107731" y="282176"/>
                </a:lnTo>
                <a:lnTo>
                  <a:pt x="123607" y="281179"/>
                </a:lnTo>
                <a:lnTo>
                  <a:pt x="165022" y="269253"/>
                </a:lnTo>
                <a:lnTo>
                  <a:pt x="194586" y="243732"/>
                </a:lnTo>
                <a:lnTo>
                  <a:pt x="201527" y="231399"/>
                </a:lnTo>
                <a:lnTo>
                  <a:pt x="89385" y="231399"/>
                </a:lnTo>
                <a:lnTo>
                  <a:pt x="78461" y="230048"/>
                </a:lnTo>
                <a:lnTo>
                  <a:pt x="33026" y="213043"/>
                </a:lnTo>
                <a:lnTo>
                  <a:pt x="19938" y="205428"/>
                </a:lnTo>
                <a:lnTo>
                  <a:pt x="5640" y="196283"/>
                </a:lnTo>
                <a:close/>
              </a:path>
              <a:path w="201527" h="282176">
                <a:moveTo>
                  <a:pt x="97394" y="0"/>
                </a:moveTo>
                <a:lnTo>
                  <a:pt x="50135" y="9503"/>
                </a:lnTo>
                <a:lnTo>
                  <a:pt x="17155" y="32415"/>
                </a:lnTo>
                <a:lnTo>
                  <a:pt x="0" y="80392"/>
                </a:lnTo>
                <a:lnTo>
                  <a:pt x="1613" y="96400"/>
                </a:lnTo>
                <a:lnTo>
                  <a:pt x="20167" y="132500"/>
                </a:lnTo>
                <a:lnTo>
                  <a:pt x="52208" y="155308"/>
                </a:lnTo>
                <a:lnTo>
                  <a:pt x="100167" y="175259"/>
                </a:lnTo>
                <a:lnTo>
                  <a:pt x="110843" y="179838"/>
                </a:lnTo>
                <a:lnTo>
                  <a:pt x="139478" y="211224"/>
                </a:lnTo>
                <a:lnTo>
                  <a:pt x="135082" y="219958"/>
                </a:lnTo>
                <a:lnTo>
                  <a:pt x="125635" y="226358"/>
                </a:lnTo>
                <a:lnTo>
                  <a:pt x="110587" y="230235"/>
                </a:lnTo>
                <a:lnTo>
                  <a:pt x="89385" y="231399"/>
                </a:lnTo>
                <a:lnTo>
                  <a:pt x="201527" y="231399"/>
                </a:lnTo>
                <a:lnTo>
                  <a:pt x="206103" y="219047"/>
                </a:lnTo>
                <a:lnTo>
                  <a:pt x="209043" y="204376"/>
                </a:lnTo>
                <a:lnTo>
                  <a:pt x="209942" y="188141"/>
                </a:lnTo>
                <a:lnTo>
                  <a:pt x="206744" y="173333"/>
                </a:lnTo>
                <a:lnTo>
                  <a:pt x="184021" y="139885"/>
                </a:lnTo>
                <a:lnTo>
                  <a:pt x="149308" y="118293"/>
                </a:lnTo>
                <a:lnTo>
                  <a:pt x="112516" y="102634"/>
                </a:lnTo>
                <a:lnTo>
                  <a:pt x="101503" y="97708"/>
                </a:lnTo>
                <a:lnTo>
                  <a:pt x="72331" y="65412"/>
                </a:lnTo>
                <a:lnTo>
                  <a:pt x="80154" y="57314"/>
                </a:lnTo>
                <a:lnTo>
                  <a:pt x="93652" y="52113"/>
                </a:lnTo>
                <a:lnTo>
                  <a:pt x="112174" y="50278"/>
                </a:lnTo>
                <a:lnTo>
                  <a:pt x="197432" y="50278"/>
                </a:lnTo>
                <a:lnTo>
                  <a:pt x="196707" y="20659"/>
                </a:lnTo>
                <a:lnTo>
                  <a:pt x="160233" y="7703"/>
                </a:lnTo>
                <a:lnTo>
                  <a:pt x="111068" y="250"/>
                </a:lnTo>
                <a:lnTo>
                  <a:pt x="97394" y="0"/>
                </a:lnTo>
                <a:close/>
              </a:path>
              <a:path w="201527" h="282176">
                <a:moveTo>
                  <a:pt x="197432" y="50278"/>
                </a:moveTo>
                <a:lnTo>
                  <a:pt x="112174" y="50278"/>
                </a:lnTo>
                <a:lnTo>
                  <a:pt x="122111" y="50802"/>
                </a:lnTo>
                <a:lnTo>
                  <a:pt x="132391" y="52212"/>
                </a:lnTo>
                <a:lnTo>
                  <a:pt x="182137" y="68036"/>
                </a:lnTo>
                <a:lnTo>
                  <a:pt x="198033" y="74871"/>
                </a:lnTo>
                <a:lnTo>
                  <a:pt x="197432" y="50278"/>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0" name="object 9">
            <a:extLst>
              <a:ext uri="{FF2B5EF4-FFF2-40B4-BE49-F238E27FC236}">
                <a16:creationId xmlns:a16="http://schemas.microsoft.com/office/drawing/2014/main" id="{3DB7A8E7-9E16-43CC-83DC-53249459D5C8}"/>
              </a:ext>
            </a:extLst>
          </p:cNvPr>
          <p:cNvSpPr>
            <a:spLocks/>
          </p:cNvSpPr>
          <p:nvPr/>
        </p:nvSpPr>
        <p:spPr bwMode="auto">
          <a:xfrm>
            <a:off x="7271192" y="6394994"/>
            <a:ext cx="115522" cy="111855"/>
          </a:xfrm>
          <a:custGeom>
            <a:avLst/>
            <a:gdLst>
              <a:gd name="T0" fmla="*/ 66160 w 200263"/>
              <a:gd name="T1" fmla="*/ 40331 h 192883"/>
              <a:gd name="T2" fmla="*/ 100019 w 200263"/>
              <a:gd name="T3" fmla="*/ 47269 h 192883"/>
              <a:gd name="T4" fmla="*/ 109478 w 200263"/>
              <a:gd name="T5" fmla="*/ 66314 h 192883"/>
              <a:gd name="T6" fmla="*/ 55182 w 200263"/>
              <a:gd name="T7" fmla="*/ 87170 h 192883"/>
              <a:gd name="T8" fmla="*/ 0 w 200263"/>
              <a:gd name="T9" fmla="*/ 139831 h 192883"/>
              <a:gd name="T10" fmla="*/ 24481 w 200263"/>
              <a:gd name="T11" fmla="*/ 188918 h 192883"/>
              <a:gd name="T12" fmla="*/ 62717 w 200263"/>
              <a:gd name="T13" fmla="*/ 195382 h 192883"/>
              <a:gd name="T14" fmla="*/ 85960 w 200263"/>
              <a:gd name="T15" fmla="*/ 189320 h 192883"/>
              <a:gd name="T16" fmla="*/ 110677 w 200263"/>
              <a:gd name="T17" fmla="*/ 175788 h 192883"/>
              <a:gd name="T18" fmla="*/ 196534 w 200263"/>
              <a:gd name="T19" fmla="*/ 159594 h 192883"/>
              <a:gd name="T20" fmla="*/ 69436 w 200263"/>
              <a:gd name="T21" fmla="*/ 157282 h 192883"/>
              <a:gd name="T22" fmla="*/ 61088 w 200263"/>
              <a:gd name="T23" fmla="*/ 136326 h 192883"/>
              <a:gd name="T24" fmla="*/ 72924 w 200263"/>
              <a:gd name="T25" fmla="*/ 118182 h 192883"/>
              <a:gd name="T26" fmla="*/ 98623 w 200263"/>
              <a:gd name="T27" fmla="*/ 105016 h 192883"/>
              <a:gd name="T28" fmla="*/ 167599 w 200263"/>
              <a:gd name="T29" fmla="*/ 57070 h 192883"/>
              <a:gd name="T30" fmla="*/ 165355 w 200263"/>
              <a:gd name="T31" fmla="*/ 40331 h 192883"/>
              <a:gd name="T32" fmla="*/ 110677 w 200263"/>
              <a:gd name="T33" fmla="*/ 175788 h 192883"/>
              <a:gd name="T34" fmla="*/ 127568 w 200263"/>
              <a:gd name="T35" fmla="*/ 193613 h 192883"/>
              <a:gd name="T36" fmla="*/ 154552 w 200263"/>
              <a:gd name="T37" fmla="*/ 195097 h 192883"/>
              <a:gd name="T38" fmla="*/ 179900 w 200263"/>
              <a:gd name="T39" fmla="*/ 188278 h 192883"/>
              <a:gd name="T40" fmla="*/ 193312 w 200263"/>
              <a:gd name="T41" fmla="*/ 175788 h 192883"/>
              <a:gd name="T42" fmla="*/ 98623 w 200263"/>
              <a:gd name="T43" fmla="*/ 105016 h 192883"/>
              <a:gd name="T44" fmla="*/ 98317 w 200263"/>
              <a:gd name="T45" fmla="*/ 154694 h 192883"/>
              <a:gd name="T46" fmla="*/ 196534 w 200263"/>
              <a:gd name="T47" fmla="*/ 159594 h 192883"/>
              <a:gd name="T48" fmla="*/ 171215 w 200263"/>
              <a:gd name="T49" fmla="*/ 156296 h 192883"/>
              <a:gd name="T50" fmla="*/ 167599 w 200263"/>
              <a:gd name="T51" fmla="*/ 105016 h 192883"/>
              <a:gd name="T52" fmla="*/ 185662 w 200263"/>
              <a:gd name="T53" fmla="*/ 155470 h 192883"/>
              <a:gd name="T54" fmla="*/ 197191 w 200263"/>
              <a:gd name="T55" fmla="*/ 156296 h 192883"/>
              <a:gd name="T56" fmla="*/ 100441 w 200263"/>
              <a:gd name="T57" fmla="*/ 0 h 192883"/>
              <a:gd name="T58" fmla="*/ 13463 w 200263"/>
              <a:gd name="T59" fmla="*/ 19943 h 192883"/>
              <a:gd name="T60" fmla="*/ 19011 w 200263"/>
              <a:gd name="T61" fmla="*/ 61883 h 192883"/>
              <a:gd name="T62" fmla="*/ 41787 w 200263"/>
              <a:gd name="T63" fmla="*/ 47806 h 192883"/>
              <a:gd name="T64" fmla="*/ 66160 w 200263"/>
              <a:gd name="T65" fmla="*/ 40331 h 192883"/>
              <a:gd name="T66" fmla="*/ 161356 w 200263"/>
              <a:gd name="T67" fmla="*/ 29561 h 192883"/>
              <a:gd name="T68" fmla="*/ 143844 w 200263"/>
              <a:gd name="T69" fmla="*/ 11526 h 192883"/>
              <a:gd name="T70" fmla="*/ 116889 w 200263"/>
              <a:gd name="T71" fmla="*/ 1941 h 1928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00263" h="192883">
                <a:moveTo>
                  <a:pt x="166143" y="39675"/>
                </a:moveTo>
                <a:lnTo>
                  <a:pt x="66476" y="39675"/>
                </a:lnTo>
                <a:lnTo>
                  <a:pt x="87228" y="41214"/>
                </a:lnTo>
                <a:lnTo>
                  <a:pt x="100495" y="46500"/>
                </a:lnTo>
                <a:lnTo>
                  <a:pt x="107634" y="54764"/>
                </a:lnTo>
                <a:lnTo>
                  <a:pt x="110000" y="65236"/>
                </a:lnTo>
                <a:lnTo>
                  <a:pt x="71420" y="79497"/>
                </a:lnTo>
                <a:lnTo>
                  <a:pt x="55446" y="85753"/>
                </a:lnTo>
                <a:lnTo>
                  <a:pt x="20078" y="104149"/>
                </a:lnTo>
                <a:lnTo>
                  <a:pt x="0" y="137558"/>
                </a:lnTo>
                <a:lnTo>
                  <a:pt x="1521" y="153132"/>
                </a:lnTo>
                <a:lnTo>
                  <a:pt x="24597" y="185847"/>
                </a:lnTo>
                <a:lnTo>
                  <a:pt x="51243" y="192883"/>
                </a:lnTo>
                <a:lnTo>
                  <a:pt x="63017" y="192206"/>
                </a:lnTo>
                <a:lnTo>
                  <a:pt x="74639" y="190052"/>
                </a:lnTo>
                <a:lnTo>
                  <a:pt x="86370" y="186242"/>
                </a:lnTo>
                <a:lnTo>
                  <a:pt x="98472" y="180595"/>
                </a:lnTo>
                <a:lnTo>
                  <a:pt x="111205" y="172930"/>
                </a:lnTo>
                <a:lnTo>
                  <a:pt x="194234" y="172930"/>
                </a:lnTo>
                <a:lnTo>
                  <a:pt x="197471" y="156999"/>
                </a:lnTo>
                <a:lnTo>
                  <a:pt x="86882" y="156999"/>
                </a:lnTo>
                <a:lnTo>
                  <a:pt x="69768" y="154725"/>
                </a:lnTo>
                <a:lnTo>
                  <a:pt x="60692" y="146842"/>
                </a:lnTo>
                <a:lnTo>
                  <a:pt x="61380" y="134110"/>
                </a:lnTo>
                <a:lnTo>
                  <a:pt x="65578" y="124180"/>
                </a:lnTo>
                <a:lnTo>
                  <a:pt x="73272" y="116262"/>
                </a:lnTo>
                <a:lnTo>
                  <a:pt x="84449" y="109568"/>
                </a:lnTo>
                <a:lnTo>
                  <a:pt x="99093" y="103309"/>
                </a:lnTo>
                <a:lnTo>
                  <a:pt x="168398" y="103309"/>
                </a:lnTo>
                <a:lnTo>
                  <a:pt x="168398" y="56143"/>
                </a:lnTo>
                <a:lnTo>
                  <a:pt x="166792" y="41385"/>
                </a:lnTo>
                <a:lnTo>
                  <a:pt x="166143" y="39675"/>
                </a:lnTo>
                <a:close/>
              </a:path>
              <a:path w="200263" h="192883">
                <a:moveTo>
                  <a:pt x="194234" y="172930"/>
                </a:moveTo>
                <a:lnTo>
                  <a:pt x="111205" y="172930"/>
                </a:lnTo>
                <a:lnTo>
                  <a:pt x="117916" y="183940"/>
                </a:lnTo>
                <a:lnTo>
                  <a:pt x="128176" y="190465"/>
                </a:lnTo>
                <a:lnTo>
                  <a:pt x="143253" y="192857"/>
                </a:lnTo>
                <a:lnTo>
                  <a:pt x="155289" y="191925"/>
                </a:lnTo>
                <a:lnTo>
                  <a:pt x="168023" y="189282"/>
                </a:lnTo>
                <a:lnTo>
                  <a:pt x="180758" y="185216"/>
                </a:lnTo>
                <a:lnTo>
                  <a:pt x="192795" y="180010"/>
                </a:lnTo>
                <a:lnTo>
                  <a:pt x="194234" y="172930"/>
                </a:lnTo>
                <a:close/>
              </a:path>
              <a:path w="200263" h="192883">
                <a:moveTo>
                  <a:pt x="168398" y="103309"/>
                </a:moveTo>
                <a:lnTo>
                  <a:pt x="99093" y="103309"/>
                </a:lnTo>
                <a:lnTo>
                  <a:pt x="109915" y="144078"/>
                </a:lnTo>
                <a:lnTo>
                  <a:pt x="98785" y="152179"/>
                </a:lnTo>
                <a:lnTo>
                  <a:pt x="86882" y="156999"/>
                </a:lnTo>
                <a:lnTo>
                  <a:pt x="197471" y="156999"/>
                </a:lnTo>
                <a:lnTo>
                  <a:pt x="198131" y="153755"/>
                </a:lnTo>
                <a:lnTo>
                  <a:pt x="172031" y="153755"/>
                </a:lnTo>
                <a:lnTo>
                  <a:pt x="168398" y="150123"/>
                </a:lnTo>
                <a:lnTo>
                  <a:pt x="168398" y="103309"/>
                </a:lnTo>
                <a:close/>
              </a:path>
              <a:path w="200263" h="192883">
                <a:moveTo>
                  <a:pt x="200263" y="143265"/>
                </a:moveTo>
                <a:lnTo>
                  <a:pt x="186547" y="152942"/>
                </a:lnTo>
                <a:lnTo>
                  <a:pt x="182102" y="153755"/>
                </a:lnTo>
                <a:lnTo>
                  <a:pt x="198131" y="153755"/>
                </a:lnTo>
                <a:lnTo>
                  <a:pt x="200263" y="143265"/>
                </a:lnTo>
                <a:close/>
              </a:path>
              <a:path w="200263" h="192883">
                <a:moveTo>
                  <a:pt x="100921" y="0"/>
                </a:moveTo>
                <a:lnTo>
                  <a:pt x="57782" y="3443"/>
                </a:lnTo>
                <a:lnTo>
                  <a:pt x="13527" y="19618"/>
                </a:lnTo>
                <a:lnTo>
                  <a:pt x="9077" y="69859"/>
                </a:lnTo>
                <a:lnTo>
                  <a:pt x="19103" y="60877"/>
                </a:lnTo>
                <a:lnTo>
                  <a:pt x="30182" y="53217"/>
                </a:lnTo>
                <a:lnTo>
                  <a:pt x="41987" y="47029"/>
                </a:lnTo>
                <a:lnTo>
                  <a:pt x="54194" y="42464"/>
                </a:lnTo>
                <a:lnTo>
                  <a:pt x="66476" y="39675"/>
                </a:lnTo>
                <a:lnTo>
                  <a:pt x="166143" y="39675"/>
                </a:lnTo>
                <a:lnTo>
                  <a:pt x="162125" y="29081"/>
                </a:lnTo>
                <a:lnTo>
                  <a:pt x="154628" y="19108"/>
                </a:lnTo>
                <a:lnTo>
                  <a:pt x="144530" y="11338"/>
                </a:lnTo>
                <a:lnTo>
                  <a:pt x="132059" y="5647"/>
                </a:lnTo>
                <a:lnTo>
                  <a:pt x="117446" y="1909"/>
                </a:lnTo>
                <a:lnTo>
                  <a:pt x="10092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1" name="object 10">
            <a:extLst>
              <a:ext uri="{FF2B5EF4-FFF2-40B4-BE49-F238E27FC236}">
                <a16:creationId xmlns:a16="http://schemas.microsoft.com/office/drawing/2014/main" id="{6B637CD9-D7B5-47ED-9101-46C5A5BA351A}"/>
              </a:ext>
            </a:extLst>
          </p:cNvPr>
          <p:cNvSpPr>
            <a:spLocks/>
          </p:cNvSpPr>
          <p:nvPr/>
        </p:nvSpPr>
        <p:spPr bwMode="auto">
          <a:xfrm>
            <a:off x="7382130" y="6396827"/>
            <a:ext cx="118273" cy="110021"/>
          </a:xfrm>
          <a:custGeom>
            <a:avLst/>
            <a:gdLst>
              <a:gd name="T0" fmla="*/ 63382 w 204089"/>
              <a:gd name="T1" fmla="*/ 0 h 189572"/>
              <a:gd name="T2" fmla="*/ 0 w 204089"/>
              <a:gd name="T3" fmla="*/ 0 h 189572"/>
              <a:gd name="T4" fmla="*/ 87097 w 204089"/>
              <a:gd name="T5" fmla="*/ 193312 h 189572"/>
              <a:gd name="T6" fmla="*/ 120210 w 204089"/>
              <a:gd name="T7" fmla="*/ 193312 h 189572"/>
              <a:gd name="T8" fmla="*/ 160049 w 204089"/>
              <a:gd name="T9" fmla="*/ 104471 h 189572"/>
              <a:gd name="T10" fmla="*/ 103447 w 204089"/>
              <a:gd name="T11" fmla="*/ 104471 h 189572"/>
              <a:gd name="T12" fmla="*/ 63382 w 204089"/>
              <a:gd name="T13" fmla="*/ 0 h 189572"/>
              <a:gd name="T14" fmla="*/ 206895 w 204089"/>
              <a:gd name="T15" fmla="*/ 0 h 189572"/>
              <a:gd name="T16" fmla="*/ 143939 w 204089"/>
              <a:gd name="T17" fmla="*/ 0 h 189572"/>
              <a:gd name="T18" fmla="*/ 103447 w 204089"/>
              <a:gd name="T19" fmla="*/ 104471 h 189572"/>
              <a:gd name="T20" fmla="*/ 160049 w 204089"/>
              <a:gd name="T21" fmla="*/ 104471 h 189572"/>
              <a:gd name="T22" fmla="*/ 206895 w 204089"/>
              <a:gd name="T23" fmla="*/ 0 h 1895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04089" h="189572">
                <a:moveTo>
                  <a:pt x="62522" y="0"/>
                </a:moveTo>
                <a:lnTo>
                  <a:pt x="0" y="0"/>
                </a:lnTo>
                <a:lnTo>
                  <a:pt x="85915" y="189572"/>
                </a:lnTo>
                <a:lnTo>
                  <a:pt x="118579" y="189572"/>
                </a:lnTo>
                <a:lnTo>
                  <a:pt x="157877" y="102450"/>
                </a:lnTo>
                <a:lnTo>
                  <a:pt x="102044" y="102450"/>
                </a:lnTo>
                <a:lnTo>
                  <a:pt x="62522" y="0"/>
                </a:lnTo>
                <a:close/>
              </a:path>
              <a:path w="204089" h="189572">
                <a:moveTo>
                  <a:pt x="204089" y="0"/>
                </a:moveTo>
                <a:lnTo>
                  <a:pt x="141986" y="0"/>
                </a:lnTo>
                <a:lnTo>
                  <a:pt x="102044" y="102450"/>
                </a:lnTo>
                <a:lnTo>
                  <a:pt x="157877" y="102450"/>
                </a:lnTo>
                <a:lnTo>
                  <a:pt x="204089"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2" name="object 11">
            <a:extLst>
              <a:ext uri="{FF2B5EF4-FFF2-40B4-BE49-F238E27FC236}">
                <a16:creationId xmlns:a16="http://schemas.microsoft.com/office/drawing/2014/main" id="{3693DB92-63D9-4282-9494-6D1D887D4197}"/>
              </a:ext>
            </a:extLst>
          </p:cNvPr>
          <p:cNvSpPr>
            <a:spLocks/>
          </p:cNvSpPr>
          <p:nvPr/>
        </p:nvSpPr>
        <p:spPr bwMode="auto">
          <a:xfrm>
            <a:off x="7504988" y="6394994"/>
            <a:ext cx="111855" cy="111855"/>
          </a:xfrm>
          <a:custGeom>
            <a:avLst/>
            <a:gdLst>
              <a:gd name="T0" fmla="*/ 105323 w 193899"/>
              <a:gd name="T1" fmla="*/ 0 h 192654"/>
              <a:gd name="T2" fmla="*/ 59216 w 193899"/>
              <a:gd name="T3" fmla="*/ 8036 h 192654"/>
              <a:gd name="T4" fmla="*/ 25147 w 193899"/>
              <a:gd name="T5" fmla="*/ 30773 h 192654"/>
              <a:gd name="T6" fmla="*/ 4911 w 193899"/>
              <a:gd name="T7" fmla="*/ 65473 h 192654"/>
              <a:gd name="T8" fmla="*/ 0 w 193899"/>
              <a:gd name="T9" fmla="*/ 93900 h 192654"/>
              <a:gd name="T10" fmla="*/ 897 w 193899"/>
              <a:gd name="T11" fmla="*/ 109938 h 192654"/>
              <a:gd name="T12" fmla="*/ 14099 w 193899"/>
              <a:gd name="T13" fmla="*/ 150716 h 192654"/>
              <a:gd name="T14" fmla="*/ 41508 w 193899"/>
              <a:gd name="T15" fmla="*/ 179451 h 192654"/>
              <a:gd name="T16" fmla="*/ 81131 w 193899"/>
              <a:gd name="T17" fmla="*/ 194801 h 192654"/>
              <a:gd name="T18" fmla="*/ 106981 w 193899"/>
              <a:gd name="T19" fmla="*/ 196770 h 192654"/>
              <a:gd name="T20" fmla="*/ 118137 w 193899"/>
              <a:gd name="T21" fmla="*/ 196460 h 192654"/>
              <a:gd name="T22" fmla="*/ 168425 w 193899"/>
              <a:gd name="T23" fmla="*/ 184789 h 192654"/>
              <a:gd name="T24" fmla="*/ 184734 w 193899"/>
              <a:gd name="T25" fmla="*/ 161176 h 192654"/>
              <a:gd name="T26" fmla="*/ 130737 w 193899"/>
              <a:gd name="T27" fmla="*/ 161176 h 192654"/>
              <a:gd name="T28" fmla="*/ 112327 w 193899"/>
              <a:gd name="T29" fmla="*/ 160133 h 192654"/>
              <a:gd name="T30" fmla="*/ 74066 w 193899"/>
              <a:gd name="T31" fmla="*/ 143115 h 192654"/>
              <a:gd name="T32" fmla="*/ 60116 w 193899"/>
              <a:gd name="T33" fmla="*/ 108068 h 192654"/>
              <a:gd name="T34" fmla="*/ 193005 w 193899"/>
              <a:gd name="T35" fmla="*/ 108068 h 192654"/>
              <a:gd name="T36" fmla="*/ 192698 w 193899"/>
              <a:gd name="T37" fmla="*/ 90798 h 192654"/>
              <a:gd name="T38" fmla="*/ 190679 w 193899"/>
              <a:gd name="T39" fmla="*/ 76753 h 192654"/>
              <a:gd name="T40" fmla="*/ 61319 w 193899"/>
              <a:gd name="T41" fmla="*/ 76753 h 192654"/>
              <a:gd name="T42" fmla="*/ 64705 w 193899"/>
              <a:gd name="T43" fmla="*/ 60917 h 192654"/>
              <a:gd name="T44" fmla="*/ 71464 w 193899"/>
              <a:gd name="T45" fmla="*/ 48620 h 192654"/>
              <a:gd name="T46" fmla="*/ 81314 w 193899"/>
              <a:gd name="T47" fmla="*/ 40133 h 192654"/>
              <a:gd name="T48" fmla="*/ 93964 w 193899"/>
              <a:gd name="T49" fmla="*/ 35728 h 192654"/>
              <a:gd name="T50" fmla="*/ 101468 w 193899"/>
              <a:gd name="T51" fmla="*/ 35140 h 192654"/>
              <a:gd name="T52" fmla="*/ 172513 w 193899"/>
              <a:gd name="T53" fmla="*/ 35140 h 192654"/>
              <a:gd name="T54" fmla="*/ 164473 w 193899"/>
              <a:gd name="T55" fmla="*/ 25911 h 192654"/>
              <a:gd name="T56" fmla="*/ 154525 w 193899"/>
              <a:gd name="T57" fmla="*/ 17470 h 192654"/>
              <a:gd name="T58" fmla="*/ 143488 w 193899"/>
              <a:gd name="T59" fmla="*/ 10623 h 192654"/>
              <a:gd name="T60" fmla="*/ 131511 w 193899"/>
              <a:gd name="T61" fmla="*/ 5405 h 192654"/>
              <a:gd name="T62" fmla="*/ 118739 w 193899"/>
              <a:gd name="T63" fmla="*/ 1854 h 192654"/>
              <a:gd name="T64" fmla="*/ 105323 w 193899"/>
              <a:gd name="T65" fmla="*/ 0 h 192654"/>
              <a:gd name="T66" fmla="*/ 189806 w 193899"/>
              <a:gd name="T67" fmla="*/ 134424 h 192654"/>
              <a:gd name="T68" fmla="*/ 152978 w 193899"/>
              <a:gd name="T69" fmla="*/ 155971 h 192654"/>
              <a:gd name="T70" fmla="*/ 130737 w 193899"/>
              <a:gd name="T71" fmla="*/ 161176 h 192654"/>
              <a:gd name="T72" fmla="*/ 184734 w 193899"/>
              <a:gd name="T73" fmla="*/ 161176 h 192654"/>
              <a:gd name="T74" fmla="*/ 189806 w 193899"/>
              <a:gd name="T75" fmla="*/ 134424 h 192654"/>
              <a:gd name="T76" fmla="*/ 172513 w 193899"/>
              <a:gd name="T77" fmla="*/ 35140 h 192654"/>
              <a:gd name="T78" fmla="*/ 101468 w 193899"/>
              <a:gd name="T79" fmla="*/ 35140 h 192654"/>
              <a:gd name="T80" fmla="*/ 115288 w 193899"/>
              <a:gd name="T81" fmla="*/ 37388 h 192654"/>
              <a:gd name="T82" fmla="*/ 126611 w 193899"/>
              <a:gd name="T83" fmla="*/ 43895 h 192654"/>
              <a:gd name="T84" fmla="*/ 135073 w 193899"/>
              <a:gd name="T85" fmla="*/ 54313 h 192654"/>
              <a:gd name="T86" fmla="*/ 140304 w 193899"/>
              <a:gd name="T87" fmla="*/ 68292 h 192654"/>
              <a:gd name="T88" fmla="*/ 61319 w 193899"/>
              <a:gd name="T89" fmla="*/ 76753 h 192654"/>
              <a:gd name="T90" fmla="*/ 190679 w 193899"/>
              <a:gd name="T91" fmla="*/ 76753 h 192654"/>
              <a:gd name="T92" fmla="*/ 190415 w 193899"/>
              <a:gd name="T93" fmla="*/ 74914 h 192654"/>
              <a:gd name="T94" fmla="*/ 186302 w 193899"/>
              <a:gd name="T95" fmla="*/ 60447 h 192654"/>
              <a:gd name="T96" fmla="*/ 180510 w 193899"/>
              <a:gd name="T97" fmla="*/ 47434 h 192654"/>
              <a:gd name="T98" fmla="*/ 173183 w 193899"/>
              <a:gd name="T99" fmla="*/ 35909 h 192654"/>
              <a:gd name="T100" fmla="*/ 172513 w 193899"/>
              <a:gd name="T101" fmla="*/ 35140 h 19265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4">
                <a:moveTo>
                  <a:pt x="105811" y="0"/>
                </a:moveTo>
                <a:lnTo>
                  <a:pt x="59491" y="7868"/>
                </a:lnTo>
                <a:lnTo>
                  <a:pt x="25263" y="30129"/>
                </a:lnTo>
                <a:lnTo>
                  <a:pt x="4935" y="64103"/>
                </a:lnTo>
                <a:lnTo>
                  <a:pt x="0" y="91936"/>
                </a:lnTo>
                <a:lnTo>
                  <a:pt x="901" y="107638"/>
                </a:lnTo>
                <a:lnTo>
                  <a:pt x="14163" y="147563"/>
                </a:lnTo>
                <a:lnTo>
                  <a:pt x="41700" y="175697"/>
                </a:lnTo>
                <a:lnTo>
                  <a:pt x="81507" y="190725"/>
                </a:lnTo>
                <a:lnTo>
                  <a:pt x="107477" y="192654"/>
                </a:lnTo>
                <a:lnTo>
                  <a:pt x="118685" y="192350"/>
                </a:lnTo>
                <a:lnTo>
                  <a:pt x="169205" y="180923"/>
                </a:lnTo>
                <a:lnTo>
                  <a:pt x="185590" y="157804"/>
                </a:lnTo>
                <a:lnTo>
                  <a:pt x="131343" y="157804"/>
                </a:lnTo>
                <a:lnTo>
                  <a:pt x="112847" y="156783"/>
                </a:lnTo>
                <a:lnTo>
                  <a:pt x="74410" y="140121"/>
                </a:lnTo>
                <a:lnTo>
                  <a:pt x="60396" y="105806"/>
                </a:lnTo>
                <a:lnTo>
                  <a:pt x="193899" y="105806"/>
                </a:lnTo>
                <a:lnTo>
                  <a:pt x="193591" y="88898"/>
                </a:lnTo>
                <a:lnTo>
                  <a:pt x="191563" y="75148"/>
                </a:lnTo>
                <a:lnTo>
                  <a:pt x="61603" y="75148"/>
                </a:lnTo>
                <a:lnTo>
                  <a:pt x="65005" y="59643"/>
                </a:lnTo>
                <a:lnTo>
                  <a:pt x="71796" y="47603"/>
                </a:lnTo>
                <a:lnTo>
                  <a:pt x="81690" y="39294"/>
                </a:lnTo>
                <a:lnTo>
                  <a:pt x="94400" y="34982"/>
                </a:lnTo>
                <a:lnTo>
                  <a:pt x="101938" y="34406"/>
                </a:lnTo>
                <a:lnTo>
                  <a:pt x="173313" y="34406"/>
                </a:lnTo>
                <a:lnTo>
                  <a:pt x="165235" y="25369"/>
                </a:lnTo>
                <a:lnTo>
                  <a:pt x="155241" y="17104"/>
                </a:lnTo>
                <a:lnTo>
                  <a:pt x="144153" y="10401"/>
                </a:lnTo>
                <a:lnTo>
                  <a:pt x="132120" y="5293"/>
                </a:lnTo>
                <a:lnTo>
                  <a:pt x="119289" y="1814"/>
                </a:lnTo>
                <a:lnTo>
                  <a:pt x="105811" y="0"/>
                </a:lnTo>
                <a:close/>
              </a:path>
              <a:path w="193899" h="192654">
                <a:moveTo>
                  <a:pt x="190686" y="131612"/>
                </a:moveTo>
                <a:lnTo>
                  <a:pt x="153687" y="152708"/>
                </a:lnTo>
                <a:lnTo>
                  <a:pt x="131343" y="157804"/>
                </a:lnTo>
                <a:lnTo>
                  <a:pt x="185590" y="157804"/>
                </a:lnTo>
                <a:lnTo>
                  <a:pt x="190686" y="131612"/>
                </a:lnTo>
                <a:close/>
              </a:path>
              <a:path w="193899" h="192654">
                <a:moveTo>
                  <a:pt x="173313" y="34406"/>
                </a:moveTo>
                <a:lnTo>
                  <a:pt x="101938" y="34406"/>
                </a:lnTo>
                <a:lnTo>
                  <a:pt x="115822" y="36606"/>
                </a:lnTo>
                <a:lnTo>
                  <a:pt x="127198" y="42977"/>
                </a:lnTo>
                <a:lnTo>
                  <a:pt x="135699" y="53177"/>
                </a:lnTo>
                <a:lnTo>
                  <a:pt x="140954" y="66864"/>
                </a:lnTo>
                <a:lnTo>
                  <a:pt x="61603" y="75148"/>
                </a:lnTo>
                <a:lnTo>
                  <a:pt x="191563" y="75148"/>
                </a:lnTo>
                <a:lnTo>
                  <a:pt x="191297" y="73346"/>
                </a:lnTo>
                <a:lnTo>
                  <a:pt x="187165" y="59182"/>
                </a:lnTo>
                <a:lnTo>
                  <a:pt x="181346" y="46442"/>
                </a:lnTo>
                <a:lnTo>
                  <a:pt x="173986" y="35159"/>
                </a:lnTo>
                <a:lnTo>
                  <a:pt x="173313" y="344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3" name="object 12">
            <a:extLst>
              <a:ext uri="{FF2B5EF4-FFF2-40B4-BE49-F238E27FC236}">
                <a16:creationId xmlns:a16="http://schemas.microsoft.com/office/drawing/2014/main" id="{A2D857CE-00FB-4F63-930E-964277541394}"/>
              </a:ext>
            </a:extLst>
          </p:cNvPr>
          <p:cNvSpPr>
            <a:spLocks/>
          </p:cNvSpPr>
          <p:nvPr/>
        </p:nvSpPr>
        <p:spPr bwMode="auto">
          <a:xfrm>
            <a:off x="7682855" y="6362904"/>
            <a:ext cx="88017" cy="143945"/>
          </a:xfrm>
          <a:custGeom>
            <a:avLst/>
            <a:gdLst>
              <a:gd name="T0" fmla="*/ 84075 w 152869"/>
              <a:gd name="T1" fmla="*/ 100399 h 248003"/>
              <a:gd name="T2" fmla="*/ 26294 w 152869"/>
              <a:gd name="T3" fmla="*/ 100399 h 248003"/>
              <a:gd name="T4" fmla="*/ 26332 w 152869"/>
              <a:gd name="T5" fmla="*/ 184975 h 248003"/>
              <a:gd name="T6" fmla="*/ 39811 w 152869"/>
              <a:gd name="T7" fmla="*/ 228777 h 248003"/>
              <a:gd name="T8" fmla="*/ 72699 w 152869"/>
              <a:gd name="T9" fmla="*/ 249507 h 248003"/>
              <a:gd name="T10" fmla="*/ 101939 w 152869"/>
              <a:gd name="T11" fmla="*/ 252980 h 248003"/>
              <a:gd name="T12" fmla="*/ 113774 w 152869"/>
              <a:gd name="T13" fmla="*/ 252026 h 248003"/>
              <a:gd name="T14" fmla="*/ 125508 w 152869"/>
              <a:gd name="T15" fmla="*/ 249829 h 248003"/>
              <a:gd name="T16" fmla="*/ 137725 w 152869"/>
              <a:gd name="T17" fmla="*/ 246235 h 248003"/>
              <a:gd name="T18" fmla="*/ 151001 w 152869"/>
              <a:gd name="T19" fmla="*/ 241103 h 248003"/>
              <a:gd name="T20" fmla="*/ 145656 w 152869"/>
              <a:gd name="T21" fmla="*/ 208794 h 248003"/>
              <a:gd name="T22" fmla="*/ 108262 w 152869"/>
              <a:gd name="T23" fmla="*/ 208794 h 248003"/>
              <a:gd name="T24" fmla="*/ 95145 w 152869"/>
              <a:gd name="T25" fmla="*/ 203994 h 248003"/>
              <a:gd name="T26" fmla="*/ 86923 w 152869"/>
              <a:gd name="T27" fmla="*/ 193608 h 248003"/>
              <a:gd name="T28" fmla="*/ 84075 w 152869"/>
              <a:gd name="T29" fmla="*/ 178569 h 248003"/>
              <a:gd name="T30" fmla="*/ 84075 w 152869"/>
              <a:gd name="T31" fmla="*/ 100399 h 248003"/>
              <a:gd name="T32" fmla="*/ 144399 w 152869"/>
              <a:gd name="T33" fmla="*/ 201200 h 248003"/>
              <a:gd name="T34" fmla="*/ 132589 w 152869"/>
              <a:gd name="T35" fmla="*/ 205750 h 248003"/>
              <a:gd name="T36" fmla="*/ 120968 w 152869"/>
              <a:gd name="T37" fmla="*/ 208178 h 248003"/>
              <a:gd name="T38" fmla="*/ 108262 w 152869"/>
              <a:gd name="T39" fmla="*/ 208794 h 248003"/>
              <a:gd name="T40" fmla="*/ 145656 w 152869"/>
              <a:gd name="T41" fmla="*/ 208794 h 248003"/>
              <a:gd name="T42" fmla="*/ 144399 w 152869"/>
              <a:gd name="T43" fmla="*/ 201200 h 248003"/>
              <a:gd name="T44" fmla="*/ 84075 w 152869"/>
              <a:gd name="T45" fmla="*/ 0 h 248003"/>
              <a:gd name="T46" fmla="*/ 76887 w 152869"/>
              <a:gd name="T47" fmla="*/ 0 h 248003"/>
              <a:gd name="T48" fmla="*/ 0 w 152869"/>
              <a:gd name="T49" fmla="*/ 88882 h 248003"/>
              <a:gd name="T50" fmla="*/ 0 w 152869"/>
              <a:gd name="T51" fmla="*/ 100399 h 248003"/>
              <a:gd name="T52" fmla="*/ 151001 w 152869"/>
              <a:gd name="T53" fmla="*/ 100399 h 248003"/>
              <a:gd name="T54" fmla="*/ 151001 w 152869"/>
              <a:gd name="T55" fmla="*/ 59670 h 248003"/>
              <a:gd name="T56" fmla="*/ 84075 w 152869"/>
              <a:gd name="T57" fmla="*/ 59670 h 248003"/>
              <a:gd name="T58" fmla="*/ 84075 w 152869"/>
              <a:gd name="T59" fmla="*/ 0 h 24800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2869" h="248003">
                <a:moveTo>
                  <a:pt x="85115" y="98424"/>
                </a:moveTo>
                <a:lnTo>
                  <a:pt x="26619" y="98424"/>
                </a:lnTo>
                <a:lnTo>
                  <a:pt x="26658" y="181335"/>
                </a:lnTo>
                <a:lnTo>
                  <a:pt x="40304" y="224276"/>
                </a:lnTo>
                <a:lnTo>
                  <a:pt x="73598" y="244599"/>
                </a:lnTo>
                <a:lnTo>
                  <a:pt x="103201" y="248003"/>
                </a:lnTo>
                <a:lnTo>
                  <a:pt x="115180" y="247068"/>
                </a:lnTo>
                <a:lnTo>
                  <a:pt x="127060" y="244913"/>
                </a:lnTo>
                <a:lnTo>
                  <a:pt x="139428" y="241391"/>
                </a:lnTo>
                <a:lnTo>
                  <a:pt x="152869" y="236359"/>
                </a:lnTo>
                <a:lnTo>
                  <a:pt x="147457" y="204687"/>
                </a:lnTo>
                <a:lnTo>
                  <a:pt x="109600" y="204687"/>
                </a:lnTo>
                <a:lnTo>
                  <a:pt x="96323" y="199980"/>
                </a:lnTo>
                <a:lnTo>
                  <a:pt x="87998" y="189799"/>
                </a:lnTo>
                <a:lnTo>
                  <a:pt x="85115" y="175056"/>
                </a:lnTo>
                <a:lnTo>
                  <a:pt x="85115" y="98424"/>
                </a:lnTo>
                <a:close/>
              </a:path>
              <a:path w="152869" h="248003">
                <a:moveTo>
                  <a:pt x="146184" y="197242"/>
                </a:moveTo>
                <a:lnTo>
                  <a:pt x="134229" y="201703"/>
                </a:lnTo>
                <a:lnTo>
                  <a:pt x="122464" y="204083"/>
                </a:lnTo>
                <a:lnTo>
                  <a:pt x="109600" y="204687"/>
                </a:lnTo>
                <a:lnTo>
                  <a:pt x="147457" y="204687"/>
                </a:lnTo>
                <a:lnTo>
                  <a:pt x="146184" y="197242"/>
                </a:lnTo>
                <a:close/>
              </a:path>
              <a:path w="152869" h="248003">
                <a:moveTo>
                  <a:pt x="85115" y="0"/>
                </a:moveTo>
                <a:lnTo>
                  <a:pt x="77838" y="0"/>
                </a:lnTo>
                <a:lnTo>
                  <a:pt x="0" y="87134"/>
                </a:lnTo>
                <a:lnTo>
                  <a:pt x="0" y="98424"/>
                </a:lnTo>
                <a:lnTo>
                  <a:pt x="152869" y="98424"/>
                </a:lnTo>
                <a:lnTo>
                  <a:pt x="152869" y="58496"/>
                </a:lnTo>
                <a:lnTo>
                  <a:pt x="85115" y="58496"/>
                </a:lnTo>
                <a:lnTo>
                  <a:pt x="85115"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4" name="object 13">
            <a:extLst>
              <a:ext uri="{FF2B5EF4-FFF2-40B4-BE49-F238E27FC236}">
                <a16:creationId xmlns:a16="http://schemas.microsoft.com/office/drawing/2014/main" id="{CD990BAE-E80E-4F48-8AE3-3EFB79C7803D}"/>
              </a:ext>
            </a:extLst>
          </p:cNvPr>
          <p:cNvSpPr>
            <a:spLocks/>
          </p:cNvSpPr>
          <p:nvPr/>
        </p:nvSpPr>
        <p:spPr bwMode="auto">
          <a:xfrm>
            <a:off x="7784625"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3 w 186347"/>
              <a:gd name="T19" fmla="*/ 124103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41 h 275069"/>
              <a:gd name="T44" fmla="*/ 179969 w 186347"/>
              <a:gd name="T45" fmla="*/ 129799 h 275069"/>
              <a:gd name="T46" fmla="*/ 113530 w 186347"/>
              <a:gd name="T47" fmla="*/ 85035 h 275069"/>
              <a:gd name="T48" fmla="*/ 68326 w 186347"/>
              <a:gd name="T49" fmla="*/ 104929 h 275069"/>
              <a:gd name="T50" fmla="*/ 58524 w 186347"/>
              <a:gd name="T51" fmla="*/ 115830 h 275069"/>
              <a:gd name="T52" fmla="*/ 173896 w 186347"/>
              <a:gd name="T53" fmla="*/ 115830 h 275069"/>
              <a:gd name="T54" fmla="*/ 140184 w 186347"/>
              <a:gd name="T55" fmla="*/ 89049 h 275069"/>
              <a:gd name="T56" fmla="*/ 113530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5" y="124886"/>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9"/>
                </a:lnTo>
                <a:lnTo>
                  <a:pt x="182341" y="130617"/>
                </a:lnTo>
                <a:close/>
              </a:path>
              <a:path w="186347" h="275069">
                <a:moveTo>
                  <a:pt x="115026" y="85571"/>
                </a:moveTo>
                <a:lnTo>
                  <a:pt x="69226" y="105591"/>
                </a:lnTo>
                <a:lnTo>
                  <a:pt x="59296" y="116560"/>
                </a:lnTo>
                <a:lnTo>
                  <a:pt x="176188" y="116560"/>
                </a:lnTo>
                <a:lnTo>
                  <a:pt x="142032" y="89611"/>
                </a:lnTo>
                <a:lnTo>
                  <a:pt x="115026"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5" name="object 14">
            <a:extLst>
              <a:ext uri="{FF2B5EF4-FFF2-40B4-BE49-F238E27FC236}">
                <a16:creationId xmlns:a16="http://schemas.microsoft.com/office/drawing/2014/main" id="{F795870D-5984-4EF1-A337-3EC05862A14E}"/>
              </a:ext>
            </a:extLst>
          </p:cNvPr>
          <p:cNvSpPr>
            <a:spLocks/>
          </p:cNvSpPr>
          <p:nvPr/>
        </p:nvSpPr>
        <p:spPr bwMode="auto">
          <a:xfrm>
            <a:off x="7909316" y="6394994"/>
            <a:ext cx="111855" cy="111855"/>
          </a:xfrm>
          <a:custGeom>
            <a:avLst/>
            <a:gdLst>
              <a:gd name="T0" fmla="*/ 105302 w 193899"/>
              <a:gd name="T1" fmla="*/ 0 h 192656"/>
              <a:gd name="T2" fmla="*/ 59204 w 193899"/>
              <a:gd name="T3" fmla="*/ 8039 h 192656"/>
              <a:gd name="T4" fmla="*/ 25139 w 193899"/>
              <a:gd name="T5" fmla="*/ 30778 h 192656"/>
              <a:gd name="T6" fmla="*/ 4907 w 193899"/>
              <a:gd name="T7" fmla="*/ 65485 h 192656"/>
              <a:gd name="T8" fmla="*/ 0 w 193899"/>
              <a:gd name="T9" fmla="*/ 93916 h 192656"/>
              <a:gd name="T10" fmla="*/ 898 w 193899"/>
              <a:gd name="T11" fmla="*/ 109949 h 192656"/>
              <a:gd name="T12" fmla="*/ 14100 w 193899"/>
              <a:gd name="T13" fmla="*/ 150724 h 192656"/>
              <a:gd name="T14" fmla="*/ 41512 w 193899"/>
              <a:gd name="T15" fmla="*/ 179453 h 192656"/>
              <a:gd name="T16" fmla="*/ 81142 w 193899"/>
              <a:gd name="T17" fmla="*/ 194798 h 192656"/>
              <a:gd name="T18" fmla="*/ 106991 w 193899"/>
              <a:gd name="T19" fmla="*/ 196764 h 192656"/>
              <a:gd name="T20" fmla="*/ 118144 w 193899"/>
              <a:gd name="T21" fmla="*/ 196453 h 192656"/>
              <a:gd name="T22" fmla="*/ 168440 w 193899"/>
              <a:gd name="T23" fmla="*/ 184772 h 192656"/>
              <a:gd name="T24" fmla="*/ 184738 w 193899"/>
              <a:gd name="T25" fmla="*/ 161171 h 192656"/>
              <a:gd name="T26" fmla="*/ 130724 w 193899"/>
              <a:gd name="T27" fmla="*/ 161171 h 192656"/>
              <a:gd name="T28" fmla="*/ 112313 w 193899"/>
              <a:gd name="T29" fmla="*/ 160127 h 192656"/>
              <a:gd name="T30" fmla="*/ 74058 w 193899"/>
              <a:gd name="T31" fmla="*/ 143105 h 192656"/>
              <a:gd name="T32" fmla="*/ 60117 w 193899"/>
              <a:gd name="T33" fmla="*/ 108064 h 192656"/>
              <a:gd name="T34" fmla="*/ 193005 w 193899"/>
              <a:gd name="T35" fmla="*/ 108064 h 192656"/>
              <a:gd name="T36" fmla="*/ 192695 w 193899"/>
              <a:gd name="T37" fmla="*/ 90794 h 192656"/>
              <a:gd name="T38" fmla="*/ 190674 w 193899"/>
              <a:gd name="T39" fmla="*/ 76752 h 192656"/>
              <a:gd name="T40" fmla="*/ 61320 w 193899"/>
              <a:gd name="T41" fmla="*/ 76752 h 192656"/>
              <a:gd name="T42" fmla="*/ 64703 w 193899"/>
              <a:gd name="T43" fmla="*/ 60912 h 192656"/>
              <a:gd name="T44" fmla="*/ 71465 w 193899"/>
              <a:gd name="T45" fmla="*/ 48615 h 192656"/>
              <a:gd name="T46" fmla="*/ 81319 w 193899"/>
              <a:gd name="T47" fmla="*/ 40130 h 192656"/>
              <a:gd name="T48" fmla="*/ 93967 w 193899"/>
              <a:gd name="T49" fmla="*/ 35727 h 192656"/>
              <a:gd name="T50" fmla="*/ 101456 w 193899"/>
              <a:gd name="T51" fmla="*/ 35141 h 192656"/>
              <a:gd name="T52" fmla="*/ 172504 w 193899"/>
              <a:gd name="T53" fmla="*/ 35141 h 192656"/>
              <a:gd name="T54" fmla="*/ 164459 w 193899"/>
              <a:gd name="T55" fmla="*/ 25907 h 192656"/>
              <a:gd name="T56" fmla="*/ 154509 w 193899"/>
              <a:gd name="T57" fmla="*/ 17466 h 192656"/>
              <a:gd name="T58" fmla="*/ 143471 w 193899"/>
              <a:gd name="T59" fmla="*/ 10621 h 192656"/>
              <a:gd name="T60" fmla="*/ 131492 w 193899"/>
              <a:gd name="T61" fmla="*/ 5403 h 192656"/>
              <a:gd name="T62" fmla="*/ 118720 w 193899"/>
              <a:gd name="T63" fmla="*/ 1853 h 192656"/>
              <a:gd name="T64" fmla="*/ 105302 w 193899"/>
              <a:gd name="T65" fmla="*/ 0 h 192656"/>
              <a:gd name="T66" fmla="*/ 189794 w 193899"/>
              <a:gd name="T67" fmla="*/ 134420 h 192656"/>
              <a:gd name="T68" fmla="*/ 152963 w 193899"/>
              <a:gd name="T69" fmla="*/ 155968 h 192656"/>
              <a:gd name="T70" fmla="*/ 130724 w 193899"/>
              <a:gd name="T71" fmla="*/ 161171 h 192656"/>
              <a:gd name="T72" fmla="*/ 184738 w 193899"/>
              <a:gd name="T73" fmla="*/ 161171 h 192656"/>
              <a:gd name="T74" fmla="*/ 189794 w 193899"/>
              <a:gd name="T75" fmla="*/ 134420 h 192656"/>
              <a:gd name="T76" fmla="*/ 172504 w 193899"/>
              <a:gd name="T77" fmla="*/ 35141 h 192656"/>
              <a:gd name="T78" fmla="*/ 101456 w 193899"/>
              <a:gd name="T79" fmla="*/ 35141 h 192656"/>
              <a:gd name="T80" fmla="*/ 115276 w 193899"/>
              <a:gd name="T81" fmla="*/ 37389 h 192656"/>
              <a:gd name="T82" fmla="*/ 126599 w 193899"/>
              <a:gd name="T83" fmla="*/ 43895 h 192656"/>
              <a:gd name="T84" fmla="*/ 135061 w 193899"/>
              <a:gd name="T85" fmla="*/ 54311 h 192656"/>
              <a:gd name="T86" fmla="*/ 140292 w 193899"/>
              <a:gd name="T87" fmla="*/ 68290 h 192656"/>
              <a:gd name="T88" fmla="*/ 61320 w 193899"/>
              <a:gd name="T89" fmla="*/ 76752 h 192656"/>
              <a:gd name="T90" fmla="*/ 190674 w 193899"/>
              <a:gd name="T91" fmla="*/ 76752 h 192656"/>
              <a:gd name="T92" fmla="*/ 190410 w 193899"/>
              <a:gd name="T93" fmla="*/ 74909 h 192656"/>
              <a:gd name="T94" fmla="*/ 186295 w 193899"/>
              <a:gd name="T95" fmla="*/ 60442 h 192656"/>
              <a:gd name="T96" fmla="*/ 180500 w 193899"/>
              <a:gd name="T97" fmla="*/ 47430 h 192656"/>
              <a:gd name="T98" fmla="*/ 173171 w 193899"/>
              <a:gd name="T99" fmla="*/ 35907 h 192656"/>
              <a:gd name="T100" fmla="*/ 172504 w 193899"/>
              <a:gd name="T101" fmla="*/ 35141 h 1926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6">
                <a:moveTo>
                  <a:pt x="105790" y="0"/>
                </a:moveTo>
                <a:lnTo>
                  <a:pt x="59479" y="7871"/>
                </a:lnTo>
                <a:lnTo>
                  <a:pt x="25255" y="30136"/>
                </a:lnTo>
                <a:lnTo>
                  <a:pt x="4931" y="64117"/>
                </a:lnTo>
                <a:lnTo>
                  <a:pt x="0" y="91955"/>
                </a:lnTo>
                <a:lnTo>
                  <a:pt x="902" y="107655"/>
                </a:lnTo>
                <a:lnTo>
                  <a:pt x="14164" y="147576"/>
                </a:lnTo>
                <a:lnTo>
                  <a:pt x="41704" y="175707"/>
                </a:lnTo>
                <a:lnTo>
                  <a:pt x="81518" y="190730"/>
                </a:lnTo>
                <a:lnTo>
                  <a:pt x="107487" y="192656"/>
                </a:lnTo>
                <a:lnTo>
                  <a:pt x="118692" y="192351"/>
                </a:lnTo>
                <a:lnTo>
                  <a:pt x="169220" y="180914"/>
                </a:lnTo>
                <a:lnTo>
                  <a:pt x="185594" y="157805"/>
                </a:lnTo>
                <a:lnTo>
                  <a:pt x="131330" y="157805"/>
                </a:lnTo>
                <a:lnTo>
                  <a:pt x="112833" y="156784"/>
                </a:lnTo>
                <a:lnTo>
                  <a:pt x="74402" y="140117"/>
                </a:lnTo>
                <a:lnTo>
                  <a:pt x="60397" y="105806"/>
                </a:lnTo>
                <a:lnTo>
                  <a:pt x="193899" y="105806"/>
                </a:lnTo>
                <a:lnTo>
                  <a:pt x="193588" y="88898"/>
                </a:lnTo>
                <a:lnTo>
                  <a:pt x="191558" y="75149"/>
                </a:lnTo>
                <a:lnTo>
                  <a:pt x="61604" y="75149"/>
                </a:lnTo>
                <a:lnTo>
                  <a:pt x="65003" y="59641"/>
                </a:lnTo>
                <a:lnTo>
                  <a:pt x="71797" y="47600"/>
                </a:lnTo>
                <a:lnTo>
                  <a:pt x="81695" y="39292"/>
                </a:lnTo>
                <a:lnTo>
                  <a:pt x="94403" y="34981"/>
                </a:lnTo>
                <a:lnTo>
                  <a:pt x="101926" y="34407"/>
                </a:lnTo>
                <a:lnTo>
                  <a:pt x="173304" y="34407"/>
                </a:lnTo>
                <a:lnTo>
                  <a:pt x="165221" y="25366"/>
                </a:lnTo>
                <a:lnTo>
                  <a:pt x="155225" y="17102"/>
                </a:lnTo>
                <a:lnTo>
                  <a:pt x="144136" y="10399"/>
                </a:lnTo>
                <a:lnTo>
                  <a:pt x="132101" y="5291"/>
                </a:lnTo>
                <a:lnTo>
                  <a:pt x="119270" y="1813"/>
                </a:lnTo>
                <a:lnTo>
                  <a:pt x="105790" y="0"/>
                </a:lnTo>
                <a:close/>
              </a:path>
              <a:path w="193899" h="192656">
                <a:moveTo>
                  <a:pt x="190674" y="131613"/>
                </a:moveTo>
                <a:lnTo>
                  <a:pt x="153672" y="152711"/>
                </a:lnTo>
                <a:lnTo>
                  <a:pt x="131330" y="157805"/>
                </a:lnTo>
                <a:lnTo>
                  <a:pt x="185594" y="157805"/>
                </a:lnTo>
                <a:lnTo>
                  <a:pt x="190674" y="131613"/>
                </a:lnTo>
                <a:close/>
              </a:path>
              <a:path w="193899" h="192656">
                <a:moveTo>
                  <a:pt x="173304" y="34407"/>
                </a:moveTo>
                <a:lnTo>
                  <a:pt x="101926" y="34407"/>
                </a:lnTo>
                <a:lnTo>
                  <a:pt x="115810" y="36607"/>
                </a:lnTo>
                <a:lnTo>
                  <a:pt x="127186" y="42978"/>
                </a:lnTo>
                <a:lnTo>
                  <a:pt x="135687" y="53177"/>
                </a:lnTo>
                <a:lnTo>
                  <a:pt x="140942" y="66864"/>
                </a:lnTo>
                <a:lnTo>
                  <a:pt x="61604" y="75149"/>
                </a:lnTo>
                <a:lnTo>
                  <a:pt x="191558" y="75149"/>
                </a:lnTo>
                <a:lnTo>
                  <a:pt x="191292" y="73345"/>
                </a:lnTo>
                <a:lnTo>
                  <a:pt x="187158" y="59180"/>
                </a:lnTo>
                <a:lnTo>
                  <a:pt x="181336" y="46439"/>
                </a:lnTo>
                <a:lnTo>
                  <a:pt x="173974" y="35157"/>
                </a:lnTo>
                <a:lnTo>
                  <a:pt x="173304"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6" name="object 15">
            <a:extLst>
              <a:ext uri="{FF2B5EF4-FFF2-40B4-BE49-F238E27FC236}">
                <a16:creationId xmlns:a16="http://schemas.microsoft.com/office/drawing/2014/main" id="{06FFF2E8-6307-4D9F-9F60-C57886433BD4}"/>
              </a:ext>
            </a:extLst>
          </p:cNvPr>
          <p:cNvSpPr>
            <a:spLocks/>
          </p:cNvSpPr>
          <p:nvPr/>
        </p:nvSpPr>
        <p:spPr bwMode="auto">
          <a:xfrm>
            <a:off x="8095435" y="6343651"/>
            <a:ext cx="154947" cy="163198"/>
          </a:xfrm>
          <a:custGeom>
            <a:avLst/>
            <a:gdLst>
              <a:gd name="T0" fmla="*/ 157946 w 268134"/>
              <a:gd name="T1" fmla="*/ 0 h 282037"/>
              <a:gd name="T2" fmla="*/ 108748 w 268134"/>
              <a:gd name="T3" fmla="*/ 7448 h 282037"/>
              <a:gd name="T4" fmla="*/ 68128 w 268134"/>
              <a:gd name="T5" fmla="*/ 25114 h 282037"/>
              <a:gd name="T6" fmla="*/ 36545 w 268134"/>
              <a:gd name="T7" fmla="*/ 51183 h 282037"/>
              <a:gd name="T8" fmla="*/ 14457 w 268134"/>
              <a:gd name="T9" fmla="*/ 83850 h 282037"/>
              <a:gd name="T10" fmla="*/ 2327 w 268134"/>
              <a:gd name="T11" fmla="*/ 121301 h 282037"/>
              <a:gd name="T12" fmla="*/ 0 w 268134"/>
              <a:gd name="T13" fmla="*/ 148032 h 282037"/>
              <a:gd name="T14" fmla="*/ 971 w 268134"/>
              <a:gd name="T15" fmla="*/ 160290 h 282037"/>
              <a:gd name="T16" fmla="*/ 15708 w 268134"/>
              <a:gd name="T17" fmla="*/ 207124 h 282037"/>
              <a:gd name="T18" fmla="*/ 48430 w 268134"/>
              <a:gd name="T19" fmla="*/ 246707 h 282037"/>
              <a:gd name="T20" fmla="*/ 85255 w 268134"/>
              <a:gd name="T21" fmla="*/ 268638 h 282037"/>
              <a:gd name="T22" fmla="*/ 132989 w 268134"/>
              <a:gd name="T23" fmla="*/ 281589 h 282037"/>
              <a:gd name="T24" fmla="*/ 171038 w 268134"/>
              <a:gd name="T25" fmla="*/ 284195 h 282037"/>
              <a:gd name="T26" fmla="*/ 183981 w 268134"/>
              <a:gd name="T27" fmla="*/ 283392 h 282037"/>
              <a:gd name="T28" fmla="*/ 231803 w 268134"/>
              <a:gd name="T29" fmla="*/ 273065 h 282037"/>
              <a:gd name="T30" fmla="*/ 268746 w 268134"/>
              <a:gd name="T31" fmla="*/ 256740 h 282037"/>
              <a:gd name="T32" fmla="*/ 267463 w 268134"/>
              <a:gd name="T33" fmla="*/ 226038 h 282037"/>
              <a:gd name="T34" fmla="*/ 155891 w 268134"/>
              <a:gd name="T35" fmla="*/ 226038 h 282037"/>
              <a:gd name="T36" fmla="*/ 141242 w 268134"/>
              <a:gd name="T37" fmla="*/ 223664 h 282037"/>
              <a:gd name="T38" fmla="*/ 104152 w 268134"/>
              <a:gd name="T39" fmla="*/ 206379 h 282037"/>
              <a:gd name="T40" fmla="*/ 79829 w 268134"/>
              <a:gd name="T41" fmla="*/ 174793 h 282037"/>
              <a:gd name="T42" fmla="*/ 71457 w 268134"/>
              <a:gd name="T43" fmla="*/ 130115 h 282037"/>
              <a:gd name="T44" fmla="*/ 74271 w 268134"/>
              <a:gd name="T45" fmla="*/ 117644 h 282037"/>
              <a:gd name="T46" fmla="*/ 104622 w 268134"/>
              <a:gd name="T47" fmla="*/ 77798 h 282037"/>
              <a:gd name="T48" fmla="*/ 145633 w 268134"/>
              <a:gd name="T49" fmla="*/ 61205 h 282037"/>
              <a:gd name="T50" fmla="*/ 180713 w 268134"/>
              <a:gd name="T51" fmla="*/ 57946 h 282037"/>
              <a:gd name="T52" fmla="*/ 262776 w 268134"/>
              <a:gd name="T53" fmla="*/ 57946 h 282037"/>
              <a:gd name="T54" fmla="*/ 259145 w 268134"/>
              <a:gd name="T55" fmla="*/ 20665 h 282037"/>
              <a:gd name="T56" fmla="*/ 214731 w 268134"/>
              <a:gd name="T57" fmla="*/ 5092 h 282037"/>
              <a:gd name="T58" fmla="*/ 173449 w 268134"/>
              <a:gd name="T59" fmla="*/ 288 h 282037"/>
              <a:gd name="T60" fmla="*/ 157946 w 268134"/>
              <a:gd name="T61" fmla="*/ 0 h 282037"/>
              <a:gd name="T62" fmla="*/ 266267 w 268134"/>
              <a:gd name="T63" fmla="*/ 197379 h 282037"/>
              <a:gd name="T64" fmla="*/ 231339 w 268134"/>
              <a:gd name="T65" fmla="*/ 213116 h 282037"/>
              <a:gd name="T66" fmla="*/ 184758 w 268134"/>
              <a:gd name="T67" fmla="*/ 224788 h 282037"/>
              <a:gd name="T68" fmla="*/ 155891 w 268134"/>
              <a:gd name="T69" fmla="*/ 226038 h 282037"/>
              <a:gd name="T70" fmla="*/ 267463 w 268134"/>
              <a:gd name="T71" fmla="*/ 226038 h 282037"/>
              <a:gd name="T72" fmla="*/ 266267 w 268134"/>
              <a:gd name="T73" fmla="*/ 197379 h 282037"/>
              <a:gd name="T74" fmla="*/ 262776 w 268134"/>
              <a:gd name="T75" fmla="*/ 57946 h 282037"/>
              <a:gd name="T76" fmla="*/ 180713 w 268134"/>
              <a:gd name="T77" fmla="*/ 57946 h 282037"/>
              <a:gd name="T78" fmla="*/ 193411 w 268134"/>
              <a:gd name="T79" fmla="*/ 59334 h 282037"/>
              <a:gd name="T80" fmla="*/ 205856 w 268134"/>
              <a:gd name="T81" fmla="*/ 61717 h 282037"/>
              <a:gd name="T82" fmla="*/ 242024 w 268134"/>
              <a:gd name="T83" fmla="*/ 74122 h 282037"/>
              <a:gd name="T84" fmla="*/ 265512 w 268134"/>
              <a:gd name="T85" fmla="*/ 86052 h 282037"/>
              <a:gd name="T86" fmla="*/ 262776 w 268134"/>
              <a:gd name="T87" fmla="*/ 57946 h 28203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68134" h="282037">
                <a:moveTo>
                  <a:pt x="157586" y="0"/>
                </a:moveTo>
                <a:lnTo>
                  <a:pt x="108500" y="7392"/>
                </a:lnTo>
                <a:lnTo>
                  <a:pt x="67972" y="24922"/>
                </a:lnTo>
                <a:lnTo>
                  <a:pt x="36461" y="50795"/>
                </a:lnTo>
                <a:lnTo>
                  <a:pt x="14425" y="83213"/>
                </a:lnTo>
                <a:lnTo>
                  <a:pt x="2323" y="120379"/>
                </a:lnTo>
                <a:lnTo>
                  <a:pt x="0" y="146908"/>
                </a:lnTo>
                <a:lnTo>
                  <a:pt x="967" y="159073"/>
                </a:lnTo>
                <a:lnTo>
                  <a:pt x="15672" y="205551"/>
                </a:lnTo>
                <a:lnTo>
                  <a:pt x="48318" y="244833"/>
                </a:lnTo>
                <a:lnTo>
                  <a:pt x="85059" y="266598"/>
                </a:lnTo>
                <a:lnTo>
                  <a:pt x="132685" y="279451"/>
                </a:lnTo>
                <a:lnTo>
                  <a:pt x="170649" y="282037"/>
                </a:lnTo>
                <a:lnTo>
                  <a:pt x="183561" y="281239"/>
                </a:lnTo>
                <a:lnTo>
                  <a:pt x="231275" y="270991"/>
                </a:lnTo>
                <a:lnTo>
                  <a:pt x="268134" y="254790"/>
                </a:lnTo>
                <a:lnTo>
                  <a:pt x="266854" y="224321"/>
                </a:lnTo>
                <a:lnTo>
                  <a:pt x="155535" y="224321"/>
                </a:lnTo>
                <a:lnTo>
                  <a:pt x="140920" y="221966"/>
                </a:lnTo>
                <a:lnTo>
                  <a:pt x="103916" y="204812"/>
                </a:lnTo>
                <a:lnTo>
                  <a:pt x="79648" y="173465"/>
                </a:lnTo>
                <a:lnTo>
                  <a:pt x="71293" y="129127"/>
                </a:lnTo>
                <a:lnTo>
                  <a:pt x="74103" y="116750"/>
                </a:lnTo>
                <a:lnTo>
                  <a:pt x="104382" y="77207"/>
                </a:lnTo>
                <a:lnTo>
                  <a:pt x="145301" y="60740"/>
                </a:lnTo>
                <a:lnTo>
                  <a:pt x="180301" y="57506"/>
                </a:lnTo>
                <a:lnTo>
                  <a:pt x="262176" y="57506"/>
                </a:lnTo>
                <a:lnTo>
                  <a:pt x="258553" y="20509"/>
                </a:lnTo>
                <a:lnTo>
                  <a:pt x="214243" y="5052"/>
                </a:lnTo>
                <a:lnTo>
                  <a:pt x="173053" y="284"/>
                </a:lnTo>
                <a:lnTo>
                  <a:pt x="157586" y="0"/>
                </a:lnTo>
                <a:close/>
              </a:path>
              <a:path w="268134" h="282037">
                <a:moveTo>
                  <a:pt x="265659" y="195880"/>
                </a:moveTo>
                <a:lnTo>
                  <a:pt x="230811" y="211498"/>
                </a:lnTo>
                <a:lnTo>
                  <a:pt x="184338" y="223081"/>
                </a:lnTo>
                <a:lnTo>
                  <a:pt x="155535" y="224321"/>
                </a:lnTo>
                <a:lnTo>
                  <a:pt x="266854" y="224321"/>
                </a:lnTo>
                <a:lnTo>
                  <a:pt x="265659" y="195880"/>
                </a:lnTo>
                <a:close/>
              </a:path>
              <a:path w="268134" h="282037">
                <a:moveTo>
                  <a:pt x="262176" y="57506"/>
                </a:moveTo>
                <a:lnTo>
                  <a:pt x="180301" y="57506"/>
                </a:lnTo>
                <a:lnTo>
                  <a:pt x="192971" y="58883"/>
                </a:lnTo>
                <a:lnTo>
                  <a:pt x="205388" y="61248"/>
                </a:lnTo>
                <a:lnTo>
                  <a:pt x="241472" y="73559"/>
                </a:lnTo>
                <a:lnTo>
                  <a:pt x="264908" y="85398"/>
                </a:lnTo>
                <a:lnTo>
                  <a:pt x="262176" y="57506"/>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7" name="object 16">
            <a:extLst>
              <a:ext uri="{FF2B5EF4-FFF2-40B4-BE49-F238E27FC236}">
                <a16:creationId xmlns:a16="http://schemas.microsoft.com/office/drawing/2014/main" id="{021DEE31-15C1-45AB-992B-C655C3D0CBC9}"/>
              </a:ext>
            </a:extLst>
          </p:cNvPr>
          <p:cNvSpPr>
            <a:spLocks/>
          </p:cNvSpPr>
          <p:nvPr/>
        </p:nvSpPr>
        <p:spPr bwMode="auto">
          <a:xfrm>
            <a:off x="8274220" y="6345484"/>
            <a:ext cx="107271" cy="158614"/>
          </a:xfrm>
          <a:custGeom>
            <a:avLst/>
            <a:gdLst>
              <a:gd name="T0" fmla="*/ 57722 w 186347"/>
              <a:gd name="T1" fmla="*/ 0 h 275069"/>
              <a:gd name="T2" fmla="*/ 0 w 186347"/>
              <a:gd name="T3" fmla="*/ 0 h 275069"/>
              <a:gd name="T4" fmla="*/ 0 w 186347"/>
              <a:gd name="T5" fmla="*/ 273345 h 275069"/>
              <a:gd name="T6" fmla="*/ 57722 w 186347"/>
              <a:gd name="T7" fmla="*/ 273345 h 275069"/>
              <a:gd name="T8" fmla="*/ 63821 w 186347"/>
              <a:gd name="T9" fmla="*/ 147321 h 275069"/>
              <a:gd name="T10" fmla="*/ 72499 w 186347"/>
              <a:gd name="T11" fmla="*/ 138500 h 275069"/>
              <a:gd name="T12" fmla="*/ 82227 w 186347"/>
              <a:gd name="T13" fmla="*/ 132667 h 275069"/>
              <a:gd name="T14" fmla="*/ 93928 w 186347"/>
              <a:gd name="T15" fmla="*/ 129799 h 275069"/>
              <a:gd name="T16" fmla="*/ 179969 w 186347"/>
              <a:gd name="T17" fmla="*/ 129799 h 275069"/>
              <a:gd name="T18" fmla="*/ 178372 w 186347"/>
              <a:gd name="T19" fmla="*/ 124102 h 275069"/>
              <a:gd name="T20" fmla="*/ 173896 w 186347"/>
              <a:gd name="T21" fmla="*/ 115830 h 275069"/>
              <a:gd name="T22" fmla="*/ 57722 w 186347"/>
              <a:gd name="T23" fmla="*/ 115830 h 275069"/>
              <a:gd name="T24" fmla="*/ 57722 w 186347"/>
              <a:gd name="T25" fmla="*/ 0 h 275069"/>
              <a:gd name="T26" fmla="*/ 179969 w 186347"/>
              <a:gd name="T27" fmla="*/ 129799 h 275069"/>
              <a:gd name="T28" fmla="*/ 93928 w 186347"/>
              <a:gd name="T29" fmla="*/ 129799 h 275069"/>
              <a:gd name="T30" fmla="*/ 108529 w 186347"/>
              <a:gd name="T31" fmla="*/ 129873 h 275069"/>
              <a:gd name="T32" fmla="*/ 117971 w 186347"/>
              <a:gd name="T33" fmla="*/ 137300 h 275069"/>
              <a:gd name="T34" fmla="*/ 124049 w 186347"/>
              <a:gd name="T35" fmla="*/ 149925 h 275069"/>
              <a:gd name="T36" fmla="*/ 126199 w 186347"/>
              <a:gd name="T37" fmla="*/ 167939 h 275069"/>
              <a:gd name="T38" fmla="*/ 126199 w 186347"/>
              <a:gd name="T39" fmla="*/ 273345 h 275069"/>
              <a:gd name="T40" fmla="*/ 183923 w 186347"/>
              <a:gd name="T41" fmla="*/ 273345 h 275069"/>
              <a:gd name="T42" fmla="*/ 182584 w 186347"/>
              <a:gd name="T43" fmla="*/ 139139 h 275069"/>
              <a:gd name="T44" fmla="*/ 179969 w 186347"/>
              <a:gd name="T45" fmla="*/ 129799 h 275069"/>
              <a:gd name="T46" fmla="*/ 113529 w 186347"/>
              <a:gd name="T47" fmla="*/ 85035 h 275069"/>
              <a:gd name="T48" fmla="*/ 68325 w 186347"/>
              <a:gd name="T49" fmla="*/ 104929 h 275069"/>
              <a:gd name="T50" fmla="*/ 58524 w 186347"/>
              <a:gd name="T51" fmla="*/ 115830 h 275069"/>
              <a:gd name="T52" fmla="*/ 173896 w 186347"/>
              <a:gd name="T53" fmla="*/ 115830 h 275069"/>
              <a:gd name="T54" fmla="*/ 140183 w 186347"/>
              <a:gd name="T55" fmla="*/ 89049 h 275069"/>
              <a:gd name="T56" fmla="*/ 113529 w 186347"/>
              <a:gd name="T57" fmla="*/ 85035 h 2750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347" h="275069">
                <a:moveTo>
                  <a:pt x="58483" y="0"/>
                </a:moveTo>
                <a:lnTo>
                  <a:pt x="0" y="0"/>
                </a:lnTo>
                <a:lnTo>
                  <a:pt x="0" y="275069"/>
                </a:lnTo>
                <a:lnTo>
                  <a:pt x="58483" y="275069"/>
                </a:lnTo>
                <a:lnTo>
                  <a:pt x="64662" y="148250"/>
                </a:lnTo>
                <a:lnTo>
                  <a:pt x="73454" y="139374"/>
                </a:lnTo>
                <a:lnTo>
                  <a:pt x="83310" y="133504"/>
                </a:lnTo>
                <a:lnTo>
                  <a:pt x="95166" y="130617"/>
                </a:lnTo>
                <a:lnTo>
                  <a:pt x="182341" y="130617"/>
                </a:lnTo>
                <a:lnTo>
                  <a:pt x="180724" y="124885"/>
                </a:lnTo>
                <a:lnTo>
                  <a:pt x="176188" y="116560"/>
                </a:lnTo>
                <a:lnTo>
                  <a:pt x="58483" y="116560"/>
                </a:lnTo>
                <a:lnTo>
                  <a:pt x="58483" y="0"/>
                </a:lnTo>
                <a:close/>
              </a:path>
              <a:path w="186347" h="275069">
                <a:moveTo>
                  <a:pt x="182341" y="130617"/>
                </a:moveTo>
                <a:lnTo>
                  <a:pt x="95166" y="130617"/>
                </a:lnTo>
                <a:lnTo>
                  <a:pt x="109959" y="130692"/>
                </a:lnTo>
                <a:lnTo>
                  <a:pt x="119526" y="138166"/>
                </a:lnTo>
                <a:lnTo>
                  <a:pt x="125684" y="150871"/>
                </a:lnTo>
                <a:lnTo>
                  <a:pt x="127863" y="168998"/>
                </a:lnTo>
                <a:lnTo>
                  <a:pt x="127863" y="275069"/>
                </a:lnTo>
                <a:lnTo>
                  <a:pt x="186347" y="275069"/>
                </a:lnTo>
                <a:lnTo>
                  <a:pt x="184992" y="140017"/>
                </a:lnTo>
                <a:lnTo>
                  <a:pt x="182341" y="130617"/>
                </a:lnTo>
                <a:close/>
              </a:path>
              <a:path w="186347" h="275069">
                <a:moveTo>
                  <a:pt x="115025" y="85571"/>
                </a:moveTo>
                <a:lnTo>
                  <a:pt x="69225" y="105591"/>
                </a:lnTo>
                <a:lnTo>
                  <a:pt x="59296" y="116560"/>
                </a:lnTo>
                <a:lnTo>
                  <a:pt x="176188" y="116560"/>
                </a:lnTo>
                <a:lnTo>
                  <a:pt x="142031" y="89611"/>
                </a:lnTo>
                <a:lnTo>
                  <a:pt x="115025" y="85571"/>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8" name="object 17">
            <a:extLst>
              <a:ext uri="{FF2B5EF4-FFF2-40B4-BE49-F238E27FC236}">
                <a16:creationId xmlns:a16="http://schemas.microsoft.com/office/drawing/2014/main" id="{7DD6919A-561A-450A-9520-576B2D13DE6C}"/>
              </a:ext>
            </a:extLst>
          </p:cNvPr>
          <p:cNvSpPr>
            <a:spLocks/>
          </p:cNvSpPr>
          <p:nvPr/>
        </p:nvSpPr>
        <p:spPr bwMode="auto">
          <a:xfrm>
            <a:off x="8405329" y="6396827"/>
            <a:ext cx="33923" cy="107271"/>
          </a:xfrm>
          <a:custGeom>
            <a:avLst/>
            <a:gdLst>
              <a:gd name="T0" fmla="*/ 59505 w 58483"/>
              <a:gd name="T1" fmla="*/ 185129 h 185940"/>
              <a:gd name="T2" fmla="*/ 0 w 58483"/>
              <a:gd name="T3" fmla="*/ 185129 h 185940"/>
              <a:gd name="T4" fmla="*/ 0 w 58483"/>
              <a:gd name="T5" fmla="*/ 0 h 185940"/>
              <a:gd name="T6" fmla="*/ 59505 w 58483"/>
              <a:gd name="T7" fmla="*/ 0 h 185940"/>
              <a:gd name="T8" fmla="*/ 59505 w 58483"/>
              <a:gd name="T9" fmla="*/ 185129 h 1859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185940">
                <a:moveTo>
                  <a:pt x="58483" y="185940"/>
                </a:moveTo>
                <a:lnTo>
                  <a:pt x="0" y="185940"/>
                </a:lnTo>
                <a:lnTo>
                  <a:pt x="0" y="0"/>
                </a:lnTo>
                <a:lnTo>
                  <a:pt x="58483" y="0"/>
                </a:lnTo>
                <a:lnTo>
                  <a:pt x="58483" y="18594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29" name="object 18">
            <a:extLst>
              <a:ext uri="{FF2B5EF4-FFF2-40B4-BE49-F238E27FC236}">
                <a16:creationId xmlns:a16="http://schemas.microsoft.com/office/drawing/2014/main" id="{3368EFA1-C020-4FBB-9149-41D00ACA291D}"/>
              </a:ext>
            </a:extLst>
          </p:cNvPr>
          <p:cNvSpPr>
            <a:spLocks/>
          </p:cNvSpPr>
          <p:nvPr/>
        </p:nvSpPr>
        <p:spPr bwMode="auto">
          <a:xfrm>
            <a:off x="8403496" y="6344567"/>
            <a:ext cx="37590" cy="35757"/>
          </a:xfrm>
          <a:custGeom>
            <a:avLst/>
            <a:gdLst>
              <a:gd name="T0" fmla="*/ 23399 w 64473"/>
              <a:gd name="T1" fmla="*/ 0 h 61899"/>
              <a:gd name="T2" fmla="*/ 11296 w 64473"/>
              <a:gd name="T3" fmla="*/ 6800 h 61899"/>
              <a:gd name="T4" fmla="*/ 3032 w 64473"/>
              <a:gd name="T5" fmla="*/ 18063 h 61899"/>
              <a:gd name="T6" fmla="*/ 0 w 64473"/>
              <a:gd name="T7" fmla="*/ 32683 h 61899"/>
              <a:gd name="T8" fmla="*/ 3347 w 64473"/>
              <a:gd name="T9" fmla="*/ 44535 h 61899"/>
              <a:gd name="T10" fmla="*/ 11667 w 64473"/>
              <a:gd name="T11" fmla="*/ 54062 h 61899"/>
              <a:gd name="T12" fmla="*/ 24719 w 64473"/>
              <a:gd name="T13" fmla="*/ 60220 h 61899"/>
              <a:gd name="T14" fmla="*/ 42255 w 64473"/>
              <a:gd name="T15" fmla="*/ 61955 h 61899"/>
              <a:gd name="T16" fmla="*/ 54972 w 64473"/>
              <a:gd name="T17" fmla="*/ 55506 h 61899"/>
              <a:gd name="T18" fmla="*/ 63712 w 64473"/>
              <a:gd name="T19" fmla="*/ 44628 h 61899"/>
              <a:gd name="T20" fmla="*/ 66965 w 64473"/>
              <a:gd name="T21" fmla="*/ 30792 h 61899"/>
              <a:gd name="T22" fmla="*/ 66819 w 64473"/>
              <a:gd name="T23" fmla="*/ 27801 h 61899"/>
              <a:gd name="T24" fmla="*/ 63135 w 64473"/>
              <a:gd name="T25" fmla="*/ 16350 h 61899"/>
              <a:gd name="T26" fmla="*/ 54582 w 64473"/>
              <a:gd name="T27" fmla="*/ 7227 h 61899"/>
              <a:gd name="T28" fmla="*/ 41294 w 64473"/>
              <a:gd name="T29" fmla="*/ 1439 h 61899"/>
              <a:gd name="T30" fmla="*/ 23399 w 64473"/>
              <a:gd name="T31" fmla="*/ 0 h 6189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4473" h="61899">
                <a:moveTo>
                  <a:pt x="22527" y="0"/>
                </a:moveTo>
                <a:lnTo>
                  <a:pt x="10874" y="6792"/>
                </a:lnTo>
                <a:lnTo>
                  <a:pt x="2919" y="18047"/>
                </a:lnTo>
                <a:lnTo>
                  <a:pt x="0" y="32655"/>
                </a:lnTo>
                <a:lnTo>
                  <a:pt x="3222" y="44495"/>
                </a:lnTo>
                <a:lnTo>
                  <a:pt x="11233" y="54014"/>
                </a:lnTo>
                <a:lnTo>
                  <a:pt x="23799" y="60164"/>
                </a:lnTo>
                <a:lnTo>
                  <a:pt x="40683" y="61899"/>
                </a:lnTo>
                <a:lnTo>
                  <a:pt x="52926" y="55454"/>
                </a:lnTo>
                <a:lnTo>
                  <a:pt x="61342" y="44588"/>
                </a:lnTo>
                <a:lnTo>
                  <a:pt x="64473" y="30764"/>
                </a:lnTo>
                <a:lnTo>
                  <a:pt x="64333" y="27777"/>
                </a:lnTo>
                <a:lnTo>
                  <a:pt x="60786" y="16334"/>
                </a:lnTo>
                <a:lnTo>
                  <a:pt x="52552" y="7219"/>
                </a:lnTo>
                <a:lnTo>
                  <a:pt x="39757" y="1439"/>
                </a:lnTo>
                <a:lnTo>
                  <a:pt x="22527"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30" name="object 19">
            <a:extLst>
              <a:ext uri="{FF2B5EF4-FFF2-40B4-BE49-F238E27FC236}">
                <a16:creationId xmlns:a16="http://schemas.microsoft.com/office/drawing/2014/main" id="{3FD11CE3-0428-4CDD-BA96-9028CDABE422}"/>
              </a:ext>
            </a:extLst>
          </p:cNvPr>
          <p:cNvSpPr>
            <a:spLocks/>
          </p:cNvSpPr>
          <p:nvPr/>
        </p:nvSpPr>
        <p:spPr bwMode="auto">
          <a:xfrm>
            <a:off x="8464007" y="6345484"/>
            <a:ext cx="33923" cy="158614"/>
          </a:xfrm>
          <a:custGeom>
            <a:avLst/>
            <a:gdLst>
              <a:gd name="T0" fmla="*/ 59505 w 58483"/>
              <a:gd name="T1" fmla="*/ 273345 h 275069"/>
              <a:gd name="T2" fmla="*/ 0 w 58483"/>
              <a:gd name="T3" fmla="*/ 273345 h 275069"/>
              <a:gd name="T4" fmla="*/ 0 w 58483"/>
              <a:gd name="T5" fmla="*/ 0 h 275069"/>
              <a:gd name="T6" fmla="*/ 59505 w 58483"/>
              <a:gd name="T7" fmla="*/ 0 h 275069"/>
              <a:gd name="T8" fmla="*/ 59505 w 58483"/>
              <a:gd name="T9" fmla="*/ 273345 h 27506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483" h="275069">
                <a:moveTo>
                  <a:pt x="58483" y="275069"/>
                </a:moveTo>
                <a:lnTo>
                  <a:pt x="0" y="275069"/>
                </a:lnTo>
                <a:lnTo>
                  <a:pt x="0" y="0"/>
                </a:lnTo>
                <a:lnTo>
                  <a:pt x="58483" y="0"/>
                </a:lnTo>
                <a:lnTo>
                  <a:pt x="58483" y="27506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31" name="object 20">
            <a:extLst>
              <a:ext uri="{FF2B5EF4-FFF2-40B4-BE49-F238E27FC236}">
                <a16:creationId xmlns:a16="http://schemas.microsoft.com/office/drawing/2014/main" id="{36693770-B6E9-47D1-882A-AC479DEB1B92}"/>
              </a:ext>
            </a:extLst>
          </p:cNvPr>
          <p:cNvSpPr>
            <a:spLocks/>
          </p:cNvSpPr>
          <p:nvPr/>
        </p:nvSpPr>
        <p:spPr bwMode="auto">
          <a:xfrm>
            <a:off x="8516267" y="6345484"/>
            <a:ext cx="113689" cy="161365"/>
          </a:xfrm>
          <a:custGeom>
            <a:avLst/>
            <a:gdLst>
              <a:gd name="T0" fmla="*/ 101290 w 197236"/>
              <a:gd name="T1" fmla="*/ 87186 h 278582"/>
              <a:gd name="T2" fmla="*/ 55223 w 197236"/>
              <a:gd name="T3" fmla="*/ 95109 h 278582"/>
              <a:gd name="T4" fmla="*/ 22383 w 197236"/>
              <a:gd name="T5" fmla="*/ 118136 h 278582"/>
              <a:gd name="T6" fmla="*/ 3857 w 197236"/>
              <a:gd name="T7" fmla="*/ 153521 h 278582"/>
              <a:gd name="T8" fmla="*/ 0 w 197236"/>
              <a:gd name="T9" fmla="*/ 182625 h 278582"/>
              <a:gd name="T10" fmla="*/ 1009 w 197236"/>
              <a:gd name="T11" fmla="*/ 198905 h 278582"/>
              <a:gd name="T12" fmla="*/ 15138 w 197236"/>
              <a:gd name="T13" fmla="*/ 240935 h 278582"/>
              <a:gd name="T14" fmla="*/ 43178 w 197236"/>
              <a:gd name="T15" fmla="*/ 269838 h 278582"/>
              <a:gd name="T16" fmla="*/ 81606 w 197236"/>
              <a:gd name="T17" fmla="*/ 281868 h 278582"/>
              <a:gd name="T18" fmla="*/ 96097 w 197236"/>
              <a:gd name="T19" fmla="*/ 281184 h 278582"/>
              <a:gd name="T20" fmla="*/ 108670 w 197236"/>
              <a:gd name="T21" fmla="*/ 278853 h 278582"/>
              <a:gd name="T22" fmla="*/ 119935 w 197236"/>
              <a:gd name="T23" fmla="*/ 274719 h 278582"/>
              <a:gd name="T24" fmla="*/ 130504 w 197236"/>
              <a:gd name="T25" fmla="*/ 268621 h 278582"/>
              <a:gd name="T26" fmla="*/ 195697 w 197236"/>
              <a:gd name="T27" fmla="*/ 268621 h 278582"/>
              <a:gd name="T28" fmla="*/ 195697 w 197236"/>
              <a:gd name="T29" fmla="*/ 240870 h 278582"/>
              <a:gd name="T30" fmla="*/ 114903 w 197236"/>
              <a:gd name="T31" fmla="*/ 240870 h 278582"/>
              <a:gd name="T32" fmla="*/ 98197 w 197236"/>
              <a:gd name="T33" fmla="*/ 239845 h 278582"/>
              <a:gd name="T34" fmla="*/ 66226 w 197236"/>
              <a:gd name="T35" fmla="*/ 218168 h 278582"/>
              <a:gd name="T36" fmla="*/ 59006 w 197236"/>
              <a:gd name="T37" fmla="*/ 191222 h 278582"/>
              <a:gd name="T38" fmla="*/ 60223 w 197236"/>
              <a:gd name="T39" fmla="*/ 172090 h 278582"/>
              <a:gd name="T40" fmla="*/ 78476 w 197236"/>
              <a:gd name="T41" fmla="*/ 134639 h 278582"/>
              <a:gd name="T42" fmla="*/ 101498 w 197236"/>
              <a:gd name="T43" fmla="*/ 126230 h 278582"/>
              <a:gd name="T44" fmla="*/ 195697 w 197236"/>
              <a:gd name="T45" fmla="*/ 126230 h 278582"/>
              <a:gd name="T46" fmla="*/ 195697 w 197236"/>
              <a:gd name="T47" fmla="*/ 98351 h 278582"/>
              <a:gd name="T48" fmla="*/ 137656 w 197236"/>
              <a:gd name="T49" fmla="*/ 98351 h 278582"/>
              <a:gd name="T50" fmla="*/ 125696 w 197236"/>
              <a:gd name="T51" fmla="*/ 93138 h 278582"/>
              <a:gd name="T52" fmla="*/ 113612 w 197236"/>
              <a:gd name="T53" fmla="*/ 89403 h 278582"/>
              <a:gd name="T54" fmla="*/ 101290 w 197236"/>
              <a:gd name="T55" fmla="*/ 87186 h 278582"/>
              <a:gd name="T56" fmla="*/ 195697 w 197236"/>
              <a:gd name="T57" fmla="*/ 268621 h 278582"/>
              <a:gd name="T58" fmla="*/ 130504 w 197236"/>
              <a:gd name="T59" fmla="*/ 268621 h 278582"/>
              <a:gd name="T60" fmla="*/ 137656 w 197236"/>
              <a:gd name="T61" fmla="*/ 278326 h 278582"/>
              <a:gd name="T62" fmla="*/ 195697 w 197236"/>
              <a:gd name="T63" fmla="*/ 278326 h 278582"/>
              <a:gd name="T64" fmla="*/ 195697 w 197236"/>
              <a:gd name="T65" fmla="*/ 268621 h 278582"/>
              <a:gd name="T66" fmla="*/ 195697 w 197236"/>
              <a:gd name="T67" fmla="*/ 126230 h 278582"/>
              <a:gd name="T68" fmla="*/ 101498 w 197236"/>
              <a:gd name="T69" fmla="*/ 126230 h 278582"/>
              <a:gd name="T70" fmla="*/ 115302 w 197236"/>
              <a:gd name="T71" fmla="*/ 127643 h 278582"/>
              <a:gd name="T72" fmla="*/ 127709 w 197236"/>
              <a:gd name="T73" fmla="*/ 131559 h 278582"/>
              <a:gd name="T74" fmla="*/ 137656 w 197236"/>
              <a:gd name="T75" fmla="*/ 226900 h 278582"/>
              <a:gd name="T76" fmla="*/ 126106 w 197236"/>
              <a:gd name="T77" fmla="*/ 235854 h 278582"/>
              <a:gd name="T78" fmla="*/ 114903 w 197236"/>
              <a:gd name="T79" fmla="*/ 240870 h 278582"/>
              <a:gd name="T80" fmla="*/ 195697 w 197236"/>
              <a:gd name="T81" fmla="*/ 240870 h 278582"/>
              <a:gd name="T82" fmla="*/ 195697 w 197236"/>
              <a:gd name="T83" fmla="*/ 126230 h 278582"/>
              <a:gd name="T84" fmla="*/ 195697 w 197236"/>
              <a:gd name="T85" fmla="*/ 0 h 278582"/>
              <a:gd name="T86" fmla="*/ 137656 w 197236"/>
              <a:gd name="T87" fmla="*/ 0 h 278582"/>
              <a:gd name="T88" fmla="*/ 137656 w 197236"/>
              <a:gd name="T89" fmla="*/ 98351 h 278582"/>
              <a:gd name="T90" fmla="*/ 195697 w 197236"/>
              <a:gd name="T91" fmla="*/ 98351 h 278582"/>
              <a:gd name="T92" fmla="*/ 195697 w 197236"/>
              <a:gd name="T93" fmla="*/ 0 h 2785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97236" h="278582">
                <a:moveTo>
                  <a:pt x="102087" y="86169"/>
                </a:moveTo>
                <a:lnTo>
                  <a:pt x="55657" y="94000"/>
                </a:lnTo>
                <a:lnTo>
                  <a:pt x="22559" y="116758"/>
                </a:lnTo>
                <a:lnTo>
                  <a:pt x="3889" y="151731"/>
                </a:lnTo>
                <a:lnTo>
                  <a:pt x="0" y="180495"/>
                </a:lnTo>
                <a:lnTo>
                  <a:pt x="1017" y="196586"/>
                </a:lnTo>
                <a:lnTo>
                  <a:pt x="15258" y="238127"/>
                </a:lnTo>
                <a:lnTo>
                  <a:pt x="43518" y="266692"/>
                </a:lnTo>
                <a:lnTo>
                  <a:pt x="82248" y="278582"/>
                </a:lnTo>
                <a:lnTo>
                  <a:pt x="96853" y="277906"/>
                </a:lnTo>
                <a:lnTo>
                  <a:pt x="109525" y="275602"/>
                </a:lnTo>
                <a:lnTo>
                  <a:pt x="120879" y="271516"/>
                </a:lnTo>
                <a:lnTo>
                  <a:pt x="131530" y="265489"/>
                </a:lnTo>
                <a:lnTo>
                  <a:pt x="197236" y="265489"/>
                </a:lnTo>
                <a:lnTo>
                  <a:pt x="197236" y="238062"/>
                </a:lnTo>
                <a:lnTo>
                  <a:pt x="115807" y="238062"/>
                </a:lnTo>
                <a:lnTo>
                  <a:pt x="98970" y="237049"/>
                </a:lnTo>
                <a:lnTo>
                  <a:pt x="66747" y="215624"/>
                </a:lnTo>
                <a:lnTo>
                  <a:pt x="59470" y="188992"/>
                </a:lnTo>
                <a:lnTo>
                  <a:pt x="60697" y="170084"/>
                </a:lnTo>
                <a:lnTo>
                  <a:pt x="79093" y="133069"/>
                </a:lnTo>
                <a:lnTo>
                  <a:pt x="102296" y="124759"/>
                </a:lnTo>
                <a:lnTo>
                  <a:pt x="197236" y="124759"/>
                </a:lnTo>
                <a:lnTo>
                  <a:pt x="197236" y="97205"/>
                </a:lnTo>
                <a:lnTo>
                  <a:pt x="138739" y="97205"/>
                </a:lnTo>
                <a:lnTo>
                  <a:pt x="126684" y="92052"/>
                </a:lnTo>
                <a:lnTo>
                  <a:pt x="114506" y="88361"/>
                </a:lnTo>
                <a:lnTo>
                  <a:pt x="102087" y="86169"/>
                </a:lnTo>
                <a:close/>
              </a:path>
              <a:path w="197236" h="278582">
                <a:moveTo>
                  <a:pt x="197236" y="265489"/>
                </a:moveTo>
                <a:lnTo>
                  <a:pt x="131530" y="265489"/>
                </a:lnTo>
                <a:lnTo>
                  <a:pt x="138739" y="275081"/>
                </a:lnTo>
                <a:lnTo>
                  <a:pt x="197236" y="275081"/>
                </a:lnTo>
                <a:lnTo>
                  <a:pt x="197236" y="265489"/>
                </a:lnTo>
                <a:close/>
              </a:path>
              <a:path w="197236" h="278582">
                <a:moveTo>
                  <a:pt x="197236" y="124759"/>
                </a:moveTo>
                <a:lnTo>
                  <a:pt x="102296" y="124759"/>
                </a:lnTo>
                <a:lnTo>
                  <a:pt x="116209" y="126154"/>
                </a:lnTo>
                <a:lnTo>
                  <a:pt x="128713" y="130025"/>
                </a:lnTo>
                <a:lnTo>
                  <a:pt x="138739" y="224256"/>
                </a:lnTo>
                <a:lnTo>
                  <a:pt x="127098" y="233105"/>
                </a:lnTo>
                <a:lnTo>
                  <a:pt x="115807" y="238062"/>
                </a:lnTo>
                <a:lnTo>
                  <a:pt x="197236" y="238062"/>
                </a:lnTo>
                <a:lnTo>
                  <a:pt x="197236" y="124759"/>
                </a:lnTo>
                <a:close/>
              </a:path>
              <a:path w="197236" h="278582">
                <a:moveTo>
                  <a:pt x="197236" y="0"/>
                </a:moveTo>
                <a:lnTo>
                  <a:pt x="138739" y="0"/>
                </a:lnTo>
                <a:lnTo>
                  <a:pt x="138739" y="97205"/>
                </a:lnTo>
                <a:lnTo>
                  <a:pt x="197236" y="97205"/>
                </a:lnTo>
                <a:lnTo>
                  <a:pt x="197236"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32" name="object 21">
            <a:extLst>
              <a:ext uri="{FF2B5EF4-FFF2-40B4-BE49-F238E27FC236}">
                <a16:creationId xmlns:a16="http://schemas.microsoft.com/office/drawing/2014/main" id="{992936C8-1625-450A-BAC5-534BA55D4A15}"/>
              </a:ext>
            </a:extLst>
          </p:cNvPr>
          <p:cNvSpPr>
            <a:spLocks/>
          </p:cNvSpPr>
          <p:nvPr/>
        </p:nvSpPr>
        <p:spPr bwMode="auto">
          <a:xfrm>
            <a:off x="8653794" y="6394994"/>
            <a:ext cx="86183" cy="109104"/>
          </a:xfrm>
          <a:custGeom>
            <a:avLst/>
            <a:gdLst>
              <a:gd name="T0" fmla="*/ 59751 w 148435"/>
              <a:gd name="T1" fmla="*/ 3317 h 189286"/>
              <a:gd name="T2" fmla="*/ 0 w 148435"/>
              <a:gd name="T3" fmla="*/ 3317 h 189286"/>
              <a:gd name="T4" fmla="*/ 0 w 148435"/>
              <a:gd name="T5" fmla="*/ 187794 h 189286"/>
              <a:gd name="T6" fmla="*/ 59751 w 148435"/>
              <a:gd name="T7" fmla="*/ 187794 h 189286"/>
              <a:gd name="T8" fmla="*/ 61596 w 148435"/>
              <a:gd name="T9" fmla="*/ 103511 h 189286"/>
              <a:gd name="T10" fmla="*/ 68120 w 148435"/>
              <a:gd name="T11" fmla="*/ 89037 h 189286"/>
              <a:gd name="T12" fmla="*/ 104560 w 148435"/>
              <a:gd name="T13" fmla="*/ 56384 h 189286"/>
              <a:gd name="T14" fmla="*/ 108023 w 148435"/>
              <a:gd name="T15" fmla="*/ 56137 h 189286"/>
              <a:gd name="T16" fmla="*/ 59751 w 148435"/>
              <a:gd name="T17" fmla="*/ 56137 h 189286"/>
              <a:gd name="T18" fmla="*/ 59751 w 148435"/>
              <a:gd name="T19" fmla="*/ 3317 h 189286"/>
              <a:gd name="T20" fmla="*/ 145798 w 148435"/>
              <a:gd name="T21" fmla="*/ 55409 h 189286"/>
              <a:gd name="T22" fmla="*/ 118243 w 148435"/>
              <a:gd name="T23" fmla="*/ 55409 h 189286"/>
              <a:gd name="T24" fmla="*/ 129895 w 148435"/>
              <a:gd name="T25" fmla="*/ 59818 h 189286"/>
              <a:gd name="T26" fmla="*/ 144201 w 148435"/>
              <a:gd name="T27" fmla="*/ 67742 h 189286"/>
              <a:gd name="T28" fmla="*/ 145798 w 148435"/>
              <a:gd name="T29" fmla="*/ 55409 h 189286"/>
              <a:gd name="T30" fmla="*/ 116162 w 148435"/>
              <a:gd name="T31" fmla="*/ 0 h 189286"/>
              <a:gd name="T32" fmla="*/ 77630 w 148435"/>
              <a:gd name="T33" fmla="*/ 26287 h 189286"/>
              <a:gd name="T34" fmla="*/ 60569 w 148435"/>
              <a:gd name="T35" fmla="*/ 56137 h 189286"/>
              <a:gd name="T36" fmla="*/ 108023 w 148435"/>
              <a:gd name="T37" fmla="*/ 56137 h 189286"/>
              <a:gd name="T38" fmla="*/ 118243 w 148435"/>
              <a:gd name="T39" fmla="*/ 55409 h 189286"/>
              <a:gd name="T40" fmla="*/ 145798 w 148435"/>
              <a:gd name="T41" fmla="*/ 55409 h 189286"/>
              <a:gd name="T42" fmla="*/ 151620 w 148435"/>
              <a:gd name="T43" fmla="*/ 10373 h 189286"/>
              <a:gd name="T44" fmla="*/ 140006 w 148435"/>
              <a:gd name="T45" fmla="*/ 4193 h 189286"/>
              <a:gd name="T46" fmla="*/ 128731 w 148435"/>
              <a:gd name="T47" fmla="*/ 865 h 189286"/>
              <a:gd name="T48" fmla="*/ 116162 w 148435"/>
              <a:gd name="T49" fmla="*/ 0 h 18928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48435" h="189286">
                <a:moveTo>
                  <a:pt x="58496" y="3345"/>
                </a:moveTo>
                <a:lnTo>
                  <a:pt x="0" y="3345"/>
                </a:lnTo>
                <a:lnTo>
                  <a:pt x="0" y="189286"/>
                </a:lnTo>
                <a:lnTo>
                  <a:pt x="58496" y="189286"/>
                </a:lnTo>
                <a:lnTo>
                  <a:pt x="60302" y="104333"/>
                </a:lnTo>
                <a:lnTo>
                  <a:pt x="66688" y="89744"/>
                </a:lnTo>
                <a:lnTo>
                  <a:pt x="102362" y="56832"/>
                </a:lnTo>
                <a:lnTo>
                  <a:pt x="105753" y="56583"/>
                </a:lnTo>
                <a:lnTo>
                  <a:pt x="58496" y="56583"/>
                </a:lnTo>
                <a:lnTo>
                  <a:pt x="58496" y="3345"/>
                </a:lnTo>
                <a:close/>
              </a:path>
              <a:path w="148435" h="189286">
                <a:moveTo>
                  <a:pt x="142734" y="55849"/>
                </a:moveTo>
                <a:lnTo>
                  <a:pt x="115759" y="55849"/>
                </a:lnTo>
                <a:lnTo>
                  <a:pt x="127166" y="60293"/>
                </a:lnTo>
                <a:lnTo>
                  <a:pt x="141173" y="68280"/>
                </a:lnTo>
                <a:lnTo>
                  <a:pt x="142734" y="55849"/>
                </a:lnTo>
                <a:close/>
              </a:path>
              <a:path w="148435" h="189286">
                <a:moveTo>
                  <a:pt x="113722" y="0"/>
                </a:moveTo>
                <a:lnTo>
                  <a:pt x="75999" y="26495"/>
                </a:lnTo>
                <a:lnTo>
                  <a:pt x="59296" y="56583"/>
                </a:lnTo>
                <a:lnTo>
                  <a:pt x="105753" y="56583"/>
                </a:lnTo>
                <a:lnTo>
                  <a:pt x="115759" y="55849"/>
                </a:lnTo>
                <a:lnTo>
                  <a:pt x="142734" y="55849"/>
                </a:lnTo>
                <a:lnTo>
                  <a:pt x="148435" y="10457"/>
                </a:lnTo>
                <a:lnTo>
                  <a:pt x="137066" y="4225"/>
                </a:lnTo>
                <a:lnTo>
                  <a:pt x="126026" y="873"/>
                </a:lnTo>
                <a:lnTo>
                  <a:pt x="113722"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33" name="object 22">
            <a:extLst>
              <a:ext uri="{FF2B5EF4-FFF2-40B4-BE49-F238E27FC236}">
                <a16:creationId xmlns:a16="http://schemas.microsoft.com/office/drawing/2014/main" id="{25FB06E2-AACC-4AA0-A8A7-59630EAAD1A5}"/>
              </a:ext>
            </a:extLst>
          </p:cNvPr>
          <p:cNvSpPr>
            <a:spLocks/>
          </p:cNvSpPr>
          <p:nvPr/>
        </p:nvSpPr>
        <p:spPr bwMode="auto">
          <a:xfrm>
            <a:off x="8747312" y="6394994"/>
            <a:ext cx="111855" cy="111855"/>
          </a:xfrm>
          <a:custGeom>
            <a:avLst/>
            <a:gdLst>
              <a:gd name="T0" fmla="*/ 105303 w 193899"/>
              <a:gd name="T1" fmla="*/ 0 h 192655"/>
              <a:gd name="T2" fmla="*/ 59205 w 193899"/>
              <a:gd name="T3" fmla="*/ 8038 h 192655"/>
              <a:gd name="T4" fmla="*/ 25139 w 193899"/>
              <a:gd name="T5" fmla="*/ 30779 h 192655"/>
              <a:gd name="T6" fmla="*/ 4907 w 193899"/>
              <a:gd name="T7" fmla="*/ 65484 h 192655"/>
              <a:gd name="T8" fmla="*/ 0 w 193899"/>
              <a:gd name="T9" fmla="*/ 93917 h 192655"/>
              <a:gd name="T10" fmla="*/ 897 w 193899"/>
              <a:gd name="T11" fmla="*/ 109951 h 192655"/>
              <a:gd name="T12" fmla="*/ 14099 w 193899"/>
              <a:gd name="T13" fmla="*/ 150722 h 192655"/>
              <a:gd name="T14" fmla="*/ 41510 w 193899"/>
              <a:gd name="T15" fmla="*/ 179453 h 192655"/>
              <a:gd name="T16" fmla="*/ 81140 w 193899"/>
              <a:gd name="T17" fmla="*/ 194800 h 192655"/>
              <a:gd name="T18" fmla="*/ 106989 w 193899"/>
              <a:gd name="T19" fmla="*/ 196767 h 192655"/>
              <a:gd name="T20" fmla="*/ 118141 w 193899"/>
              <a:gd name="T21" fmla="*/ 196456 h 192655"/>
              <a:gd name="T22" fmla="*/ 168434 w 193899"/>
              <a:gd name="T23" fmla="*/ 184777 h 192655"/>
              <a:gd name="T24" fmla="*/ 184735 w 193899"/>
              <a:gd name="T25" fmla="*/ 161173 h 192655"/>
              <a:gd name="T26" fmla="*/ 130724 w 193899"/>
              <a:gd name="T27" fmla="*/ 161173 h 192655"/>
              <a:gd name="T28" fmla="*/ 112313 w 193899"/>
              <a:gd name="T29" fmla="*/ 160130 h 192655"/>
              <a:gd name="T30" fmla="*/ 74052 w 193899"/>
              <a:gd name="T31" fmla="*/ 143109 h 192655"/>
              <a:gd name="T32" fmla="*/ 60117 w 193899"/>
              <a:gd name="T33" fmla="*/ 108064 h 192655"/>
              <a:gd name="T34" fmla="*/ 193005 w 193899"/>
              <a:gd name="T35" fmla="*/ 108064 h 192655"/>
              <a:gd name="T36" fmla="*/ 192695 w 193899"/>
              <a:gd name="T37" fmla="*/ 90796 h 192655"/>
              <a:gd name="T38" fmla="*/ 190675 w 193899"/>
              <a:gd name="T39" fmla="*/ 76753 h 192655"/>
              <a:gd name="T40" fmla="*/ 61319 w 193899"/>
              <a:gd name="T41" fmla="*/ 76753 h 192655"/>
              <a:gd name="T42" fmla="*/ 64703 w 193899"/>
              <a:gd name="T43" fmla="*/ 60914 h 192655"/>
              <a:gd name="T44" fmla="*/ 71465 w 193899"/>
              <a:gd name="T45" fmla="*/ 48616 h 192655"/>
              <a:gd name="T46" fmla="*/ 81319 w 193899"/>
              <a:gd name="T47" fmla="*/ 40130 h 192655"/>
              <a:gd name="T48" fmla="*/ 93967 w 193899"/>
              <a:gd name="T49" fmla="*/ 35727 h 192655"/>
              <a:gd name="T50" fmla="*/ 101456 w 193899"/>
              <a:gd name="T51" fmla="*/ 35141 h 192655"/>
              <a:gd name="T52" fmla="*/ 172508 w 193899"/>
              <a:gd name="T53" fmla="*/ 35141 h 192655"/>
              <a:gd name="T54" fmla="*/ 164464 w 193899"/>
              <a:gd name="T55" fmla="*/ 25907 h 192655"/>
              <a:gd name="T56" fmla="*/ 154515 w 193899"/>
              <a:gd name="T57" fmla="*/ 17468 h 192655"/>
              <a:gd name="T58" fmla="*/ 143476 w 193899"/>
              <a:gd name="T59" fmla="*/ 10621 h 192655"/>
              <a:gd name="T60" fmla="*/ 131497 w 193899"/>
              <a:gd name="T61" fmla="*/ 5403 h 192655"/>
              <a:gd name="T62" fmla="*/ 118723 w 193899"/>
              <a:gd name="T63" fmla="*/ 1853 h 192655"/>
              <a:gd name="T64" fmla="*/ 105303 w 193899"/>
              <a:gd name="T65" fmla="*/ 0 h 192655"/>
              <a:gd name="T66" fmla="*/ 189794 w 193899"/>
              <a:gd name="T67" fmla="*/ 134423 h 192655"/>
              <a:gd name="T68" fmla="*/ 152962 w 193899"/>
              <a:gd name="T69" fmla="*/ 155971 h 192655"/>
              <a:gd name="T70" fmla="*/ 130724 w 193899"/>
              <a:gd name="T71" fmla="*/ 161173 h 192655"/>
              <a:gd name="T72" fmla="*/ 184735 w 193899"/>
              <a:gd name="T73" fmla="*/ 161173 h 192655"/>
              <a:gd name="T74" fmla="*/ 189794 w 193899"/>
              <a:gd name="T75" fmla="*/ 134423 h 192655"/>
              <a:gd name="T76" fmla="*/ 172508 w 193899"/>
              <a:gd name="T77" fmla="*/ 35141 h 192655"/>
              <a:gd name="T78" fmla="*/ 101456 w 193899"/>
              <a:gd name="T79" fmla="*/ 35141 h 192655"/>
              <a:gd name="T80" fmla="*/ 115276 w 193899"/>
              <a:gd name="T81" fmla="*/ 37389 h 192655"/>
              <a:gd name="T82" fmla="*/ 126599 w 193899"/>
              <a:gd name="T83" fmla="*/ 43896 h 192655"/>
              <a:gd name="T84" fmla="*/ 135061 w 193899"/>
              <a:gd name="T85" fmla="*/ 54313 h 192655"/>
              <a:gd name="T86" fmla="*/ 140292 w 193899"/>
              <a:gd name="T87" fmla="*/ 68292 h 192655"/>
              <a:gd name="T88" fmla="*/ 61319 w 193899"/>
              <a:gd name="T89" fmla="*/ 76753 h 192655"/>
              <a:gd name="T90" fmla="*/ 190675 w 193899"/>
              <a:gd name="T91" fmla="*/ 76753 h 192655"/>
              <a:gd name="T92" fmla="*/ 190410 w 193899"/>
              <a:gd name="T93" fmla="*/ 74910 h 192655"/>
              <a:gd name="T94" fmla="*/ 186297 w 193899"/>
              <a:gd name="T95" fmla="*/ 60443 h 192655"/>
              <a:gd name="T96" fmla="*/ 180503 w 193899"/>
              <a:gd name="T97" fmla="*/ 47430 h 192655"/>
              <a:gd name="T98" fmla="*/ 173175 w 193899"/>
              <a:gd name="T99" fmla="*/ 35907 h 192655"/>
              <a:gd name="T100" fmla="*/ 172508 w 193899"/>
              <a:gd name="T101" fmla="*/ 35141 h 1926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93899" h="192655">
                <a:moveTo>
                  <a:pt x="105791" y="0"/>
                </a:moveTo>
                <a:lnTo>
                  <a:pt x="59480" y="7870"/>
                </a:lnTo>
                <a:lnTo>
                  <a:pt x="25255" y="30136"/>
                </a:lnTo>
                <a:lnTo>
                  <a:pt x="4931" y="64116"/>
                </a:lnTo>
                <a:lnTo>
                  <a:pt x="0" y="91954"/>
                </a:lnTo>
                <a:lnTo>
                  <a:pt x="901" y="107653"/>
                </a:lnTo>
                <a:lnTo>
                  <a:pt x="14163" y="147572"/>
                </a:lnTo>
                <a:lnTo>
                  <a:pt x="41702" y="175703"/>
                </a:lnTo>
                <a:lnTo>
                  <a:pt x="81516" y="190728"/>
                </a:lnTo>
                <a:lnTo>
                  <a:pt x="107485" y="192655"/>
                </a:lnTo>
                <a:lnTo>
                  <a:pt x="118689" y="192350"/>
                </a:lnTo>
                <a:lnTo>
                  <a:pt x="169214" y="180915"/>
                </a:lnTo>
                <a:lnTo>
                  <a:pt x="185591" y="157805"/>
                </a:lnTo>
                <a:lnTo>
                  <a:pt x="131330" y="157805"/>
                </a:lnTo>
                <a:lnTo>
                  <a:pt x="112833" y="156784"/>
                </a:lnTo>
                <a:lnTo>
                  <a:pt x="74396" y="140117"/>
                </a:lnTo>
                <a:lnTo>
                  <a:pt x="60397" y="105806"/>
                </a:lnTo>
                <a:lnTo>
                  <a:pt x="193899" y="105806"/>
                </a:lnTo>
                <a:lnTo>
                  <a:pt x="193588" y="88898"/>
                </a:lnTo>
                <a:lnTo>
                  <a:pt x="191559" y="75149"/>
                </a:lnTo>
                <a:lnTo>
                  <a:pt x="61603" y="75149"/>
                </a:lnTo>
                <a:lnTo>
                  <a:pt x="65003" y="59641"/>
                </a:lnTo>
                <a:lnTo>
                  <a:pt x="71797" y="47600"/>
                </a:lnTo>
                <a:lnTo>
                  <a:pt x="81695" y="39292"/>
                </a:lnTo>
                <a:lnTo>
                  <a:pt x="94403" y="34981"/>
                </a:lnTo>
                <a:lnTo>
                  <a:pt x="101926" y="34407"/>
                </a:lnTo>
                <a:lnTo>
                  <a:pt x="173308" y="34407"/>
                </a:lnTo>
                <a:lnTo>
                  <a:pt x="165226" y="25366"/>
                </a:lnTo>
                <a:lnTo>
                  <a:pt x="155231" y="17102"/>
                </a:lnTo>
                <a:lnTo>
                  <a:pt x="144141" y="10399"/>
                </a:lnTo>
                <a:lnTo>
                  <a:pt x="132106" y="5291"/>
                </a:lnTo>
                <a:lnTo>
                  <a:pt x="119273" y="1813"/>
                </a:lnTo>
                <a:lnTo>
                  <a:pt x="105791" y="0"/>
                </a:lnTo>
                <a:close/>
              </a:path>
              <a:path w="193899" h="192655">
                <a:moveTo>
                  <a:pt x="190674" y="131613"/>
                </a:moveTo>
                <a:lnTo>
                  <a:pt x="153671" y="152711"/>
                </a:lnTo>
                <a:lnTo>
                  <a:pt x="131330" y="157805"/>
                </a:lnTo>
                <a:lnTo>
                  <a:pt x="185591" y="157805"/>
                </a:lnTo>
                <a:lnTo>
                  <a:pt x="190674" y="131613"/>
                </a:lnTo>
                <a:close/>
              </a:path>
              <a:path w="193899" h="192655">
                <a:moveTo>
                  <a:pt x="173308" y="34407"/>
                </a:moveTo>
                <a:lnTo>
                  <a:pt x="101926" y="34407"/>
                </a:lnTo>
                <a:lnTo>
                  <a:pt x="115810" y="36607"/>
                </a:lnTo>
                <a:lnTo>
                  <a:pt x="127186" y="42978"/>
                </a:lnTo>
                <a:lnTo>
                  <a:pt x="135687" y="53177"/>
                </a:lnTo>
                <a:lnTo>
                  <a:pt x="140942" y="66864"/>
                </a:lnTo>
                <a:lnTo>
                  <a:pt x="61603" y="75149"/>
                </a:lnTo>
                <a:lnTo>
                  <a:pt x="191559" y="75149"/>
                </a:lnTo>
                <a:lnTo>
                  <a:pt x="191292" y="73345"/>
                </a:lnTo>
                <a:lnTo>
                  <a:pt x="187160" y="59180"/>
                </a:lnTo>
                <a:lnTo>
                  <a:pt x="181339" y="46439"/>
                </a:lnTo>
                <a:lnTo>
                  <a:pt x="173978" y="35157"/>
                </a:lnTo>
                <a:lnTo>
                  <a:pt x="173308" y="34407"/>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34" name="object 23">
            <a:extLst>
              <a:ext uri="{FF2B5EF4-FFF2-40B4-BE49-F238E27FC236}">
                <a16:creationId xmlns:a16="http://schemas.microsoft.com/office/drawing/2014/main" id="{B2837876-CE2B-42B0-B52A-9B177EE30D76}"/>
              </a:ext>
            </a:extLst>
          </p:cNvPr>
          <p:cNvSpPr>
            <a:spLocks/>
          </p:cNvSpPr>
          <p:nvPr/>
        </p:nvSpPr>
        <p:spPr bwMode="auto">
          <a:xfrm>
            <a:off x="8876587" y="6394994"/>
            <a:ext cx="108188" cy="109104"/>
          </a:xfrm>
          <a:custGeom>
            <a:avLst/>
            <a:gdLst>
              <a:gd name="T0" fmla="*/ 59216 w 186753"/>
              <a:gd name="T1" fmla="*/ 3491 h 189472"/>
              <a:gd name="T2" fmla="*/ 0 w 186753"/>
              <a:gd name="T3" fmla="*/ 3491 h 189472"/>
              <a:gd name="T4" fmla="*/ 0 w 186753"/>
              <a:gd name="T5" fmla="*/ 187242 h 189472"/>
              <a:gd name="T6" fmla="*/ 59216 w 186753"/>
              <a:gd name="T7" fmla="*/ 187242 h 189472"/>
              <a:gd name="T8" fmla="*/ 65512 w 186753"/>
              <a:gd name="T9" fmla="*/ 60200 h 189472"/>
              <a:gd name="T10" fmla="*/ 74811 w 186753"/>
              <a:gd name="T11" fmla="*/ 50113 h 189472"/>
              <a:gd name="T12" fmla="*/ 84563 w 186753"/>
              <a:gd name="T13" fmla="*/ 43599 h 189472"/>
              <a:gd name="T14" fmla="*/ 95799 w 186753"/>
              <a:gd name="T15" fmla="*/ 40282 h 189472"/>
              <a:gd name="T16" fmla="*/ 109545 w 186753"/>
              <a:gd name="T17" fmla="*/ 39782 h 189472"/>
              <a:gd name="T18" fmla="*/ 183434 w 186753"/>
              <a:gd name="T19" fmla="*/ 39782 h 189472"/>
              <a:gd name="T20" fmla="*/ 182427 w 186753"/>
              <a:gd name="T21" fmla="*/ 36627 h 189472"/>
              <a:gd name="T22" fmla="*/ 178236 w 186753"/>
              <a:gd name="T23" fmla="*/ 29795 h 189472"/>
              <a:gd name="T24" fmla="*/ 59216 w 186753"/>
              <a:gd name="T25" fmla="*/ 29795 h 189472"/>
              <a:gd name="T26" fmla="*/ 59216 w 186753"/>
              <a:gd name="T27" fmla="*/ 3491 h 189472"/>
              <a:gd name="T28" fmla="*/ 183434 w 186753"/>
              <a:gd name="T29" fmla="*/ 39782 h 189472"/>
              <a:gd name="T30" fmla="*/ 109545 w 186753"/>
              <a:gd name="T31" fmla="*/ 39782 h 189472"/>
              <a:gd name="T32" fmla="*/ 120149 w 186753"/>
              <a:gd name="T33" fmla="*/ 45859 h 189472"/>
              <a:gd name="T34" fmla="*/ 127246 w 186753"/>
              <a:gd name="T35" fmla="*/ 57508 h 189472"/>
              <a:gd name="T36" fmla="*/ 129835 w 186753"/>
              <a:gd name="T37" fmla="*/ 75241 h 189472"/>
              <a:gd name="T38" fmla="*/ 129835 w 186753"/>
              <a:gd name="T39" fmla="*/ 187242 h 189472"/>
              <a:gd name="T40" fmla="*/ 189052 w 186753"/>
              <a:gd name="T41" fmla="*/ 187242 h 189472"/>
              <a:gd name="T42" fmla="*/ 187319 w 186753"/>
              <a:gd name="T43" fmla="*/ 51956 h 189472"/>
              <a:gd name="T44" fmla="*/ 183434 w 186753"/>
              <a:gd name="T45" fmla="*/ 39782 h 189472"/>
              <a:gd name="T46" fmla="*/ 116094 w 186753"/>
              <a:gd name="T47" fmla="*/ 0 h 189472"/>
              <a:gd name="T48" fmla="*/ 69786 w 186753"/>
              <a:gd name="T49" fmla="*/ 19181 h 189472"/>
              <a:gd name="T50" fmla="*/ 59216 w 186753"/>
              <a:gd name="T51" fmla="*/ 29795 h 189472"/>
              <a:gd name="T52" fmla="*/ 178236 w 186753"/>
              <a:gd name="T53" fmla="*/ 29795 h 189472"/>
              <a:gd name="T54" fmla="*/ 141752 w 186753"/>
              <a:gd name="T55" fmla="*/ 3348 h 189472"/>
              <a:gd name="T56" fmla="*/ 116094 w 186753"/>
              <a:gd name="T57" fmla="*/ 0 h 1894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86753" h="189472">
                <a:moveTo>
                  <a:pt x="58496" y="3531"/>
                </a:moveTo>
                <a:lnTo>
                  <a:pt x="0" y="3531"/>
                </a:lnTo>
                <a:lnTo>
                  <a:pt x="0" y="189472"/>
                </a:lnTo>
                <a:lnTo>
                  <a:pt x="58496" y="189472"/>
                </a:lnTo>
                <a:lnTo>
                  <a:pt x="64716" y="60917"/>
                </a:lnTo>
                <a:lnTo>
                  <a:pt x="73902" y="50710"/>
                </a:lnTo>
                <a:lnTo>
                  <a:pt x="83535" y="44118"/>
                </a:lnTo>
                <a:lnTo>
                  <a:pt x="94633" y="40761"/>
                </a:lnTo>
                <a:lnTo>
                  <a:pt x="108215" y="40256"/>
                </a:lnTo>
                <a:lnTo>
                  <a:pt x="181204" y="40256"/>
                </a:lnTo>
                <a:lnTo>
                  <a:pt x="180209" y="37064"/>
                </a:lnTo>
                <a:lnTo>
                  <a:pt x="176069" y="30150"/>
                </a:lnTo>
                <a:lnTo>
                  <a:pt x="58496" y="30150"/>
                </a:lnTo>
                <a:lnTo>
                  <a:pt x="58496" y="3531"/>
                </a:lnTo>
                <a:close/>
              </a:path>
              <a:path w="186753" h="189472">
                <a:moveTo>
                  <a:pt x="181204" y="40256"/>
                </a:moveTo>
                <a:lnTo>
                  <a:pt x="108215" y="40256"/>
                </a:lnTo>
                <a:lnTo>
                  <a:pt x="118687" y="46405"/>
                </a:lnTo>
                <a:lnTo>
                  <a:pt x="125699" y="58192"/>
                </a:lnTo>
                <a:lnTo>
                  <a:pt x="128257" y="76137"/>
                </a:lnTo>
                <a:lnTo>
                  <a:pt x="128257" y="189472"/>
                </a:lnTo>
                <a:lnTo>
                  <a:pt x="186753" y="189472"/>
                </a:lnTo>
                <a:lnTo>
                  <a:pt x="185042" y="52574"/>
                </a:lnTo>
                <a:lnTo>
                  <a:pt x="181204" y="40256"/>
                </a:lnTo>
                <a:close/>
              </a:path>
              <a:path w="186753" h="189472">
                <a:moveTo>
                  <a:pt x="114684" y="0"/>
                </a:moveTo>
                <a:lnTo>
                  <a:pt x="68938" y="19409"/>
                </a:lnTo>
                <a:lnTo>
                  <a:pt x="58496" y="30150"/>
                </a:lnTo>
                <a:lnTo>
                  <a:pt x="176069" y="30150"/>
                </a:lnTo>
                <a:lnTo>
                  <a:pt x="140028" y="3388"/>
                </a:lnTo>
                <a:lnTo>
                  <a:pt x="114684"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35" name="object 24">
            <a:extLst>
              <a:ext uri="{FF2B5EF4-FFF2-40B4-BE49-F238E27FC236}">
                <a16:creationId xmlns:a16="http://schemas.microsoft.com/office/drawing/2014/main" id="{A96B08B2-4680-4054-96A3-6BB2517032AC}"/>
              </a:ext>
            </a:extLst>
          </p:cNvPr>
          <p:cNvSpPr>
            <a:spLocks/>
          </p:cNvSpPr>
          <p:nvPr/>
        </p:nvSpPr>
        <p:spPr bwMode="auto">
          <a:xfrm>
            <a:off x="6621149" y="6108938"/>
            <a:ext cx="456589" cy="477676"/>
          </a:xfrm>
          <a:custGeom>
            <a:avLst/>
            <a:gdLst>
              <a:gd name="T0" fmla="*/ 66601 w 790525"/>
              <a:gd name="T1" fmla="*/ 162808 h 826770"/>
              <a:gd name="T2" fmla="*/ 78818 w 790525"/>
              <a:gd name="T3" fmla="*/ 207326 h 826770"/>
              <a:gd name="T4" fmla="*/ 31287 w 790525"/>
              <a:gd name="T5" fmla="*/ 292548 h 826770"/>
              <a:gd name="T6" fmla="*/ 426 w 790525"/>
              <a:gd name="T7" fmla="*/ 466806 h 826770"/>
              <a:gd name="T8" fmla="*/ 43649 w 790525"/>
              <a:gd name="T9" fmla="*/ 625800 h 826770"/>
              <a:gd name="T10" fmla="*/ 81030 w 790525"/>
              <a:gd name="T11" fmla="*/ 683037 h 826770"/>
              <a:gd name="T12" fmla="*/ 157264 w 790525"/>
              <a:gd name="T13" fmla="*/ 755537 h 826770"/>
              <a:gd name="T14" fmla="*/ 207251 w 790525"/>
              <a:gd name="T15" fmla="*/ 784793 h 826770"/>
              <a:gd name="T16" fmla="*/ 315829 w 790525"/>
              <a:gd name="T17" fmla="*/ 822950 h 826770"/>
              <a:gd name="T18" fmla="*/ 514399 w 790525"/>
              <a:gd name="T19" fmla="*/ 820406 h 826770"/>
              <a:gd name="T20" fmla="*/ 609484 w 790525"/>
              <a:gd name="T21" fmla="*/ 787337 h 826770"/>
              <a:gd name="T22" fmla="*/ 616428 w 790525"/>
              <a:gd name="T23" fmla="*/ 745362 h 826770"/>
              <a:gd name="T24" fmla="*/ 201678 w 790525"/>
              <a:gd name="T25" fmla="*/ 716106 h 826770"/>
              <a:gd name="T26" fmla="*/ 134187 w 790525"/>
              <a:gd name="T27" fmla="*/ 655054 h 826770"/>
              <a:gd name="T28" fmla="*/ 66507 w 790525"/>
              <a:gd name="T29" fmla="*/ 544394 h 826770"/>
              <a:gd name="T30" fmla="*/ 42329 w 790525"/>
              <a:gd name="T31" fmla="*/ 401936 h 826770"/>
              <a:gd name="T32" fmla="*/ 83765 w 790525"/>
              <a:gd name="T33" fmla="*/ 248030 h 826770"/>
              <a:gd name="T34" fmla="*/ 191944 w 790525"/>
              <a:gd name="T35" fmla="*/ 212414 h 826770"/>
              <a:gd name="T36" fmla="*/ 154523 w 790525"/>
              <a:gd name="T37" fmla="*/ 174258 h 826770"/>
              <a:gd name="T38" fmla="*/ 119452 w 790525"/>
              <a:gd name="T39" fmla="*/ 148818 h 826770"/>
              <a:gd name="T40" fmla="*/ 119288 w 790525"/>
              <a:gd name="T41" fmla="*/ 255662 h 826770"/>
              <a:gd name="T42" fmla="*/ 184014 w 790525"/>
              <a:gd name="T43" fmla="*/ 330708 h 826770"/>
              <a:gd name="T44" fmla="*/ 225246 w 790525"/>
              <a:gd name="T45" fmla="*/ 381584 h 826770"/>
              <a:gd name="T46" fmla="*/ 254375 w 790525"/>
              <a:gd name="T47" fmla="*/ 426102 h 826770"/>
              <a:gd name="T48" fmla="*/ 253878 w 790525"/>
              <a:gd name="T49" fmla="*/ 483340 h 826770"/>
              <a:gd name="T50" fmla="*/ 237200 w 790525"/>
              <a:gd name="T51" fmla="*/ 555842 h 826770"/>
              <a:gd name="T52" fmla="*/ 222850 w 790525"/>
              <a:gd name="T53" fmla="*/ 719924 h 826770"/>
              <a:gd name="T54" fmla="*/ 592803 w 790525"/>
              <a:gd name="T55" fmla="*/ 670318 h 826770"/>
              <a:gd name="T56" fmla="*/ 577688 w 790525"/>
              <a:gd name="T57" fmla="*/ 483340 h 826770"/>
              <a:gd name="T58" fmla="*/ 626540 w 790525"/>
              <a:gd name="T59" fmla="*/ 357418 h 826770"/>
              <a:gd name="T60" fmla="*/ 405916 w 790525"/>
              <a:gd name="T61" fmla="*/ 321802 h 826770"/>
              <a:gd name="T62" fmla="*/ 286633 w 790525"/>
              <a:gd name="T63" fmla="*/ 284916 h 826770"/>
              <a:gd name="T64" fmla="*/ 210579 w 790525"/>
              <a:gd name="T65" fmla="*/ 228952 h 826770"/>
              <a:gd name="T66" fmla="*/ 728729 w 790525"/>
              <a:gd name="T67" fmla="*/ 339610 h 826770"/>
              <a:gd name="T68" fmla="*/ 738887 w 790525"/>
              <a:gd name="T69" fmla="*/ 504963 h 826770"/>
              <a:gd name="T70" fmla="*/ 662252 w 790525"/>
              <a:gd name="T71" fmla="*/ 666500 h 826770"/>
              <a:gd name="T72" fmla="*/ 666443 w 790525"/>
              <a:gd name="T73" fmla="*/ 685581 h 826770"/>
              <a:gd name="T74" fmla="*/ 710503 w 790525"/>
              <a:gd name="T75" fmla="*/ 646150 h 826770"/>
              <a:gd name="T76" fmla="*/ 785928 w 790525"/>
              <a:gd name="T77" fmla="*/ 415926 h 826770"/>
              <a:gd name="T78" fmla="*/ 759425 w 790525"/>
              <a:gd name="T79" fmla="*/ 269652 h 826770"/>
              <a:gd name="T80" fmla="*/ 584089 w 790525"/>
              <a:gd name="T81" fmla="*/ 142460 h 826770"/>
              <a:gd name="T82" fmla="*/ 578400 w 790525"/>
              <a:gd name="T83" fmla="*/ 264564 h 826770"/>
              <a:gd name="T84" fmla="*/ 653240 w 790525"/>
              <a:gd name="T85" fmla="*/ 321802 h 826770"/>
              <a:gd name="T86" fmla="*/ 759425 w 790525"/>
              <a:gd name="T87" fmla="*/ 269652 h 826770"/>
              <a:gd name="T88" fmla="*/ 790185 w 790525"/>
              <a:gd name="T89" fmla="*/ 166626 h 826770"/>
              <a:gd name="T90" fmla="*/ 660945 w 790525"/>
              <a:gd name="T91" fmla="*/ 128466 h 826770"/>
              <a:gd name="T92" fmla="*/ 300718 w 790525"/>
              <a:gd name="T93" fmla="*/ 85222 h 826770"/>
              <a:gd name="T94" fmla="*/ 291988 w 790525"/>
              <a:gd name="T95" fmla="*/ 138642 h 826770"/>
              <a:gd name="T96" fmla="*/ 385277 w 790525"/>
              <a:gd name="T97" fmla="*/ 283646 h 826770"/>
              <a:gd name="T98" fmla="*/ 523363 w 790525"/>
              <a:gd name="T99" fmla="*/ 206056 h 826770"/>
              <a:gd name="T100" fmla="*/ 630222 w 790525"/>
              <a:gd name="T101" fmla="*/ 104300 h 826770"/>
              <a:gd name="T102" fmla="*/ 718389 w 790525"/>
              <a:gd name="T103" fmla="*/ 146274 h 826770"/>
              <a:gd name="T104" fmla="*/ 776563 w 790525"/>
              <a:gd name="T105" fmla="*/ 143730 h 826770"/>
              <a:gd name="T106" fmla="*/ 401575 w 790525"/>
              <a:gd name="T107" fmla="*/ 0 h 826770"/>
              <a:gd name="T108" fmla="*/ 238893 w 790525"/>
              <a:gd name="T109" fmla="*/ 73772 h 826770"/>
              <a:gd name="T110" fmla="*/ 152960 w 790525"/>
              <a:gd name="T111" fmla="*/ 129740 h 826770"/>
              <a:gd name="T112" fmla="*/ 177034 w 790525"/>
              <a:gd name="T113" fmla="*/ 142460 h 826770"/>
              <a:gd name="T114" fmla="*/ 231973 w 790525"/>
              <a:gd name="T115" fmla="*/ 109388 h 826770"/>
              <a:gd name="T116" fmla="*/ 575162 w 790525"/>
              <a:gd name="T117" fmla="*/ 72502 h 826770"/>
              <a:gd name="T118" fmla="*/ 503502 w 790525"/>
              <a:gd name="T119" fmla="*/ 47062 h 82677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90525" h="826770">
                <a:moveTo>
                  <a:pt x="119420" y="148590"/>
                </a:moveTo>
                <a:lnTo>
                  <a:pt x="106775" y="148590"/>
                </a:lnTo>
                <a:lnTo>
                  <a:pt x="93065" y="151130"/>
                </a:lnTo>
                <a:lnTo>
                  <a:pt x="80076" y="154940"/>
                </a:lnTo>
                <a:lnTo>
                  <a:pt x="66585" y="162560"/>
                </a:lnTo>
                <a:lnTo>
                  <a:pt x="60896" y="171450"/>
                </a:lnTo>
                <a:lnTo>
                  <a:pt x="60899" y="177800"/>
                </a:lnTo>
                <a:lnTo>
                  <a:pt x="64790" y="186690"/>
                </a:lnTo>
                <a:lnTo>
                  <a:pt x="74938" y="201930"/>
                </a:lnTo>
                <a:lnTo>
                  <a:pt x="78798" y="207010"/>
                </a:lnTo>
                <a:lnTo>
                  <a:pt x="70760" y="218440"/>
                </a:lnTo>
                <a:lnTo>
                  <a:pt x="63133" y="231140"/>
                </a:lnTo>
                <a:lnTo>
                  <a:pt x="55919" y="242570"/>
                </a:lnTo>
                <a:lnTo>
                  <a:pt x="49122" y="254000"/>
                </a:lnTo>
                <a:lnTo>
                  <a:pt x="31279" y="292100"/>
                </a:lnTo>
                <a:lnTo>
                  <a:pt x="17338" y="331470"/>
                </a:lnTo>
                <a:lnTo>
                  <a:pt x="7406" y="370840"/>
                </a:lnTo>
                <a:lnTo>
                  <a:pt x="1591" y="411480"/>
                </a:lnTo>
                <a:lnTo>
                  <a:pt x="0" y="452120"/>
                </a:lnTo>
                <a:lnTo>
                  <a:pt x="426" y="466090"/>
                </a:lnTo>
                <a:lnTo>
                  <a:pt x="4742" y="508000"/>
                </a:lnTo>
                <a:lnTo>
                  <a:pt x="13478" y="548640"/>
                </a:lnTo>
                <a:lnTo>
                  <a:pt x="26491" y="588010"/>
                </a:lnTo>
                <a:lnTo>
                  <a:pt x="37471" y="612140"/>
                </a:lnTo>
                <a:lnTo>
                  <a:pt x="43637" y="624840"/>
                </a:lnTo>
                <a:lnTo>
                  <a:pt x="50246" y="636270"/>
                </a:lnTo>
                <a:lnTo>
                  <a:pt x="57294" y="648970"/>
                </a:lnTo>
                <a:lnTo>
                  <a:pt x="64774" y="660400"/>
                </a:lnTo>
                <a:lnTo>
                  <a:pt x="72681" y="670560"/>
                </a:lnTo>
                <a:lnTo>
                  <a:pt x="81010" y="681990"/>
                </a:lnTo>
                <a:lnTo>
                  <a:pt x="89756" y="692150"/>
                </a:lnTo>
                <a:lnTo>
                  <a:pt x="117703" y="721360"/>
                </a:lnTo>
                <a:lnTo>
                  <a:pt x="136949" y="737870"/>
                </a:lnTo>
                <a:lnTo>
                  <a:pt x="146960" y="746760"/>
                </a:lnTo>
                <a:lnTo>
                  <a:pt x="157224" y="754380"/>
                </a:lnTo>
                <a:lnTo>
                  <a:pt x="167737" y="760730"/>
                </a:lnTo>
                <a:lnTo>
                  <a:pt x="178492" y="767080"/>
                </a:lnTo>
                <a:lnTo>
                  <a:pt x="185326" y="772160"/>
                </a:lnTo>
                <a:lnTo>
                  <a:pt x="196152" y="777240"/>
                </a:lnTo>
                <a:lnTo>
                  <a:pt x="207199" y="783590"/>
                </a:lnTo>
                <a:lnTo>
                  <a:pt x="229931" y="793750"/>
                </a:lnTo>
                <a:lnTo>
                  <a:pt x="253488" y="803910"/>
                </a:lnTo>
                <a:lnTo>
                  <a:pt x="290289" y="815340"/>
                </a:lnTo>
                <a:lnTo>
                  <a:pt x="302929" y="817880"/>
                </a:lnTo>
                <a:lnTo>
                  <a:pt x="315749" y="821690"/>
                </a:lnTo>
                <a:lnTo>
                  <a:pt x="347594" y="826770"/>
                </a:lnTo>
                <a:lnTo>
                  <a:pt x="471901" y="826770"/>
                </a:lnTo>
                <a:lnTo>
                  <a:pt x="485307" y="825500"/>
                </a:lnTo>
                <a:lnTo>
                  <a:pt x="499876" y="822960"/>
                </a:lnTo>
                <a:lnTo>
                  <a:pt x="514267" y="819150"/>
                </a:lnTo>
                <a:lnTo>
                  <a:pt x="528472" y="816610"/>
                </a:lnTo>
                <a:lnTo>
                  <a:pt x="542483" y="812800"/>
                </a:lnTo>
                <a:lnTo>
                  <a:pt x="583265" y="797560"/>
                </a:lnTo>
                <a:lnTo>
                  <a:pt x="596415" y="792480"/>
                </a:lnTo>
                <a:lnTo>
                  <a:pt x="609328" y="786130"/>
                </a:lnTo>
                <a:lnTo>
                  <a:pt x="609467" y="786130"/>
                </a:lnTo>
                <a:lnTo>
                  <a:pt x="618565" y="777240"/>
                </a:lnTo>
                <a:lnTo>
                  <a:pt x="622193" y="765810"/>
                </a:lnTo>
                <a:lnTo>
                  <a:pt x="619234" y="751840"/>
                </a:lnTo>
                <a:lnTo>
                  <a:pt x="616272" y="744220"/>
                </a:lnTo>
                <a:lnTo>
                  <a:pt x="612860" y="734060"/>
                </a:lnTo>
                <a:lnTo>
                  <a:pt x="610512" y="727710"/>
                </a:lnTo>
                <a:lnTo>
                  <a:pt x="223006" y="727710"/>
                </a:lnTo>
                <a:lnTo>
                  <a:pt x="212209" y="721360"/>
                </a:lnTo>
                <a:lnTo>
                  <a:pt x="201626" y="715010"/>
                </a:lnTo>
                <a:lnTo>
                  <a:pt x="191275" y="707390"/>
                </a:lnTo>
                <a:lnTo>
                  <a:pt x="181172" y="699770"/>
                </a:lnTo>
                <a:lnTo>
                  <a:pt x="171333" y="690880"/>
                </a:lnTo>
                <a:lnTo>
                  <a:pt x="161776" y="683260"/>
                </a:lnTo>
                <a:lnTo>
                  <a:pt x="134155" y="654050"/>
                </a:lnTo>
                <a:lnTo>
                  <a:pt x="109567" y="623570"/>
                </a:lnTo>
                <a:lnTo>
                  <a:pt x="102174" y="612140"/>
                </a:lnTo>
                <a:lnTo>
                  <a:pt x="95189" y="601980"/>
                </a:lnTo>
                <a:lnTo>
                  <a:pt x="76710" y="567690"/>
                </a:lnTo>
                <a:lnTo>
                  <a:pt x="66491" y="543560"/>
                </a:lnTo>
                <a:lnTo>
                  <a:pt x="62023" y="532130"/>
                </a:lnTo>
                <a:lnTo>
                  <a:pt x="51222" y="495300"/>
                </a:lnTo>
                <a:lnTo>
                  <a:pt x="44401" y="457200"/>
                </a:lnTo>
                <a:lnTo>
                  <a:pt x="42191" y="422910"/>
                </a:lnTo>
                <a:lnTo>
                  <a:pt x="42317" y="401320"/>
                </a:lnTo>
                <a:lnTo>
                  <a:pt x="47227" y="353060"/>
                </a:lnTo>
                <a:lnTo>
                  <a:pt x="63317" y="292100"/>
                </a:lnTo>
                <a:lnTo>
                  <a:pt x="72709" y="270510"/>
                </a:lnTo>
                <a:lnTo>
                  <a:pt x="78023" y="259080"/>
                </a:lnTo>
                <a:lnTo>
                  <a:pt x="83745" y="247650"/>
                </a:lnTo>
                <a:lnTo>
                  <a:pt x="89871" y="237490"/>
                </a:lnTo>
                <a:lnTo>
                  <a:pt x="95638" y="228600"/>
                </a:lnTo>
                <a:lnTo>
                  <a:pt x="210527" y="228600"/>
                </a:lnTo>
                <a:lnTo>
                  <a:pt x="201561" y="220980"/>
                </a:lnTo>
                <a:lnTo>
                  <a:pt x="191896" y="212090"/>
                </a:lnTo>
                <a:lnTo>
                  <a:pt x="182997" y="203200"/>
                </a:lnTo>
                <a:lnTo>
                  <a:pt x="174836" y="195580"/>
                </a:lnTo>
                <a:lnTo>
                  <a:pt x="167382" y="187960"/>
                </a:lnTo>
                <a:lnTo>
                  <a:pt x="160608" y="180340"/>
                </a:lnTo>
                <a:lnTo>
                  <a:pt x="154483" y="173990"/>
                </a:lnTo>
                <a:lnTo>
                  <a:pt x="147353" y="166370"/>
                </a:lnTo>
                <a:lnTo>
                  <a:pt x="156927" y="157480"/>
                </a:lnTo>
                <a:lnTo>
                  <a:pt x="166810" y="149860"/>
                </a:lnTo>
                <a:lnTo>
                  <a:pt x="129217" y="149860"/>
                </a:lnTo>
                <a:lnTo>
                  <a:pt x="119420" y="148590"/>
                </a:lnTo>
                <a:close/>
              </a:path>
              <a:path w="790525" h="826770">
                <a:moveTo>
                  <a:pt x="210527" y="228600"/>
                </a:moveTo>
                <a:lnTo>
                  <a:pt x="95638" y="228600"/>
                </a:lnTo>
                <a:lnTo>
                  <a:pt x="103062" y="237490"/>
                </a:lnTo>
                <a:lnTo>
                  <a:pt x="110955" y="246380"/>
                </a:lnTo>
                <a:lnTo>
                  <a:pt x="119256" y="255270"/>
                </a:lnTo>
                <a:lnTo>
                  <a:pt x="127891" y="265430"/>
                </a:lnTo>
                <a:lnTo>
                  <a:pt x="155969" y="297180"/>
                </a:lnTo>
                <a:lnTo>
                  <a:pt x="165455" y="308610"/>
                </a:lnTo>
                <a:lnTo>
                  <a:pt x="174805" y="318770"/>
                </a:lnTo>
                <a:lnTo>
                  <a:pt x="183966" y="330200"/>
                </a:lnTo>
                <a:lnTo>
                  <a:pt x="192890" y="340360"/>
                </a:lnTo>
                <a:lnTo>
                  <a:pt x="201525" y="350520"/>
                </a:lnTo>
                <a:lnTo>
                  <a:pt x="209820" y="360680"/>
                </a:lnTo>
                <a:lnTo>
                  <a:pt x="217725" y="370840"/>
                </a:lnTo>
                <a:lnTo>
                  <a:pt x="225190" y="381000"/>
                </a:lnTo>
                <a:lnTo>
                  <a:pt x="232163" y="389890"/>
                </a:lnTo>
                <a:lnTo>
                  <a:pt x="238593" y="398780"/>
                </a:lnTo>
                <a:lnTo>
                  <a:pt x="244431" y="407670"/>
                </a:lnTo>
                <a:lnTo>
                  <a:pt x="249626" y="415290"/>
                </a:lnTo>
                <a:lnTo>
                  <a:pt x="254311" y="425450"/>
                </a:lnTo>
                <a:lnTo>
                  <a:pt x="257107" y="434340"/>
                </a:lnTo>
                <a:lnTo>
                  <a:pt x="258235" y="445770"/>
                </a:lnTo>
                <a:lnTo>
                  <a:pt x="257914" y="457200"/>
                </a:lnTo>
                <a:lnTo>
                  <a:pt x="256367" y="468630"/>
                </a:lnTo>
                <a:lnTo>
                  <a:pt x="253814" y="482600"/>
                </a:lnTo>
                <a:lnTo>
                  <a:pt x="250475" y="496570"/>
                </a:lnTo>
                <a:lnTo>
                  <a:pt x="245760" y="516890"/>
                </a:lnTo>
                <a:lnTo>
                  <a:pt x="243626" y="525780"/>
                </a:lnTo>
                <a:lnTo>
                  <a:pt x="241460" y="534670"/>
                </a:lnTo>
                <a:lnTo>
                  <a:pt x="237140" y="554990"/>
                </a:lnTo>
                <a:lnTo>
                  <a:pt x="229296" y="600710"/>
                </a:lnTo>
                <a:lnTo>
                  <a:pt x="224954" y="640080"/>
                </a:lnTo>
                <a:lnTo>
                  <a:pt x="222806" y="683260"/>
                </a:lnTo>
                <a:lnTo>
                  <a:pt x="222701" y="711200"/>
                </a:lnTo>
                <a:lnTo>
                  <a:pt x="222794" y="718820"/>
                </a:lnTo>
                <a:lnTo>
                  <a:pt x="223006" y="727710"/>
                </a:lnTo>
                <a:lnTo>
                  <a:pt x="610512" y="727710"/>
                </a:lnTo>
                <a:lnTo>
                  <a:pt x="609102" y="723900"/>
                </a:lnTo>
                <a:lnTo>
                  <a:pt x="605100" y="711200"/>
                </a:lnTo>
                <a:lnTo>
                  <a:pt x="592655" y="669290"/>
                </a:lnTo>
                <a:lnTo>
                  <a:pt x="581707" y="618490"/>
                </a:lnTo>
                <a:lnTo>
                  <a:pt x="575025" y="562610"/>
                </a:lnTo>
                <a:lnTo>
                  <a:pt x="574274" y="543560"/>
                </a:lnTo>
                <a:lnTo>
                  <a:pt x="574375" y="521970"/>
                </a:lnTo>
                <a:lnTo>
                  <a:pt x="577540" y="482600"/>
                </a:lnTo>
                <a:lnTo>
                  <a:pt x="585541" y="443230"/>
                </a:lnTo>
                <a:lnTo>
                  <a:pt x="600742" y="401320"/>
                </a:lnTo>
                <a:lnTo>
                  <a:pt x="612515" y="379730"/>
                </a:lnTo>
                <a:lnTo>
                  <a:pt x="619219" y="368300"/>
                </a:lnTo>
                <a:lnTo>
                  <a:pt x="626380" y="356870"/>
                </a:lnTo>
                <a:lnTo>
                  <a:pt x="633932" y="346710"/>
                </a:lnTo>
                <a:lnTo>
                  <a:pt x="641811" y="335280"/>
                </a:lnTo>
                <a:lnTo>
                  <a:pt x="649951" y="325120"/>
                </a:lnTo>
                <a:lnTo>
                  <a:pt x="653076" y="321310"/>
                </a:lnTo>
                <a:lnTo>
                  <a:pt x="405812" y="321310"/>
                </a:lnTo>
                <a:lnTo>
                  <a:pt x="382268" y="318770"/>
                </a:lnTo>
                <a:lnTo>
                  <a:pt x="346622" y="311150"/>
                </a:lnTo>
                <a:lnTo>
                  <a:pt x="334666" y="306070"/>
                </a:lnTo>
                <a:lnTo>
                  <a:pt x="322678" y="302260"/>
                </a:lnTo>
                <a:lnTo>
                  <a:pt x="286561" y="284480"/>
                </a:lnTo>
                <a:lnTo>
                  <a:pt x="248460" y="259080"/>
                </a:lnTo>
                <a:lnTo>
                  <a:pt x="235442" y="248920"/>
                </a:lnTo>
                <a:lnTo>
                  <a:pt x="223305" y="240030"/>
                </a:lnTo>
                <a:lnTo>
                  <a:pt x="212021" y="229870"/>
                </a:lnTo>
                <a:lnTo>
                  <a:pt x="210527" y="228600"/>
                </a:lnTo>
                <a:close/>
              </a:path>
              <a:path w="790525" h="826770">
                <a:moveTo>
                  <a:pt x="759233" y="269240"/>
                </a:moveTo>
                <a:lnTo>
                  <a:pt x="698926" y="269240"/>
                </a:lnTo>
                <a:lnTo>
                  <a:pt x="704894" y="280670"/>
                </a:lnTo>
                <a:lnTo>
                  <a:pt x="710453" y="292100"/>
                </a:lnTo>
                <a:lnTo>
                  <a:pt x="728545" y="339090"/>
                </a:lnTo>
                <a:lnTo>
                  <a:pt x="739841" y="388620"/>
                </a:lnTo>
                <a:lnTo>
                  <a:pt x="743722" y="426720"/>
                </a:lnTo>
                <a:lnTo>
                  <a:pt x="744074" y="452120"/>
                </a:lnTo>
                <a:lnTo>
                  <a:pt x="743569" y="464820"/>
                </a:lnTo>
                <a:lnTo>
                  <a:pt x="738699" y="504190"/>
                </a:lnTo>
                <a:lnTo>
                  <a:pt x="729544" y="542290"/>
                </a:lnTo>
                <a:lnTo>
                  <a:pt x="716505" y="579120"/>
                </a:lnTo>
                <a:lnTo>
                  <a:pt x="699663" y="613410"/>
                </a:lnTo>
                <a:lnTo>
                  <a:pt x="671428" y="654050"/>
                </a:lnTo>
                <a:lnTo>
                  <a:pt x="662084" y="665480"/>
                </a:lnTo>
                <a:lnTo>
                  <a:pt x="661271" y="668020"/>
                </a:lnTo>
                <a:lnTo>
                  <a:pt x="661271" y="670560"/>
                </a:lnTo>
                <a:lnTo>
                  <a:pt x="661410" y="670560"/>
                </a:lnTo>
                <a:lnTo>
                  <a:pt x="665157" y="681990"/>
                </a:lnTo>
                <a:lnTo>
                  <a:pt x="666275" y="684530"/>
                </a:lnTo>
                <a:lnTo>
                  <a:pt x="669145" y="687070"/>
                </a:lnTo>
                <a:lnTo>
                  <a:pt x="674758" y="687070"/>
                </a:lnTo>
                <a:lnTo>
                  <a:pt x="676790" y="685800"/>
                </a:lnTo>
                <a:lnTo>
                  <a:pt x="678225" y="684530"/>
                </a:lnTo>
                <a:lnTo>
                  <a:pt x="710323" y="645160"/>
                </a:lnTo>
                <a:lnTo>
                  <a:pt x="736787" y="601980"/>
                </a:lnTo>
                <a:lnTo>
                  <a:pt x="757655" y="556260"/>
                </a:lnTo>
                <a:lnTo>
                  <a:pt x="772837" y="510540"/>
                </a:lnTo>
                <a:lnTo>
                  <a:pt x="782243" y="462280"/>
                </a:lnTo>
                <a:lnTo>
                  <a:pt x="785728" y="415290"/>
                </a:lnTo>
                <a:lnTo>
                  <a:pt x="785662" y="407670"/>
                </a:lnTo>
                <a:lnTo>
                  <a:pt x="783365" y="365760"/>
                </a:lnTo>
                <a:lnTo>
                  <a:pt x="774902" y="317500"/>
                </a:lnTo>
                <a:lnTo>
                  <a:pt x="760303" y="271780"/>
                </a:lnTo>
                <a:lnTo>
                  <a:pt x="759233" y="269240"/>
                </a:lnTo>
                <a:close/>
              </a:path>
              <a:path w="790525" h="826770">
                <a:moveTo>
                  <a:pt x="638763" y="110490"/>
                </a:moveTo>
                <a:lnTo>
                  <a:pt x="528822" y="110490"/>
                </a:lnTo>
                <a:lnTo>
                  <a:pt x="540275" y="115570"/>
                </a:lnTo>
                <a:lnTo>
                  <a:pt x="551519" y="121920"/>
                </a:lnTo>
                <a:lnTo>
                  <a:pt x="583941" y="142240"/>
                </a:lnTo>
                <a:lnTo>
                  <a:pt x="623873" y="173990"/>
                </a:lnTo>
                <a:lnTo>
                  <a:pt x="651146" y="201930"/>
                </a:lnTo>
                <a:lnTo>
                  <a:pt x="654578" y="205740"/>
                </a:lnTo>
                <a:lnTo>
                  <a:pt x="641575" y="217170"/>
                </a:lnTo>
                <a:lnTo>
                  <a:pt x="578252" y="264160"/>
                </a:lnTo>
                <a:lnTo>
                  <a:pt x="529727" y="292100"/>
                </a:lnTo>
                <a:lnTo>
                  <a:pt x="494654" y="307340"/>
                </a:lnTo>
                <a:lnTo>
                  <a:pt x="449740" y="318770"/>
                </a:lnTo>
                <a:lnTo>
                  <a:pt x="428110" y="321310"/>
                </a:lnTo>
                <a:lnTo>
                  <a:pt x="653076" y="321310"/>
                </a:lnTo>
                <a:lnTo>
                  <a:pt x="658285" y="314960"/>
                </a:lnTo>
                <a:lnTo>
                  <a:pt x="675276" y="294640"/>
                </a:lnTo>
                <a:lnTo>
                  <a:pt x="692260" y="276860"/>
                </a:lnTo>
                <a:lnTo>
                  <a:pt x="698926" y="269240"/>
                </a:lnTo>
                <a:lnTo>
                  <a:pt x="759233" y="269240"/>
                </a:lnTo>
                <a:lnTo>
                  <a:pt x="750674" y="248920"/>
                </a:lnTo>
                <a:lnTo>
                  <a:pt x="739477" y="227330"/>
                </a:lnTo>
                <a:lnTo>
                  <a:pt x="754428" y="210820"/>
                </a:lnTo>
                <a:lnTo>
                  <a:pt x="783705" y="177800"/>
                </a:lnTo>
                <a:lnTo>
                  <a:pt x="789985" y="166370"/>
                </a:lnTo>
                <a:lnTo>
                  <a:pt x="697351" y="166370"/>
                </a:lnTo>
                <a:lnTo>
                  <a:pt x="688902" y="156210"/>
                </a:lnTo>
                <a:lnTo>
                  <a:pt x="680207" y="147320"/>
                </a:lnTo>
                <a:lnTo>
                  <a:pt x="670600" y="137160"/>
                </a:lnTo>
                <a:lnTo>
                  <a:pt x="660777" y="128270"/>
                </a:lnTo>
                <a:lnTo>
                  <a:pt x="650743" y="120650"/>
                </a:lnTo>
                <a:lnTo>
                  <a:pt x="640503" y="111760"/>
                </a:lnTo>
                <a:lnTo>
                  <a:pt x="638763" y="110490"/>
                </a:lnTo>
                <a:close/>
              </a:path>
              <a:path w="790525" h="826770">
                <a:moveTo>
                  <a:pt x="599786" y="85090"/>
                </a:moveTo>
                <a:lnTo>
                  <a:pt x="300642" y="85090"/>
                </a:lnTo>
                <a:lnTo>
                  <a:pt x="297035" y="97790"/>
                </a:lnTo>
                <a:lnTo>
                  <a:pt x="294370" y="109220"/>
                </a:lnTo>
                <a:lnTo>
                  <a:pt x="292647" y="121920"/>
                </a:lnTo>
                <a:lnTo>
                  <a:pt x="291945" y="133350"/>
                </a:lnTo>
                <a:lnTo>
                  <a:pt x="291916" y="138430"/>
                </a:lnTo>
                <a:lnTo>
                  <a:pt x="292030" y="147320"/>
                </a:lnTo>
                <a:lnTo>
                  <a:pt x="299900" y="190500"/>
                </a:lnTo>
                <a:lnTo>
                  <a:pt x="315319" y="226060"/>
                </a:lnTo>
                <a:lnTo>
                  <a:pt x="349820" y="264160"/>
                </a:lnTo>
                <a:lnTo>
                  <a:pt x="385181" y="283210"/>
                </a:lnTo>
                <a:lnTo>
                  <a:pt x="407895" y="288290"/>
                </a:lnTo>
                <a:lnTo>
                  <a:pt x="419106" y="288290"/>
                </a:lnTo>
                <a:lnTo>
                  <a:pt x="458405" y="279400"/>
                </a:lnTo>
                <a:lnTo>
                  <a:pt x="498569" y="248920"/>
                </a:lnTo>
                <a:lnTo>
                  <a:pt x="523231" y="205740"/>
                </a:lnTo>
                <a:lnTo>
                  <a:pt x="532907" y="156210"/>
                </a:lnTo>
                <a:lnTo>
                  <a:pt x="529800" y="115570"/>
                </a:lnTo>
                <a:lnTo>
                  <a:pt x="528822" y="110490"/>
                </a:lnTo>
                <a:lnTo>
                  <a:pt x="638763" y="110490"/>
                </a:lnTo>
                <a:lnTo>
                  <a:pt x="630062" y="104140"/>
                </a:lnTo>
                <a:lnTo>
                  <a:pt x="619425" y="96520"/>
                </a:lnTo>
                <a:lnTo>
                  <a:pt x="599786" y="85090"/>
                </a:lnTo>
                <a:close/>
              </a:path>
              <a:path w="790525" h="826770">
                <a:moveTo>
                  <a:pt x="737660" y="133350"/>
                </a:moveTo>
                <a:lnTo>
                  <a:pt x="727529" y="138430"/>
                </a:lnTo>
                <a:lnTo>
                  <a:pt x="718209" y="146050"/>
                </a:lnTo>
                <a:lnTo>
                  <a:pt x="697390" y="166370"/>
                </a:lnTo>
                <a:lnTo>
                  <a:pt x="789985" y="166370"/>
                </a:lnTo>
                <a:lnTo>
                  <a:pt x="790525" y="165100"/>
                </a:lnTo>
                <a:lnTo>
                  <a:pt x="785709" y="152400"/>
                </a:lnTo>
                <a:lnTo>
                  <a:pt x="776367" y="143510"/>
                </a:lnTo>
                <a:lnTo>
                  <a:pt x="761810" y="137160"/>
                </a:lnTo>
                <a:lnTo>
                  <a:pt x="748702" y="134620"/>
                </a:lnTo>
                <a:lnTo>
                  <a:pt x="737660" y="133350"/>
                </a:lnTo>
                <a:close/>
              </a:path>
              <a:path w="790525" h="826770">
                <a:moveTo>
                  <a:pt x="413318" y="0"/>
                </a:moveTo>
                <a:lnTo>
                  <a:pt x="401475" y="0"/>
                </a:lnTo>
                <a:lnTo>
                  <a:pt x="375991" y="5080"/>
                </a:lnTo>
                <a:lnTo>
                  <a:pt x="342394" y="24130"/>
                </a:lnTo>
                <a:lnTo>
                  <a:pt x="323686" y="43180"/>
                </a:lnTo>
                <a:lnTo>
                  <a:pt x="274214" y="58420"/>
                </a:lnTo>
                <a:lnTo>
                  <a:pt x="238833" y="73660"/>
                </a:lnTo>
                <a:lnTo>
                  <a:pt x="205094" y="92710"/>
                </a:lnTo>
                <a:lnTo>
                  <a:pt x="183588" y="106680"/>
                </a:lnTo>
                <a:lnTo>
                  <a:pt x="173148" y="113030"/>
                </a:lnTo>
                <a:lnTo>
                  <a:pt x="162923" y="120650"/>
                </a:lnTo>
                <a:lnTo>
                  <a:pt x="152920" y="129540"/>
                </a:lnTo>
                <a:lnTo>
                  <a:pt x="143144" y="137160"/>
                </a:lnTo>
                <a:lnTo>
                  <a:pt x="133600" y="146050"/>
                </a:lnTo>
                <a:lnTo>
                  <a:pt x="129217" y="149860"/>
                </a:lnTo>
                <a:lnTo>
                  <a:pt x="166810" y="149860"/>
                </a:lnTo>
                <a:lnTo>
                  <a:pt x="176990" y="142240"/>
                </a:lnTo>
                <a:lnTo>
                  <a:pt x="187455" y="134620"/>
                </a:lnTo>
                <a:lnTo>
                  <a:pt x="198192" y="128270"/>
                </a:lnTo>
                <a:lnTo>
                  <a:pt x="209189" y="120650"/>
                </a:lnTo>
                <a:lnTo>
                  <a:pt x="220434" y="115570"/>
                </a:lnTo>
                <a:lnTo>
                  <a:pt x="231913" y="109220"/>
                </a:lnTo>
                <a:lnTo>
                  <a:pt x="255529" y="99060"/>
                </a:lnTo>
                <a:lnTo>
                  <a:pt x="300642" y="85090"/>
                </a:lnTo>
                <a:lnTo>
                  <a:pt x="599786" y="85090"/>
                </a:lnTo>
                <a:lnTo>
                  <a:pt x="586388" y="77470"/>
                </a:lnTo>
                <a:lnTo>
                  <a:pt x="575018" y="72390"/>
                </a:lnTo>
                <a:lnTo>
                  <a:pt x="563476" y="66040"/>
                </a:lnTo>
                <a:lnTo>
                  <a:pt x="551768" y="62230"/>
                </a:lnTo>
                <a:lnTo>
                  <a:pt x="539898" y="57150"/>
                </a:lnTo>
                <a:lnTo>
                  <a:pt x="515697" y="49530"/>
                </a:lnTo>
                <a:lnTo>
                  <a:pt x="503374" y="46990"/>
                </a:lnTo>
                <a:lnTo>
                  <a:pt x="492776" y="35560"/>
                </a:lnTo>
                <a:lnTo>
                  <a:pt x="459679" y="12700"/>
                </a:lnTo>
                <a:lnTo>
                  <a:pt x="425082" y="1270"/>
                </a:lnTo>
                <a:lnTo>
                  <a:pt x="41331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3336" name="object 25">
            <a:extLst>
              <a:ext uri="{FF2B5EF4-FFF2-40B4-BE49-F238E27FC236}">
                <a16:creationId xmlns:a16="http://schemas.microsoft.com/office/drawing/2014/main" id="{18D4DFA5-78BB-4F77-829B-A354400CA7AA}"/>
              </a:ext>
            </a:extLst>
          </p:cNvPr>
          <p:cNvSpPr>
            <a:spLocks/>
          </p:cNvSpPr>
          <p:nvPr/>
        </p:nvSpPr>
        <p:spPr bwMode="auto">
          <a:xfrm>
            <a:off x="7712194" y="3978191"/>
            <a:ext cx="738977" cy="595949"/>
          </a:xfrm>
          <a:custGeom>
            <a:avLst/>
            <a:gdLst>
              <a:gd name="T0" fmla="*/ 715460 w 1279931"/>
              <a:gd name="T1" fmla="*/ 0 h 1031581"/>
              <a:gd name="T2" fmla="*/ 675507 w 1279931"/>
              <a:gd name="T3" fmla="*/ 4229 h 1031581"/>
              <a:gd name="T4" fmla="*/ 632091 w 1279931"/>
              <a:gd name="T5" fmla="*/ 25840 h 1031581"/>
              <a:gd name="T6" fmla="*/ 601073 w 1279931"/>
              <a:gd name="T7" fmla="*/ 53274 h 1031581"/>
              <a:gd name="T8" fmla="*/ 575142 w 1279931"/>
              <a:gd name="T9" fmla="*/ 86004 h 1031581"/>
              <a:gd name="T10" fmla="*/ 557459 w 1279931"/>
              <a:gd name="T11" fmla="*/ 129279 h 1031581"/>
              <a:gd name="T12" fmla="*/ 554971 w 1279931"/>
              <a:gd name="T13" fmla="*/ 154856 h 1031581"/>
              <a:gd name="T14" fmla="*/ 555384 w 1279931"/>
              <a:gd name="T15" fmla="*/ 170504 h 1031581"/>
              <a:gd name="T16" fmla="*/ 567112 w 1279931"/>
              <a:gd name="T17" fmla="*/ 217273 h 1031581"/>
              <a:gd name="T18" fmla="*/ 588117 w 1279931"/>
              <a:gd name="T19" fmla="*/ 249251 h 1031581"/>
              <a:gd name="T20" fmla="*/ 620428 w 1279931"/>
              <a:gd name="T21" fmla="*/ 285689 h 1031581"/>
              <a:gd name="T22" fmla="*/ 694645 w 1279931"/>
              <a:gd name="T23" fmla="*/ 357595 h 1031581"/>
              <a:gd name="T24" fmla="*/ 167478 w 1279931"/>
              <a:gd name="T25" fmla="*/ 357595 h 1031581"/>
              <a:gd name="T26" fmla="*/ 124990 w 1279931"/>
              <a:gd name="T27" fmla="*/ 361392 h 1031581"/>
              <a:gd name="T28" fmla="*/ 79699 w 1279931"/>
              <a:gd name="T29" fmla="*/ 380771 h 1031581"/>
              <a:gd name="T30" fmla="*/ 42234 w 1279931"/>
              <a:gd name="T31" fmla="*/ 411651 h 1031581"/>
              <a:gd name="T32" fmla="*/ 19839 w 1279931"/>
              <a:gd name="T33" fmla="*/ 442526 h 1031581"/>
              <a:gd name="T34" fmla="*/ 4506 w 1279931"/>
              <a:gd name="T35" fmla="*/ 478807 h 1031581"/>
              <a:gd name="T36" fmla="*/ 0 w 1279931"/>
              <a:gd name="T37" fmla="*/ 516175 h 1031581"/>
              <a:gd name="T38" fmla="*/ 528 w 1279931"/>
              <a:gd name="T39" fmla="*/ 530426 h 1031581"/>
              <a:gd name="T40" fmla="*/ 8435 w 1279931"/>
              <a:gd name="T41" fmla="*/ 568136 h 1031581"/>
              <a:gd name="T42" fmla="*/ 29352 w 1279931"/>
              <a:gd name="T43" fmla="*/ 604666 h 1031581"/>
              <a:gd name="T44" fmla="*/ 62105 w 1279931"/>
              <a:gd name="T45" fmla="*/ 639662 h 1031581"/>
              <a:gd name="T46" fmla="*/ 94256 w 1279931"/>
              <a:gd name="T47" fmla="*/ 660462 h 1031581"/>
              <a:gd name="T48" fmla="*/ 142117 w 1279931"/>
              <a:gd name="T49" fmla="*/ 674136 h 1031581"/>
              <a:gd name="T50" fmla="*/ 686718 w 1279931"/>
              <a:gd name="T51" fmla="*/ 675455 h 1031581"/>
              <a:gd name="T52" fmla="*/ 601495 w 1279931"/>
              <a:gd name="T53" fmla="*/ 769822 h 1031581"/>
              <a:gd name="T54" fmla="*/ 574577 w 1279931"/>
              <a:gd name="T55" fmla="*/ 805409 h 1031581"/>
              <a:gd name="T56" fmla="*/ 556478 w 1279931"/>
              <a:gd name="T57" fmla="*/ 850965 h 1031581"/>
              <a:gd name="T58" fmla="*/ 555133 w 1279931"/>
              <a:gd name="T59" fmla="*/ 862017 h 1031581"/>
              <a:gd name="T60" fmla="*/ 555527 w 1279931"/>
              <a:gd name="T61" fmla="*/ 876850 h 1031581"/>
              <a:gd name="T62" fmla="*/ 562403 w 1279931"/>
              <a:gd name="T63" fmla="*/ 915690 h 1031581"/>
              <a:gd name="T64" fmla="*/ 585667 w 1279931"/>
              <a:gd name="T65" fmla="*/ 958781 h 1031581"/>
              <a:gd name="T66" fmla="*/ 611419 w 1279931"/>
              <a:gd name="T67" fmla="*/ 987166 h 1031581"/>
              <a:gd name="T68" fmla="*/ 648973 w 1279931"/>
              <a:gd name="T69" fmla="*/ 1015751 h 1031581"/>
              <a:gd name="T70" fmla="*/ 696994 w 1279931"/>
              <a:gd name="T71" fmla="*/ 1031450 h 1031581"/>
              <a:gd name="T72" fmla="*/ 710196 w 1279931"/>
              <a:gd name="T73" fmla="*/ 1032757 h 1031581"/>
              <a:gd name="T74" fmla="*/ 723213 w 1279931"/>
              <a:gd name="T75" fmla="*/ 1032279 h 1031581"/>
              <a:gd name="T76" fmla="*/ 770639 w 1279931"/>
              <a:gd name="T77" fmla="*/ 1018945 h 1031581"/>
              <a:gd name="T78" fmla="*/ 803471 w 1279931"/>
              <a:gd name="T79" fmla="*/ 997014 h 1031581"/>
              <a:gd name="T80" fmla="*/ 952170 w 1279931"/>
              <a:gd name="T81" fmla="*/ 852587 h 1031581"/>
              <a:gd name="T82" fmla="*/ 1029580 w 1279931"/>
              <a:gd name="T83" fmla="*/ 775285 h 1031581"/>
              <a:gd name="T84" fmla="*/ 1093000 w 1279931"/>
              <a:gd name="T85" fmla="*/ 710591 h 1031581"/>
              <a:gd name="T86" fmla="*/ 1143020 w 1279931"/>
              <a:gd name="T87" fmla="*/ 658663 h 1031581"/>
              <a:gd name="T88" fmla="*/ 1278307 w 1279931"/>
              <a:gd name="T89" fmla="*/ 516525 h 1031581"/>
              <a:gd name="T90" fmla="*/ 1130567 w 1279931"/>
              <a:gd name="T91" fmla="*/ 361385 h 1031581"/>
              <a:gd name="T92" fmla="*/ 1080395 w 1279931"/>
              <a:gd name="T93" fmla="*/ 309499 h 1031581"/>
              <a:gd name="T94" fmla="*/ 1016777 w 1279931"/>
              <a:gd name="T95" fmla="*/ 244859 h 1031581"/>
              <a:gd name="T96" fmla="*/ 952170 w 1279931"/>
              <a:gd name="T97" fmla="*/ 180463 h 1031581"/>
              <a:gd name="T98" fmla="*/ 811577 w 1279931"/>
              <a:gd name="T99" fmla="*/ 43697 h 1031581"/>
              <a:gd name="T100" fmla="*/ 776910 w 1279931"/>
              <a:gd name="T101" fmla="*/ 16058 h 1031581"/>
              <a:gd name="T102" fmla="*/ 732125 w 1279931"/>
              <a:gd name="T103" fmla="*/ 286 h 1031581"/>
              <a:gd name="T104" fmla="*/ 715460 w 1279931"/>
              <a:gd name="T105" fmla="*/ 0 h 10315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279931" h="1031581">
                <a:moveTo>
                  <a:pt x="716368" y="0"/>
                </a:moveTo>
                <a:lnTo>
                  <a:pt x="676364" y="4225"/>
                </a:lnTo>
                <a:lnTo>
                  <a:pt x="632895" y="25812"/>
                </a:lnTo>
                <a:lnTo>
                  <a:pt x="601837" y="53214"/>
                </a:lnTo>
                <a:lnTo>
                  <a:pt x="575873" y="85907"/>
                </a:lnTo>
                <a:lnTo>
                  <a:pt x="558167" y="129131"/>
                </a:lnTo>
                <a:lnTo>
                  <a:pt x="555675" y="154680"/>
                </a:lnTo>
                <a:lnTo>
                  <a:pt x="556088" y="170308"/>
                </a:lnTo>
                <a:lnTo>
                  <a:pt x="567832" y="217025"/>
                </a:lnTo>
                <a:lnTo>
                  <a:pt x="588865" y="248967"/>
                </a:lnTo>
                <a:lnTo>
                  <a:pt x="621216" y="285365"/>
                </a:lnTo>
                <a:lnTo>
                  <a:pt x="695527" y="357187"/>
                </a:lnTo>
                <a:lnTo>
                  <a:pt x="167690" y="357187"/>
                </a:lnTo>
                <a:lnTo>
                  <a:pt x="125150" y="360980"/>
                </a:lnTo>
                <a:lnTo>
                  <a:pt x="79799" y="380339"/>
                </a:lnTo>
                <a:lnTo>
                  <a:pt x="42286" y="411183"/>
                </a:lnTo>
                <a:lnTo>
                  <a:pt x="19863" y="442022"/>
                </a:lnTo>
                <a:lnTo>
                  <a:pt x="4510" y="478263"/>
                </a:lnTo>
                <a:lnTo>
                  <a:pt x="0" y="515587"/>
                </a:lnTo>
                <a:lnTo>
                  <a:pt x="528" y="529822"/>
                </a:lnTo>
                <a:lnTo>
                  <a:pt x="8447" y="567488"/>
                </a:lnTo>
                <a:lnTo>
                  <a:pt x="29388" y="603978"/>
                </a:lnTo>
                <a:lnTo>
                  <a:pt x="62185" y="638934"/>
                </a:lnTo>
                <a:lnTo>
                  <a:pt x="94376" y="659710"/>
                </a:lnTo>
                <a:lnTo>
                  <a:pt x="142297" y="673368"/>
                </a:lnTo>
                <a:lnTo>
                  <a:pt x="687590" y="674687"/>
                </a:lnTo>
                <a:lnTo>
                  <a:pt x="602259" y="768946"/>
                </a:lnTo>
                <a:lnTo>
                  <a:pt x="575305" y="804493"/>
                </a:lnTo>
                <a:lnTo>
                  <a:pt x="557186" y="849997"/>
                </a:lnTo>
                <a:lnTo>
                  <a:pt x="555837" y="861035"/>
                </a:lnTo>
                <a:lnTo>
                  <a:pt x="556231" y="875850"/>
                </a:lnTo>
                <a:lnTo>
                  <a:pt x="563118" y="914646"/>
                </a:lnTo>
                <a:lnTo>
                  <a:pt x="586411" y="957689"/>
                </a:lnTo>
                <a:lnTo>
                  <a:pt x="612195" y="986042"/>
                </a:lnTo>
                <a:lnTo>
                  <a:pt x="649797" y="1014595"/>
                </a:lnTo>
                <a:lnTo>
                  <a:pt x="697878" y="1030274"/>
                </a:lnTo>
                <a:lnTo>
                  <a:pt x="711097" y="1031581"/>
                </a:lnTo>
                <a:lnTo>
                  <a:pt x="724132" y="1031103"/>
                </a:lnTo>
                <a:lnTo>
                  <a:pt x="771619" y="1017785"/>
                </a:lnTo>
                <a:lnTo>
                  <a:pt x="804491" y="995878"/>
                </a:lnTo>
                <a:lnTo>
                  <a:pt x="953378" y="851615"/>
                </a:lnTo>
                <a:lnTo>
                  <a:pt x="1030888" y="774401"/>
                </a:lnTo>
                <a:lnTo>
                  <a:pt x="1094388" y="709783"/>
                </a:lnTo>
                <a:lnTo>
                  <a:pt x="1144472" y="657911"/>
                </a:lnTo>
                <a:lnTo>
                  <a:pt x="1279931" y="515937"/>
                </a:lnTo>
                <a:lnTo>
                  <a:pt x="1132003" y="360973"/>
                </a:lnTo>
                <a:lnTo>
                  <a:pt x="1081767" y="309147"/>
                </a:lnTo>
                <a:lnTo>
                  <a:pt x="1018069" y="244579"/>
                </a:lnTo>
                <a:lnTo>
                  <a:pt x="953378" y="180259"/>
                </a:lnTo>
                <a:lnTo>
                  <a:pt x="812609" y="43649"/>
                </a:lnTo>
                <a:lnTo>
                  <a:pt x="777898" y="16038"/>
                </a:lnTo>
                <a:lnTo>
                  <a:pt x="733054" y="286"/>
                </a:lnTo>
                <a:lnTo>
                  <a:pt x="71636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7" name="object 27">
            <a:extLst>
              <a:ext uri="{FF2B5EF4-FFF2-40B4-BE49-F238E27FC236}">
                <a16:creationId xmlns:a16="http://schemas.microsoft.com/office/drawing/2014/main" id="{FE7590D0-A214-44CF-99D8-BE1AA2FE739E}"/>
              </a:ext>
            </a:extLst>
          </p:cNvPr>
          <p:cNvSpPr txBox="1"/>
          <p:nvPr/>
        </p:nvSpPr>
        <p:spPr>
          <a:xfrm>
            <a:off x="1979979" y="4022465"/>
            <a:ext cx="5544059" cy="1140555"/>
          </a:xfrm>
          <a:prstGeom prst="rect">
            <a:avLst/>
          </a:prstGeom>
        </p:spPr>
        <p:txBody>
          <a:bodyPr lIns="0" tIns="0" rIns="0" bIns="0"/>
          <a:lstStyle/>
          <a:p>
            <a:pPr>
              <a:lnSpc>
                <a:spcPts val="578"/>
              </a:lnSpc>
              <a:defRPr/>
            </a:pPr>
            <a:r>
              <a:rPr lang="en-US" sz="2400" dirty="0" err="1"/>
              <a:t>စိတ်ဖိစီးမှု</a:t>
            </a:r>
            <a:r>
              <a:rPr lang="en-US" sz="2400" dirty="0"/>
              <a:t> </a:t>
            </a:r>
            <a:r>
              <a:rPr lang="en-US" sz="2400" dirty="0" err="1"/>
              <a:t>လျော့ချခြင်း</a:t>
            </a:r>
            <a:r>
              <a:rPr lang="en-US" sz="2400" dirty="0"/>
              <a:t> </a:t>
            </a:r>
            <a:r>
              <a:rPr lang="en-US" sz="2400" dirty="0" err="1"/>
              <a:t>နည်းလမ်းများ</a:t>
            </a:r>
            <a:endParaRPr lang="en-US" sz="2400" dirty="0">
              <a:latin typeface="Gill Sans Light"/>
              <a:cs typeface="Gill Sans Light"/>
            </a:endParaRPr>
          </a:p>
        </p:txBody>
      </p:sp>
      <p:sp>
        <p:nvSpPr>
          <p:cNvPr id="13338" name="object 28">
            <a:extLst>
              <a:ext uri="{FF2B5EF4-FFF2-40B4-BE49-F238E27FC236}">
                <a16:creationId xmlns:a16="http://schemas.microsoft.com/office/drawing/2014/main" id="{EA163EA8-4053-4898-BD37-68A0ED21248C}"/>
              </a:ext>
            </a:extLst>
          </p:cNvPr>
          <p:cNvSpPr>
            <a:spLocks/>
          </p:cNvSpPr>
          <p:nvPr/>
        </p:nvSpPr>
        <p:spPr bwMode="auto">
          <a:xfrm>
            <a:off x="2445" y="622538"/>
            <a:ext cx="7335676" cy="780235"/>
          </a:xfrm>
          <a:custGeom>
            <a:avLst/>
            <a:gdLst>
              <a:gd name="T0" fmla="*/ 12703952 w 12700800"/>
              <a:gd name="T1" fmla="*/ 0 h 1349997"/>
              <a:gd name="T2" fmla="*/ 0 w 12700800"/>
              <a:gd name="T3" fmla="*/ 0 h 1349997"/>
              <a:gd name="T4" fmla="*/ 0 w 12700800"/>
              <a:gd name="T5" fmla="*/ 1353861 h 1349997"/>
              <a:gd name="T6" fmla="*/ 12222400 w 12700800"/>
              <a:gd name="T7" fmla="*/ 1353199 h 1349997"/>
              <a:gd name="T8" fmla="*/ 12298283 w 12700800"/>
              <a:gd name="T9" fmla="*/ 1351625 h 1349997"/>
              <a:gd name="T10" fmla="*/ 12365743 w 12700800"/>
              <a:gd name="T11" fmla="*/ 1348563 h 1349997"/>
              <a:gd name="T12" fmla="*/ 12425277 w 12700800"/>
              <a:gd name="T13" fmla="*/ 1343513 h 1349997"/>
              <a:gd name="T14" fmla="*/ 12477378 w 12700800"/>
              <a:gd name="T15" fmla="*/ 1335979 h 1349997"/>
              <a:gd name="T16" fmla="*/ 12522545 w 12700800"/>
              <a:gd name="T17" fmla="*/ 1325465 h 1349997"/>
              <a:gd name="T18" fmla="*/ 12561269 w 12700800"/>
              <a:gd name="T19" fmla="*/ 1311474 h 1349997"/>
              <a:gd name="T20" fmla="*/ 12621382 w 12700800"/>
              <a:gd name="T21" fmla="*/ 1271075 h 1349997"/>
              <a:gd name="T22" fmla="*/ 12661675 w 12700800"/>
              <a:gd name="T23" fmla="*/ 1210806 h 1349997"/>
              <a:gd name="T24" fmla="*/ 12675629 w 12700800"/>
              <a:gd name="T25" fmla="*/ 1171979 h 1349997"/>
              <a:gd name="T26" fmla="*/ 12686117 w 12700800"/>
              <a:gd name="T27" fmla="*/ 1126696 h 1349997"/>
              <a:gd name="T28" fmla="*/ 12693630 w 12700800"/>
              <a:gd name="T29" fmla="*/ 1074457 h 1349997"/>
              <a:gd name="T30" fmla="*/ 12698668 w 12700800"/>
              <a:gd name="T31" fmla="*/ 1014768 h 1349997"/>
              <a:gd name="T32" fmla="*/ 12701723 w 12700800"/>
              <a:gd name="T33" fmla="*/ 947133 h 1349997"/>
              <a:gd name="T34" fmla="*/ 12703291 w 12700800"/>
              <a:gd name="T35" fmla="*/ 871051 h 1349997"/>
              <a:gd name="T36" fmla="*/ 12703869 w 12700800"/>
              <a:gd name="T37" fmla="*/ 786029 h 1349997"/>
              <a:gd name="T38" fmla="*/ 12703952 w 12700800"/>
              <a:gd name="T39" fmla="*/ 0 h 134999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700800" h="1349997">
                <a:moveTo>
                  <a:pt x="12700800" y="0"/>
                </a:moveTo>
                <a:lnTo>
                  <a:pt x="0" y="0"/>
                </a:lnTo>
                <a:lnTo>
                  <a:pt x="0" y="1349997"/>
                </a:lnTo>
                <a:lnTo>
                  <a:pt x="12219368" y="1349336"/>
                </a:lnTo>
                <a:lnTo>
                  <a:pt x="12295231" y="1347768"/>
                </a:lnTo>
                <a:lnTo>
                  <a:pt x="12362675" y="1344714"/>
                </a:lnTo>
                <a:lnTo>
                  <a:pt x="12422193" y="1339678"/>
                </a:lnTo>
                <a:lnTo>
                  <a:pt x="12474282" y="1332166"/>
                </a:lnTo>
                <a:lnTo>
                  <a:pt x="12519437" y="1321682"/>
                </a:lnTo>
                <a:lnTo>
                  <a:pt x="12558153" y="1307731"/>
                </a:lnTo>
                <a:lnTo>
                  <a:pt x="12618250" y="1267447"/>
                </a:lnTo>
                <a:lnTo>
                  <a:pt x="12658534" y="1207350"/>
                </a:lnTo>
                <a:lnTo>
                  <a:pt x="12672485" y="1168634"/>
                </a:lnTo>
                <a:lnTo>
                  <a:pt x="12682969" y="1123480"/>
                </a:lnTo>
                <a:lnTo>
                  <a:pt x="12690481" y="1071391"/>
                </a:lnTo>
                <a:lnTo>
                  <a:pt x="12695516" y="1011872"/>
                </a:lnTo>
                <a:lnTo>
                  <a:pt x="12698571" y="944429"/>
                </a:lnTo>
                <a:lnTo>
                  <a:pt x="12700139" y="868565"/>
                </a:lnTo>
                <a:lnTo>
                  <a:pt x="12700717" y="783786"/>
                </a:lnTo>
                <a:lnTo>
                  <a:pt x="12700800"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29" name="object 29">
            <a:extLst>
              <a:ext uri="{FF2B5EF4-FFF2-40B4-BE49-F238E27FC236}">
                <a16:creationId xmlns:a16="http://schemas.microsoft.com/office/drawing/2014/main" id="{60333766-F973-4E39-9228-CADAFCA8300C}"/>
              </a:ext>
            </a:extLst>
          </p:cNvPr>
          <p:cNvSpPr txBox="1">
            <a:spLocks noGrp="1"/>
          </p:cNvSpPr>
          <p:nvPr>
            <p:ph type="title"/>
          </p:nvPr>
        </p:nvSpPr>
        <p:spPr/>
        <p:txBody>
          <a:bodyPr vert="horz" lIns="0" tIns="278603" rIns="0" bIns="0" rtlCol="0" anchor="ctr">
            <a:noAutofit/>
          </a:bodyPr>
          <a:lstStyle/>
          <a:p>
            <a:pPr marL="211960">
              <a:defRPr/>
            </a:pPr>
            <a:r>
              <a:rPr lang="en-US" sz="2400" dirty="0" err="1">
                <a:solidFill>
                  <a:schemeClr val="bg1"/>
                </a:solidFill>
              </a:rPr>
              <a:t>ဝန်ထမ်းများအတွက</a:t>
            </a:r>
            <a:r>
              <a:rPr lang="en-US" sz="2400" dirty="0">
                <a:solidFill>
                  <a:schemeClr val="bg1"/>
                </a:solidFill>
              </a:rPr>
              <a:t>် </a:t>
            </a:r>
            <a:r>
              <a:rPr lang="en-US" sz="2400" dirty="0" err="1">
                <a:solidFill>
                  <a:schemeClr val="bg1"/>
                </a:solidFill>
              </a:rPr>
              <a:t>စိတ်ဖိစီးမှုကို</a:t>
            </a:r>
            <a:r>
              <a:rPr lang="en-US" sz="2400" dirty="0">
                <a:solidFill>
                  <a:schemeClr val="bg1"/>
                </a:solidFill>
              </a:rPr>
              <a:t> </a:t>
            </a:r>
            <a:r>
              <a:rPr lang="en-US" sz="2400" dirty="0" err="1">
                <a:solidFill>
                  <a:schemeClr val="bg1"/>
                </a:solidFill>
              </a:rPr>
              <a:t>စီမံခန</a:t>
            </a:r>
            <a:r>
              <a:rPr lang="en-US" sz="2400" dirty="0">
                <a:solidFill>
                  <a:schemeClr val="bg1"/>
                </a:solidFill>
              </a:rPr>
              <a:t>့်</a:t>
            </a:r>
            <a:r>
              <a:rPr lang="en-US" sz="2400" dirty="0" err="1">
                <a:solidFill>
                  <a:schemeClr val="bg1"/>
                </a:solidFill>
              </a:rPr>
              <a:t>ခွဲခြင်းနည်းလမ်များ</a:t>
            </a:r>
            <a:endParaRPr sz="2400" dirty="0">
              <a:latin typeface="Gill Sans"/>
              <a:cs typeface="Gill Sans"/>
            </a:endParaRPr>
          </a:p>
        </p:txBody>
      </p:sp>
      <p:sp>
        <p:nvSpPr>
          <p:cNvPr id="31" name="object 31">
            <a:extLst>
              <a:ext uri="{FF2B5EF4-FFF2-40B4-BE49-F238E27FC236}">
                <a16:creationId xmlns:a16="http://schemas.microsoft.com/office/drawing/2014/main" id="{8AD52047-7701-4A29-844B-D79F3D129B5A}"/>
              </a:ext>
            </a:extLst>
          </p:cNvPr>
          <p:cNvSpPr>
            <a:spLocks noGrp="1"/>
          </p:cNvSpPr>
          <p:nvPr>
            <p:ph type="ftr" sz="quarter" idx="10"/>
          </p:nvPr>
        </p:nvSpPr>
        <p:spPr/>
        <p:txBody>
          <a:bodyPr vert="horz" rtlCol="0"/>
          <a:lstStyle/>
          <a:p>
            <a:pPr>
              <a:defRPr/>
            </a:pPr>
            <a:r>
              <a:t>Se</a:t>
            </a:r>
            <a:r>
              <a:rPr spc="9"/>
              <a:t>c</a:t>
            </a:r>
            <a:r>
              <a:rPr spc="12"/>
              <a:t>t</a:t>
            </a:r>
            <a:r>
              <a:rPr spc="-6"/>
              <a:t>i</a:t>
            </a:r>
            <a:r>
              <a:t>on</a:t>
            </a:r>
            <a:r>
              <a:rPr spc="3"/>
              <a:t> </a:t>
            </a:r>
            <a:r>
              <a:rPr spc="17"/>
              <a:t>C</a:t>
            </a:r>
            <a:r>
              <a:t>:</a:t>
            </a:r>
          </a:p>
        </p:txBody>
      </p:sp>
      <p:sp>
        <p:nvSpPr>
          <p:cNvPr id="30" name="object 30">
            <a:extLst>
              <a:ext uri="{FF2B5EF4-FFF2-40B4-BE49-F238E27FC236}">
                <a16:creationId xmlns:a16="http://schemas.microsoft.com/office/drawing/2014/main" id="{5EE36EB8-5E63-4D83-A104-B668129D30C3}"/>
              </a:ext>
            </a:extLst>
          </p:cNvPr>
          <p:cNvSpPr txBox="1"/>
          <p:nvPr/>
        </p:nvSpPr>
        <p:spPr>
          <a:xfrm>
            <a:off x="20816" y="4713813"/>
            <a:ext cx="69313" cy="855600"/>
          </a:xfrm>
          <a:prstGeom prst="rect">
            <a:avLst/>
          </a:prstGeom>
        </p:spPr>
        <p:txBody>
          <a:bodyPr vert="vert270" lIns="0" tIns="0" rIns="0" bIns="0"/>
          <a:lstStyle/>
          <a:p>
            <a:pPr marL="7334">
              <a:defRPr/>
            </a:pPr>
            <a:r>
              <a:rPr sz="404" dirty="0">
                <a:solidFill>
                  <a:srgbClr val="FFFFFF"/>
                </a:solidFill>
                <a:latin typeface="Gill Sans"/>
                <a:cs typeface="Gill Sans"/>
              </a:rPr>
              <a:t>Karin Beate Nøsterud/S</a:t>
            </a:r>
            <a:r>
              <a:rPr sz="404" spc="-17" dirty="0">
                <a:solidFill>
                  <a:srgbClr val="FFFFFF"/>
                </a:solidFill>
                <a:latin typeface="Gill Sans"/>
                <a:cs typeface="Gill Sans"/>
              </a:rPr>
              <a:t>a</a:t>
            </a:r>
            <a:r>
              <a:rPr sz="404" spc="-9" dirty="0">
                <a:solidFill>
                  <a:srgbClr val="FFFFFF"/>
                </a:solidFill>
                <a:latin typeface="Gill Sans"/>
                <a:cs typeface="Gill Sans"/>
              </a:rPr>
              <a:t>v</a:t>
            </a:r>
            <a:r>
              <a:rPr sz="404" dirty="0">
                <a:solidFill>
                  <a:srgbClr val="FFFFFF"/>
                </a:solidFill>
                <a:latin typeface="Gill Sans"/>
                <a:cs typeface="Gill Sans"/>
              </a:rPr>
              <a:t>e the Child</a:t>
            </a:r>
            <a:r>
              <a:rPr sz="404" spc="-9" dirty="0">
                <a:solidFill>
                  <a:srgbClr val="FFFFFF"/>
                </a:solidFill>
                <a:latin typeface="Gill Sans"/>
                <a:cs typeface="Gill Sans"/>
              </a:rPr>
              <a:t>r</a:t>
            </a:r>
            <a:r>
              <a:rPr sz="404" dirty="0">
                <a:solidFill>
                  <a:srgbClr val="FFFFFF"/>
                </a:solidFill>
                <a:latin typeface="Gill Sans"/>
                <a:cs typeface="Gill Sans"/>
              </a:rPr>
              <a:t>en</a:t>
            </a:r>
            <a:endParaRPr sz="404">
              <a:latin typeface="Gill Sans"/>
              <a:cs typeface="Gill Sans"/>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object 2">
            <a:extLst>
              <a:ext uri="{FF2B5EF4-FFF2-40B4-BE49-F238E27FC236}">
                <a16:creationId xmlns:a16="http://schemas.microsoft.com/office/drawing/2014/main" id="{E4127C54-C8B8-4A29-8006-F07F7FB2D4F8}"/>
              </a:ext>
            </a:extLst>
          </p:cNvPr>
          <p:cNvSpPr>
            <a:spLocks/>
          </p:cNvSpPr>
          <p:nvPr/>
        </p:nvSpPr>
        <p:spPr bwMode="auto">
          <a:xfrm>
            <a:off x="2445" y="5795377"/>
            <a:ext cx="9140027" cy="118273"/>
          </a:xfrm>
          <a:custGeom>
            <a:avLst/>
            <a:gdLst>
              <a:gd name="T0" fmla="*/ 0 w 15825596"/>
              <a:gd name="T1" fmla="*/ 0 h 204177"/>
              <a:gd name="T2" fmla="*/ 0 w 15825596"/>
              <a:gd name="T3" fmla="*/ 206628 h 204177"/>
              <a:gd name="T4" fmla="*/ 15826364 w 15825596"/>
              <a:gd name="T5" fmla="*/ 206628 h 204177"/>
              <a:gd name="T6" fmla="*/ 15826364 w 15825596"/>
              <a:gd name="T7" fmla="*/ 0 h 204177"/>
              <a:gd name="T8" fmla="*/ 0 w 15825596"/>
              <a:gd name="T9" fmla="*/ 0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0"/>
                </a:moveTo>
                <a:lnTo>
                  <a:pt x="0" y="204177"/>
                </a:lnTo>
                <a:lnTo>
                  <a:pt x="15825596" y="204177"/>
                </a:lnTo>
                <a:lnTo>
                  <a:pt x="15825596" y="0"/>
                </a:lnTo>
                <a:lnTo>
                  <a:pt x="0" y="0"/>
                </a:lnTo>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39" name="object 3">
            <a:extLst>
              <a:ext uri="{FF2B5EF4-FFF2-40B4-BE49-F238E27FC236}">
                <a16:creationId xmlns:a16="http://schemas.microsoft.com/office/drawing/2014/main" id="{4E5FF88D-028C-40EC-AF54-70E68FD4E503}"/>
              </a:ext>
            </a:extLst>
          </p:cNvPr>
          <p:cNvSpPr>
            <a:spLocks/>
          </p:cNvSpPr>
          <p:nvPr/>
        </p:nvSpPr>
        <p:spPr bwMode="auto">
          <a:xfrm>
            <a:off x="2445" y="5603756"/>
            <a:ext cx="1435779" cy="191621"/>
          </a:xfrm>
          <a:custGeom>
            <a:avLst/>
            <a:gdLst>
              <a:gd name="T0" fmla="*/ 0 w 2486525"/>
              <a:gd name="T1" fmla="*/ 329251 h 332638"/>
              <a:gd name="T2" fmla="*/ 2437041 w 2486525"/>
              <a:gd name="T3" fmla="*/ 329251 h 332638"/>
              <a:gd name="T4" fmla="*/ 2459192 w 2486525"/>
              <a:gd name="T5" fmla="*/ 328933 h 332638"/>
              <a:gd name="T6" fmla="*/ 2484517 w 2486525"/>
              <a:gd name="T7" fmla="*/ 289575 h 332638"/>
              <a:gd name="T8" fmla="*/ 2484525 w 2486525"/>
              <a:gd name="T9" fmla="*/ 47039 h 332638"/>
              <a:gd name="T10" fmla="*/ 2484204 w 2486525"/>
              <a:gd name="T11" fmla="*/ 25094 h 332638"/>
              <a:gd name="T12" fmla="*/ 2444474 w 2486525"/>
              <a:gd name="T13" fmla="*/ 7 h 332638"/>
              <a:gd name="T14" fmla="*/ 0 w 2486525"/>
              <a:gd name="T15" fmla="*/ 0 h 332638"/>
              <a:gd name="T16" fmla="*/ 0 w 2486525"/>
              <a:gd name="T17" fmla="*/ 329251 h 3326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486525" h="332638">
                <a:moveTo>
                  <a:pt x="0" y="332638"/>
                </a:moveTo>
                <a:lnTo>
                  <a:pt x="2439001" y="332638"/>
                </a:lnTo>
                <a:lnTo>
                  <a:pt x="2461172" y="332317"/>
                </a:lnTo>
                <a:lnTo>
                  <a:pt x="2486517" y="292555"/>
                </a:lnTo>
                <a:lnTo>
                  <a:pt x="2486525" y="47523"/>
                </a:lnTo>
                <a:lnTo>
                  <a:pt x="2486204" y="25352"/>
                </a:lnTo>
                <a:lnTo>
                  <a:pt x="2446442" y="7"/>
                </a:lnTo>
                <a:lnTo>
                  <a:pt x="0" y="0"/>
                </a:lnTo>
                <a:lnTo>
                  <a:pt x="0" y="332638"/>
                </a:lnTo>
              </a:path>
            </a:pathLst>
          </a:custGeom>
          <a:solidFill>
            <a:srgbClr val="F15A4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40" name="object 4">
            <a:extLst>
              <a:ext uri="{FF2B5EF4-FFF2-40B4-BE49-F238E27FC236}">
                <a16:creationId xmlns:a16="http://schemas.microsoft.com/office/drawing/2014/main" id="{77ED2533-4168-4098-ABA8-05BD59A23AFE}"/>
              </a:ext>
            </a:extLst>
          </p:cNvPr>
          <p:cNvSpPr>
            <a:spLocks/>
          </p:cNvSpPr>
          <p:nvPr/>
        </p:nvSpPr>
        <p:spPr bwMode="auto">
          <a:xfrm>
            <a:off x="2445" y="0"/>
            <a:ext cx="9140027" cy="118273"/>
          </a:xfrm>
          <a:custGeom>
            <a:avLst/>
            <a:gdLst>
              <a:gd name="T0" fmla="*/ 0 w 15825596"/>
              <a:gd name="T1" fmla="*/ 206633 h 204177"/>
              <a:gd name="T2" fmla="*/ 15826364 w 15825596"/>
              <a:gd name="T3" fmla="*/ 206633 h 204177"/>
              <a:gd name="T4" fmla="*/ 15826364 w 15825596"/>
              <a:gd name="T5" fmla="*/ 0 h 204177"/>
              <a:gd name="T6" fmla="*/ 0 w 15825596"/>
              <a:gd name="T7" fmla="*/ 0 h 204177"/>
              <a:gd name="T8" fmla="*/ 0 w 15825596"/>
              <a:gd name="T9" fmla="*/ 206633 h 2041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25596" h="204177">
                <a:moveTo>
                  <a:pt x="0" y="204177"/>
                </a:moveTo>
                <a:lnTo>
                  <a:pt x="15825596" y="204177"/>
                </a:lnTo>
                <a:lnTo>
                  <a:pt x="15825596" y="0"/>
                </a:lnTo>
                <a:lnTo>
                  <a:pt x="0" y="0"/>
                </a:lnTo>
                <a:lnTo>
                  <a:pt x="0" y="204177"/>
                </a:lnTo>
              </a:path>
            </a:pathLst>
          </a:custGeom>
          <a:solidFill>
            <a:srgbClr val="C4A80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41" name="object 5">
            <a:extLst>
              <a:ext uri="{FF2B5EF4-FFF2-40B4-BE49-F238E27FC236}">
                <a16:creationId xmlns:a16="http://schemas.microsoft.com/office/drawing/2014/main" id="{52EF8239-0419-4F13-A707-A4CBCBAF90FE}"/>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42" name="object 6">
            <a:extLst>
              <a:ext uri="{FF2B5EF4-FFF2-40B4-BE49-F238E27FC236}">
                <a16:creationId xmlns:a16="http://schemas.microsoft.com/office/drawing/2014/main" id="{B937F1D3-DE1D-493C-9D59-B8EAD0C04F08}"/>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a:solidFill>
                  <a:srgbClr val="ED1C24"/>
                </a:solidFill>
                <a:latin typeface="Gill Sans" pitchFamily="34" charset="0"/>
                <a:cs typeface="Gill Sans" pitchFamily="34" charset="0"/>
              </a:rPr>
              <a:t>24</a:t>
            </a:r>
            <a:endParaRPr lang="en-US" altLang="en-US" sz="2021">
              <a:latin typeface="Gill Sans" pitchFamily="34" charset="0"/>
              <a:cs typeface="Gill Sans" pitchFamily="34" charset="0"/>
            </a:endParaRPr>
          </a:p>
        </p:txBody>
      </p:sp>
      <p:sp>
        <p:nvSpPr>
          <p:cNvPr id="14360" name="object 24">
            <a:extLst>
              <a:ext uri="{FF2B5EF4-FFF2-40B4-BE49-F238E27FC236}">
                <a16:creationId xmlns:a16="http://schemas.microsoft.com/office/drawing/2014/main" id="{2334894A-5382-4BBB-A61F-1A36A6238043}"/>
              </a:ext>
            </a:extLst>
          </p:cNvPr>
          <p:cNvSpPr>
            <a:spLocks noChangeArrowheads="1"/>
          </p:cNvSpPr>
          <p:nvPr/>
        </p:nvSpPr>
        <p:spPr bwMode="auto">
          <a:xfrm>
            <a:off x="1453811" y="2868808"/>
            <a:ext cx="6255633" cy="3835162"/>
          </a:xfrm>
          <a:prstGeom prst="rect">
            <a:avLst/>
          </a:prstGeom>
          <a:blipFill dpi="0" rotWithShape="1">
            <a:blip r:embed="rId2"/>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endParaRPr lang="en-US" altLang="en-US" sz="1040"/>
          </a:p>
        </p:txBody>
      </p:sp>
      <p:sp>
        <p:nvSpPr>
          <p:cNvPr id="14361" name="object 25">
            <a:extLst>
              <a:ext uri="{FF2B5EF4-FFF2-40B4-BE49-F238E27FC236}">
                <a16:creationId xmlns:a16="http://schemas.microsoft.com/office/drawing/2014/main" id="{41D7CE4D-85B7-4F54-91B8-DD3602433B03}"/>
              </a:ext>
            </a:extLst>
          </p:cNvPr>
          <p:cNvSpPr>
            <a:spLocks/>
          </p:cNvSpPr>
          <p:nvPr/>
        </p:nvSpPr>
        <p:spPr bwMode="auto">
          <a:xfrm>
            <a:off x="3867864" y="2818381"/>
            <a:ext cx="1399105" cy="2185758"/>
          </a:xfrm>
          <a:custGeom>
            <a:avLst/>
            <a:gdLst>
              <a:gd name="T0" fmla="*/ 2351477 w 2422237"/>
              <a:gd name="T1" fmla="*/ 3784600 h 3784600"/>
              <a:gd name="T2" fmla="*/ 116116 w 2422237"/>
              <a:gd name="T3" fmla="*/ 3771900 h 3784600"/>
              <a:gd name="T4" fmla="*/ 62927 w 2422237"/>
              <a:gd name="T5" fmla="*/ 3454400 h 3784600"/>
              <a:gd name="T6" fmla="*/ 2810 w 2422237"/>
              <a:gd name="T7" fmla="*/ 3568700 h 3784600"/>
              <a:gd name="T8" fmla="*/ 2810 w 2422237"/>
              <a:gd name="T9" fmla="*/ 3632200 h 3784600"/>
              <a:gd name="T10" fmla="*/ 87962 w 2422237"/>
              <a:gd name="T11" fmla="*/ 3759200 h 3784600"/>
              <a:gd name="T12" fmla="*/ 2492169 w 2422237"/>
              <a:gd name="T13" fmla="*/ 3644900 h 3784600"/>
              <a:gd name="T14" fmla="*/ 2495603 w 2422237"/>
              <a:gd name="T15" fmla="*/ 3568700 h 3784600"/>
              <a:gd name="T16" fmla="*/ 2435489 w 2422237"/>
              <a:gd name="T17" fmla="*/ 3454400 h 3784600"/>
              <a:gd name="T18" fmla="*/ 75030 w 2422237"/>
              <a:gd name="T19" fmla="*/ 3454400 h 3784600"/>
              <a:gd name="T20" fmla="*/ 2367196 w 2422237"/>
              <a:gd name="T21" fmla="*/ 3416300 h 3784600"/>
              <a:gd name="T22" fmla="*/ 2367196 w 2422237"/>
              <a:gd name="T23" fmla="*/ 3416300 h 3784600"/>
              <a:gd name="T24" fmla="*/ 2351477 w 2422237"/>
              <a:gd name="T25" fmla="*/ 3416300 h 3784600"/>
              <a:gd name="T26" fmla="*/ 214848 w 2422237"/>
              <a:gd name="T27" fmla="*/ 3403600 h 3784600"/>
              <a:gd name="T28" fmla="*/ 460877 w 2422237"/>
              <a:gd name="T29" fmla="*/ 3162300 h 3784600"/>
              <a:gd name="T30" fmla="*/ 407680 w 2422237"/>
              <a:gd name="T31" fmla="*/ 3276600 h 3784600"/>
              <a:gd name="T32" fmla="*/ 453485 w 2422237"/>
              <a:gd name="T33" fmla="*/ 3390900 h 3784600"/>
              <a:gd name="T34" fmla="*/ 2090274 w 2422237"/>
              <a:gd name="T35" fmla="*/ 3289300 h 3784600"/>
              <a:gd name="T36" fmla="*/ 2080180 w 2422237"/>
              <a:gd name="T37" fmla="*/ 3225800 h 3784600"/>
              <a:gd name="T38" fmla="*/ 2051945 w 2422237"/>
              <a:gd name="T39" fmla="*/ 3187700 h 3784600"/>
              <a:gd name="T40" fmla="*/ 483863 w 2422237"/>
              <a:gd name="T41" fmla="*/ 3149600 h 3784600"/>
              <a:gd name="T42" fmla="*/ 1984459 w 2422237"/>
              <a:gd name="T43" fmla="*/ 3136900 h 3784600"/>
              <a:gd name="T44" fmla="*/ 1984459 w 2422237"/>
              <a:gd name="T45" fmla="*/ 3136900 h 3784600"/>
              <a:gd name="T46" fmla="*/ 1107059 w 2422237"/>
              <a:gd name="T47" fmla="*/ 2247900 h 3784600"/>
              <a:gd name="T48" fmla="*/ 1110410 w 2422237"/>
              <a:gd name="T49" fmla="*/ 2298700 h 3784600"/>
              <a:gd name="T50" fmla="*/ 1121821 w 2422237"/>
              <a:gd name="T51" fmla="*/ 2362200 h 3784600"/>
              <a:gd name="T52" fmla="*/ 1102973 w 2422237"/>
              <a:gd name="T53" fmla="*/ 2438400 h 3784600"/>
              <a:gd name="T54" fmla="*/ 1076430 w 2422237"/>
              <a:gd name="T55" fmla="*/ 2514600 h 3784600"/>
              <a:gd name="T56" fmla="*/ 1037074 w 2422237"/>
              <a:gd name="T57" fmla="*/ 2628900 h 3784600"/>
              <a:gd name="T58" fmla="*/ 996418 w 2422237"/>
              <a:gd name="T59" fmla="*/ 2743200 h 3784600"/>
              <a:gd name="T60" fmla="*/ 971049 w 2422237"/>
              <a:gd name="T61" fmla="*/ 2857500 h 3784600"/>
              <a:gd name="T62" fmla="*/ 970924 w 2422237"/>
              <a:gd name="T63" fmla="*/ 2946400 h 3784600"/>
              <a:gd name="T64" fmla="*/ 982833 w 2422237"/>
              <a:gd name="T65" fmla="*/ 3022600 h 3784600"/>
              <a:gd name="T66" fmla="*/ 1001320 w 2422237"/>
              <a:gd name="T67" fmla="*/ 3086100 h 3784600"/>
              <a:gd name="T68" fmla="*/ 1477485 w 2422237"/>
              <a:gd name="T69" fmla="*/ 3136900 h 3784600"/>
              <a:gd name="T70" fmla="*/ 1502047 w 2422237"/>
              <a:gd name="T71" fmla="*/ 3073400 h 3784600"/>
              <a:gd name="T72" fmla="*/ 1519397 w 2422237"/>
              <a:gd name="T73" fmla="*/ 2997200 h 3784600"/>
              <a:gd name="T74" fmla="*/ 1528802 w 2422237"/>
              <a:gd name="T75" fmla="*/ 2921000 h 3784600"/>
              <a:gd name="T76" fmla="*/ 1524812 w 2422237"/>
              <a:gd name="T77" fmla="*/ 2832100 h 3784600"/>
              <a:gd name="T78" fmla="*/ 1485938 w 2422237"/>
              <a:gd name="T79" fmla="*/ 2692400 h 3784600"/>
              <a:gd name="T80" fmla="*/ 1436663 w 2422237"/>
              <a:gd name="T81" fmla="*/ 2565400 h 3784600"/>
              <a:gd name="T82" fmla="*/ 1399492 w 2422237"/>
              <a:gd name="T83" fmla="*/ 2463800 h 3784600"/>
              <a:gd name="T84" fmla="*/ 1376208 w 2422237"/>
              <a:gd name="T85" fmla="*/ 2387600 h 3784600"/>
              <a:gd name="T86" fmla="*/ 1380802 w 2422237"/>
              <a:gd name="T87" fmla="*/ 2324100 h 3784600"/>
              <a:gd name="T88" fmla="*/ 1391841 w 2422237"/>
              <a:gd name="T89" fmla="*/ 2273300 h 3784600"/>
              <a:gd name="T90" fmla="*/ 1387076 w 2422237"/>
              <a:gd name="T91" fmla="*/ 2222500 h 3784600"/>
              <a:gd name="T92" fmla="*/ 1113636 w 2422237"/>
              <a:gd name="T93" fmla="*/ 2222500 h 3784600"/>
              <a:gd name="T94" fmla="*/ 1358108 w 2422237"/>
              <a:gd name="T95" fmla="*/ 2108200 h 3784600"/>
              <a:gd name="T96" fmla="*/ 1130200 w 2422237"/>
              <a:gd name="T97" fmla="*/ 2184400 h 3784600"/>
              <a:gd name="T98" fmla="*/ 1362107 w 2422237"/>
              <a:gd name="T99" fmla="*/ 2171700 h 3784600"/>
              <a:gd name="T100" fmla="*/ 1139501 w 2422237"/>
              <a:gd name="T101" fmla="*/ 2108200 h 3784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22237" h="3784600">
                <a:moveTo>
                  <a:pt x="2366072" y="3771900"/>
                </a:moveTo>
                <a:lnTo>
                  <a:pt x="131159" y="3771900"/>
                </a:lnTo>
                <a:lnTo>
                  <a:pt x="146871" y="3784600"/>
                </a:lnTo>
                <a:lnTo>
                  <a:pt x="2350359" y="3784600"/>
                </a:lnTo>
                <a:lnTo>
                  <a:pt x="2366072" y="3771900"/>
                </a:lnTo>
                <a:close/>
              </a:path>
              <a:path w="2422237" h="3784600">
                <a:moveTo>
                  <a:pt x="2395602" y="3759200"/>
                </a:moveTo>
                <a:lnTo>
                  <a:pt x="101629" y="3759200"/>
                </a:lnTo>
                <a:lnTo>
                  <a:pt x="116060" y="3771900"/>
                </a:lnTo>
                <a:lnTo>
                  <a:pt x="2381171" y="3771900"/>
                </a:lnTo>
                <a:lnTo>
                  <a:pt x="2395602" y="3759200"/>
                </a:lnTo>
                <a:close/>
              </a:path>
              <a:path w="2422237" h="3784600">
                <a:moveTo>
                  <a:pt x="2434331" y="3454400"/>
                </a:moveTo>
                <a:lnTo>
                  <a:pt x="62899" y="3454400"/>
                </a:lnTo>
                <a:lnTo>
                  <a:pt x="51695" y="3467100"/>
                </a:lnTo>
                <a:lnTo>
                  <a:pt x="23970" y="3505200"/>
                </a:lnTo>
                <a:lnTo>
                  <a:pt x="6241" y="3543300"/>
                </a:lnTo>
                <a:lnTo>
                  <a:pt x="2810" y="3568700"/>
                </a:lnTo>
                <a:lnTo>
                  <a:pt x="711" y="3581400"/>
                </a:lnTo>
                <a:lnTo>
                  <a:pt x="0" y="3594100"/>
                </a:lnTo>
                <a:lnTo>
                  <a:pt x="711" y="3606800"/>
                </a:lnTo>
                <a:lnTo>
                  <a:pt x="2810" y="3632200"/>
                </a:lnTo>
                <a:lnTo>
                  <a:pt x="16876" y="3670300"/>
                </a:lnTo>
                <a:lnTo>
                  <a:pt x="41435" y="3708400"/>
                </a:lnTo>
                <a:lnTo>
                  <a:pt x="74994" y="3746500"/>
                </a:lnTo>
                <a:lnTo>
                  <a:pt x="87922" y="3759200"/>
                </a:lnTo>
                <a:lnTo>
                  <a:pt x="2409309" y="3759200"/>
                </a:lnTo>
                <a:lnTo>
                  <a:pt x="2445535" y="3721100"/>
                </a:lnTo>
                <a:lnTo>
                  <a:pt x="2473258" y="3683000"/>
                </a:lnTo>
                <a:lnTo>
                  <a:pt x="2490985" y="3644900"/>
                </a:lnTo>
                <a:lnTo>
                  <a:pt x="2496514" y="3606800"/>
                </a:lnTo>
                <a:lnTo>
                  <a:pt x="2497226" y="3594100"/>
                </a:lnTo>
                <a:lnTo>
                  <a:pt x="2496514" y="3581400"/>
                </a:lnTo>
                <a:lnTo>
                  <a:pt x="2494415" y="3568700"/>
                </a:lnTo>
                <a:lnTo>
                  <a:pt x="2490985" y="3543300"/>
                </a:lnTo>
                <a:lnTo>
                  <a:pt x="2473258" y="3505200"/>
                </a:lnTo>
                <a:lnTo>
                  <a:pt x="2445535" y="3467100"/>
                </a:lnTo>
                <a:lnTo>
                  <a:pt x="2434331" y="3454400"/>
                </a:lnTo>
                <a:close/>
              </a:path>
              <a:path w="2422237" h="3784600">
                <a:moveTo>
                  <a:pt x="2395602" y="3429000"/>
                </a:moveTo>
                <a:lnTo>
                  <a:pt x="101629" y="3429000"/>
                </a:lnTo>
                <a:lnTo>
                  <a:pt x="87922" y="3441700"/>
                </a:lnTo>
                <a:lnTo>
                  <a:pt x="74994" y="3454400"/>
                </a:lnTo>
                <a:lnTo>
                  <a:pt x="2422237" y="3454400"/>
                </a:lnTo>
                <a:lnTo>
                  <a:pt x="2409309" y="3441700"/>
                </a:lnTo>
                <a:lnTo>
                  <a:pt x="2395602" y="3429000"/>
                </a:lnTo>
                <a:close/>
              </a:path>
              <a:path w="2422237" h="3784600">
                <a:moveTo>
                  <a:pt x="2366072" y="3416300"/>
                </a:moveTo>
                <a:lnTo>
                  <a:pt x="131159" y="3416300"/>
                </a:lnTo>
                <a:lnTo>
                  <a:pt x="116060" y="3429000"/>
                </a:lnTo>
                <a:lnTo>
                  <a:pt x="2381171" y="3429000"/>
                </a:lnTo>
                <a:lnTo>
                  <a:pt x="2366072" y="3416300"/>
                </a:lnTo>
                <a:close/>
              </a:path>
              <a:path w="2422237" h="3784600">
                <a:moveTo>
                  <a:pt x="2334089" y="3403600"/>
                </a:moveTo>
                <a:lnTo>
                  <a:pt x="163141" y="3403600"/>
                </a:lnTo>
                <a:lnTo>
                  <a:pt x="146871" y="3416300"/>
                </a:lnTo>
                <a:lnTo>
                  <a:pt x="2350359" y="3416300"/>
                </a:lnTo>
                <a:lnTo>
                  <a:pt x="2334089" y="3403600"/>
                </a:lnTo>
                <a:close/>
              </a:path>
              <a:path w="2422237" h="3784600">
                <a:moveTo>
                  <a:pt x="2034733" y="3390900"/>
                </a:moveTo>
                <a:lnTo>
                  <a:pt x="463038" y="3390900"/>
                </a:lnTo>
                <a:lnTo>
                  <a:pt x="214744" y="3403600"/>
                </a:lnTo>
                <a:lnTo>
                  <a:pt x="2024164" y="3403600"/>
                </a:lnTo>
                <a:lnTo>
                  <a:pt x="2034733" y="3390900"/>
                </a:lnTo>
                <a:close/>
              </a:path>
              <a:path w="2422237" h="3784600">
                <a:moveTo>
                  <a:pt x="2031326" y="3162300"/>
                </a:moveTo>
                <a:lnTo>
                  <a:pt x="460657" y="3162300"/>
                </a:lnTo>
                <a:lnTo>
                  <a:pt x="450407" y="3175000"/>
                </a:lnTo>
                <a:lnTo>
                  <a:pt x="425458" y="3213100"/>
                </a:lnTo>
                <a:lnTo>
                  <a:pt x="410707" y="3251200"/>
                </a:lnTo>
                <a:lnTo>
                  <a:pt x="407488" y="3276600"/>
                </a:lnTo>
                <a:lnTo>
                  <a:pt x="408129" y="3289300"/>
                </a:lnTo>
                <a:lnTo>
                  <a:pt x="417304" y="3327400"/>
                </a:lnTo>
                <a:lnTo>
                  <a:pt x="436132" y="3365500"/>
                </a:lnTo>
                <a:lnTo>
                  <a:pt x="453269" y="3390900"/>
                </a:lnTo>
                <a:lnTo>
                  <a:pt x="2044561" y="3390900"/>
                </a:lnTo>
                <a:lnTo>
                  <a:pt x="2068996" y="3352800"/>
                </a:lnTo>
                <a:lnTo>
                  <a:pt x="2084594" y="3314700"/>
                </a:lnTo>
                <a:lnTo>
                  <a:pt x="2089281" y="3289300"/>
                </a:lnTo>
                <a:lnTo>
                  <a:pt x="2088681" y="3276600"/>
                </a:lnTo>
                <a:lnTo>
                  <a:pt x="2086757" y="3263900"/>
                </a:lnTo>
                <a:lnTo>
                  <a:pt x="2083573" y="3251200"/>
                </a:lnTo>
                <a:lnTo>
                  <a:pt x="2079192" y="3225800"/>
                </a:lnTo>
                <a:lnTo>
                  <a:pt x="2073678" y="3213100"/>
                </a:lnTo>
                <a:lnTo>
                  <a:pt x="2067094" y="3200400"/>
                </a:lnTo>
                <a:lnTo>
                  <a:pt x="2059503" y="3187700"/>
                </a:lnTo>
                <a:lnTo>
                  <a:pt x="2050969" y="3187700"/>
                </a:lnTo>
                <a:lnTo>
                  <a:pt x="2041556" y="3175000"/>
                </a:lnTo>
                <a:lnTo>
                  <a:pt x="2031326" y="3162300"/>
                </a:lnTo>
                <a:close/>
              </a:path>
              <a:path w="2422237" h="3784600">
                <a:moveTo>
                  <a:pt x="2008673" y="3149600"/>
                </a:moveTo>
                <a:lnTo>
                  <a:pt x="483631" y="3149600"/>
                </a:lnTo>
                <a:lnTo>
                  <a:pt x="471756" y="3162300"/>
                </a:lnTo>
                <a:lnTo>
                  <a:pt x="2020344" y="3162300"/>
                </a:lnTo>
                <a:lnTo>
                  <a:pt x="2008673" y="3149600"/>
                </a:lnTo>
                <a:close/>
              </a:path>
              <a:path w="2422237" h="3784600">
                <a:moveTo>
                  <a:pt x="1983515" y="3136900"/>
                </a:moveTo>
                <a:lnTo>
                  <a:pt x="509428" y="3136900"/>
                </a:lnTo>
                <a:lnTo>
                  <a:pt x="496212" y="3149600"/>
                </a:lnTo>
                <a:lnTo>
                  <a:pt x="1996375" y="3149600"/>
                </a:lnTo>
                <a:lnTo>
                  <a:pt x="1983515" y="3136900"/>
                </a:lnTo>
                <a:close/>
              </a:path>
              <a:path w="2422237" h="3784600">
                <a:moveTo>
                  <a:pt x="1386416" y="2222500"/>
                </a:moveTo>
                <a:lnTo>
                  <a:pt x="1110219" y="2222500"/>
                </a:lnTo>
                <a:lnTo>
                  <a:pt x="1107998" y="2235200"/>
                </a:lnTo>
                <a:lnTo>
                  <a:pt x="1106531" y="2247900"/>
                </a:lnTo>
                <a:lnTo>
                  <a:pt x="1105902" y="2260600"/>
                </a:lnTo>
                <a:lnTo>
                  <a:pt x="1106194" y="2273300"/>
                </a:lnTo>
                <a:lnTo>
                  <a:pt x="1107493" y="2286000"/>
                </a:lnTo>
                <a:lnTo>
                  <a:pt x="1109882" y="2298700"/>
                </a:lnTo>
                <a:lnTo>
                  <a:pt x="1113447" y="2311400"/>
                </a:lnTo>
                <a:lnTo>
                  <a:pt x="1118271" y="2336800"/>
                </a:lnTo>
                <a:lnTo>
                  <a:pt x="1124440" y="2349500"/>
                </a:lnTo>
                <a:lnTo>
                  <a:pt x="1121289" y="2362200"/>
                </a:lnTo>
                <a:lnTo>
                  <a:pt x="1117466" y="2387600"/>
                </a:lnTo>
                <a:lnTo>
                  <a:pt x="1113021" y="2400300"/>
                </a:lnTo>
                <a:lnTo>
                  <a:pt x="1107999" y="2413000"/>
                </a:lnTo>
                <a:lnTo>
                  <a:pt x="1102449" y="2438400"/>
                </a:lnTo>
                <a:lnTo>
                  <a:pt x="1096418" y="2451100"/>
                </a:lnTo>
                <a:lnTo>
                  <a:pt x="1089954" y="2476500"/>
                </a:lnTo>
                <a:lnTo>
                  <a:pt x="1083105" y="2501900"/>
                </a:lnTo>
                <a:lnTo>
                  <a:pt x="1075918" y="2514600"/>
                </a:lnTo>
                <a:lnTo>
                  <a:pt x="1068440" y="2540000"/>
                </a:lnTo>
                <a:lnTo>
                  <a:pt x="1060721" y="2552700"/>
                </a:lnTo>
                <a:lnTo>
                  <a:pt x="1044744" y="2603500"/>
                </a:lnTo>
                <a:lnTo>
                  <a:pt x="1036582" y="2628900"/>
                </a:lnTo>
                <a:lnTo>
                  <a:pt x="1028368" y="2654300"/>
                </a:lnTo>
                <a:lnTo>
                  <a:pt x="1020150" y="2667000"/>
                </a:lnTo>
                <a:lnTo>
                  <a:pt x="1011975" y="2692400"/>
                </a:lnTo>
                <a:lnTo>
                  <a:pt x="995946" y="2743200"/>
                </a:lnTo>
                <a:lnTo>
                  <a:pt x="981851" y="2794000"/>
                </a:lnTo>
                <a:lnTo>
                  <a:pt x="976864" y="2819400"/>
                </a:lnTo>
                <a:lnTo>
                  <a:pt x="973138" y="2832100"/>
                </a:lnTo>
                <a:lnTo>
                  <a:pt x="970589" y="2857500"/>
                </a:lnTo>
                <a:lnTo>
                  <a:pt x="969133" y="2882900"/>
                </a:lnTo>
                <a:lnTo>
                  <a:pt x="968683" y="2908300"/>
                </a:lnTo>
                <a:lnTo>
                  <a:pt x="969155" y="2921000"/>
                </a:lnTo>
                <a:lnTo>
                  <a:pt x="970464" y="2946400"/>
                </a:lnTo>
                <a:lnTo>
                  <a:pt x="972525" y="2959100"/>
                </a:lnTo>
                <a:lnTo>
                  <a:pt x="975252" y="2984500"/>
                </a:lnTo>
                <a:lnTo>
                  <a:pt x="978560" y="2997200"/>
                </a:lnTo>
                <a:lnTo>
                  <a:pt x="982365" y="3022600"/>
                </a:lnTo>
                <a:lnTo>
                  <a:pt x="986580" y="3035300"/>
                </a:lnTo>
                <a:lnTo>
                  <a:pt x="991122" y="3060700"/>
                </a:lnTo>
                <a:lnTo>
                  <a:pt x="995905" y="3073400"/>
                </a:lnTo>
                <a:lnTo>
                  <a:pt x="1000844" y="3086100"/>
                </a:lnTo>
                <a:lnTo>
                  <a:pt x="1010849" y="3111500"/>
                </a:lnTo>
                <a:lnTo>
                  <a:pt x="1015746" y="3124200"/>
                </a:lnTo>
                <a:lnTo>
                  <a:pt x="1020457" y="3136900"/>
                </a:lnTo>
                <a:lnTo>
                  <a:pt x="1476781" y="3136900"/>
                </a:lnTo>
                <a:lnTo>
                  <a:pt x="1481492" y="3124200"/>
                </a:lnTo>
                <a:lnTo>
                  <a:pt x="1486388" y="3111500"/>
                </a:lnTo>
                <a:lnTo>
                  <a:pt x="1496393" y="3086100"/>
                </a:lnTo>
                <a:lnTo>
                  <a:pt x="1501331" y="3073400"/>
                </a:lnTo>
                <a:lnTo>
                  <a:pt x="1506113" y="3060700"/>
                </a:lnTo>
                <a:lnTo>
                  <a:pt x="1510654" y="3035300"/>
                </a:lnTo>
                <a:lnTo>
                  <a:pt x="1514869" y="3022600"/>
                </a:lnTo>
                <a:lnTo>
                  <a:pt x="1518673" y="2997200"/>
                </a:lnTo>
                <a:lnTo>
                  <a:pt x="1521980" y="2984500"/>
                </a:lnTo>
                <a:lnTo>
                  <a:pt x="1524706" y="2959100"/>
                </a:lnTo>
                <a:lnTo>
                  <a:pt x="1526766" y="2946400"/>
                </a:lnTo>
                <a:lnTo>
                  <a:pt x="1528074" y="2921000"/>
                </a:lnTo>
                <a:lnTo>
                  <a:pt x="1528545" y="2908300"/>
                </a:lnTo>
                <a:lnTo>
                  <a:pt x="1528094" y="2882900"/>
                </a:lnTo>
                <a:lnTo>
                  <a:pt x="1526637" y="2857500"/>
                </a:lnTo>
                <a:lnTo>
                  <a:pt x="1524088" y="2832100"/>
                </a:lnTo>
                <a:lnTo>
                  <a:pt x="1520362" y="2819400"/>
                </a:lnTo>
                <a:lnTo>
                  <a:pt x="1515374" y="2794000"/>
                </a:lnTo>
                <a:lnTo>
                  <a:pt x="1501279" y="2743200"/>
                </a:lnTo>
                <a:lnTo>
                  <a:pt x="1485230" y="2692400"/>
                </a:lnTo>
                <a:lnTo>
                  <a:pt x="1468767" y="2654300"/>
                </a:lnTo>
                <a:lnTo>
                  <a:pt x="1452234" y="2603500"/>
                </a:lnTo>
                <a:lnTo>
                  <a:pt x="1444050" y="2578100"/>
                </a:lnTo>
                <a:lnTo>
                  <a:pt x="1435979" y="2565400"/>
                </a:lnTo>
                <a:lnTo>
                  <a:pt x="1420348" y="2514600"/>
                </a:lnTo>
                <a:lnTo>
                  <a:pt x="1412874" y="2501900"/>
                </a:lnTo>
                <a:lnTo>
                  <a:pt x="1405687" y="2476500"/>
                </a:lnTo>
                <a:lnTo>
                  <a:pt x="1398828" y="2463800"/>
                </a:lnTo>
                <a:lnTo>
                  <a:pt x="1392342" y="2438400"/>
                </a:lnTo>
                <a:lnTo>
                  <a:pt x="1386272" y="2425700"/>
                </a:lnTo>
                <a:lnTo>
                  <a:pt x="1380661" y="2413000"/>
                </a:lnTo>
                <a:lnTo>
                  <a:pt x="1375552" y="2387600"/>
                </a:lnTo>
                <a:lnTo>
                  <a:pt x="1370989" y="2374900"/>
                </a:lnTo>
                <a:lnTo>
                  <a:pt x="1367015" y="2362200"/>
                </a:lnTo>
                <a:lnTo>
                  <a:pt x="1374285" y="2349500"/>
                </a:lnTo>
                <a:lnTo>
                  <a:pt x="1380146" y="2324100"/>
                </a:lnTo>
                <a:lnTo>
                  <a:pt x="1384681" y="2311400"/>
                </a:lnTo>
                <a:lnTo>
                  <a:pt x="1387976" y="2298700"/>
                </a:lnTo>
                <a:lnTo>
                  <a:pt x="1390114" y="2286000"/>
                </a:lnTo>
                <a:lnTo>
                  <a:pt x="1391181" y="2273300"/>
                </a:lnTo>
                <a:lnTo>
                  <a:pt x="1391260" y="2260600"/>
                </a:lnTo>
                <a:lnTo>
                  <a:pt x="1390436" y="2247900"/>
                </a:lnTo>
                <a:lnTo>
                  <a:pt x="1388793" y="2235200"/>
                </a:lnTo>
                <a:lnTo>
                  <a:pt x="1386416" y="2222500"/>
                </a:lnTo>
                <a:close/>
              </a:path>
              <a:path w="2422237" h="3784600">
                <a:moveTo>
                  <a:pt x="1375722" y="2197100"/>
                </a:moveTo>
                <a:lnTo>
                  <a:pt x="1120555" y="2197100"/>
                </a:lnTo>
                <a:lnTo>
                  <a:pt x="1116582" y="2209800"/>
                </a:lnTo>
                <a:lnTo>
                  <a:pt x="1113108" y="2222500"/>
                </a:lnTo>
                <a:lnTo>
                  <a:pt x="1383389" y="2222500"/>
                </a:lnTo>
                <a:lnTo>
                  <a:pt x="1379796" y="2209800"/>
                </a:lnTo>
                <a:lnTo>
                  <a:pt x="1375722" y="2197100"/>
                </a:lnTo>
                <a:close/>
              </a:path>
              <a:path w="2422237" h="3784600">
                <a:moveTo>
                  <a:pt x="1357464" y="2108200"/>
                </a:moveTo>
                <a:lnTo>
                  <a:pt x="1139761" y="2108200"/>
                </a:lnTo>
                <a:lnTo>
                  <a:pt x="1139761" y="2171700"/>
                </a:lnTo>
                <a:lnTo>
                  <a:pt x="1134632" y="2184400"/>
                </a:lnTo>
                <a:lnTo>
                  <a:pt x="1129664" y="2184400"/>
                </a:lnTo>
                <a:lnTo>
                  <a:pt x="1124944" y="2197100"/>
                </a:lnTo>
                <a:lnTo>
                  <a:pt x="1371252" y="2197100"/>
                </a:lnTo>
                <a:lnTo>
                  <a:pt x="1366469" y="2184400"/>
                </a:lnTo>
                <a:lnTo>
                  <a:pt x="1361459" y="2171700"/>
                </a:lnTo>
                <a:lnTo>
                  <a:pt x="1357464" y="2108200"/>
                </a:lnTo>
                <a:close/>
              </a:path>
              <a:path w="2422237" h="3784600">
                <a:moveTo>
                  <a:pt x="1358265" y="0"/>
                </a:moveTo>
                <a:lnTo>
                  <a:pt x="1138961" y="0"/>
                </a:lnTo>
                <a:lnTo>
                  <a:pt x="1138961" y="2108200"/>
                </a:lnTo>
                <a:lnTo>
                  <a:pt x="1358265" y="2108200"/>
                </a:lnTo>
                <a:lnTo>
                  <a:pt x="1358265"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2" name="object 26">
            <a:extLst>
              <a:ext uri="{FF2B5EF4-FFF2-40B4-BE49-F238E27FC236}">
                <a16:creationId xmlns:a16="http://schemas.microsoft.com/office/drawing/2014/main" id="{BD84BC12-8B05-43DF-A5F5-3D89B60DB2A8}"/>
              </a:ext>
            </a:extLst>
          </p:cNvPr>
          <p:cNvSpPr>
            <a:spLocks/>
          </p:cNvSpPr>
          <p:nvPr/>
        </p:nvSpPr>
        <p:spPr bwMode="auto">
          <a:xfrm>
            <a:off x="4433557" y="1460534"/>
            <a:ext cx="310810" cy="1415609"/>
          </a:xfrm>
          <a:custGeom>
            <a:avLst/>
            <a:gdLst>
              <a:gd name="T0" fmla="*/ 179050 w 537767"/>
              <a:gd name="T1" fmla="*/ 207423 h 2450674"/>
              <a:gd name="T2" fmla="*/ 133898 w 537767"/>
              <a:gd name="T3" fmla="*/ 312263 h 2450674"/>
              <a:gd name="T4" fmla="*/ 99315 w 537767"/>
              <a:gd name="T5" fmla="*/ 395101 h 2450674"/>
              <a:gd name="T6" fmla="*/ 56216 w 537767"/>
              <a:gd name="T7" fmla="*/ 511027 h 2450674"/>
              <a:gd name="T8" fmla="*/ 36694 w 537767"/>
              <a:gd name="T9" fmla="*/ 604626 h 2450674"/>
              <a:gd name="T10" fmla="*/ 34816 w 537767"/>
              <a:gd name="T11" fmla="*/ 678131 h 2450674"/>
              <a:gd name="T12" fmla="*/ 38379 w 537767"/>
              <a:gd name="T13" fmla="*/ 749781 h 2450674"/>
              <a:gd name="T14" fmla="*/ 65590 w 537767"/>
              <a:gd name="T15" fmla="*/ 831577 h 2450674"/>
              <a:gd name="T16" fmla="*/ 152241 w 537767"/>
              <a:gd name="T17" fmla="*/ 926334 h 2450674"/>
              <a:gd name="T18" fmla="*/ 98858 w 537767"/>
              <a:gd name="T19" fmla="*/ 966325 h 2450674"/>
              <a:gd name="T20" fmla="*/ 70464 w 537767"/>
              <a:gd name="T21" fmla="*/ 1049414 h 2450674"/>
              <a:gd name="T22" fmla="*/ 70898 w 537767"/>
              <a:gd name="T23" fmla="*/ 1085055 h 2450674"/>
              <a:gd name="T24" fmla="*/ 92167 w 537767"/>
              <a:gd name="T25" fmla="*/ 1176700 h 2450674"/>
              <a:gd name="T26" fmla="*/ 135346 w 537767"/>
              <a:gd name="T27" fmla="*/ 1248866 h 2450674"/>
              <a:gd name="T28" fmla="*/ 154584 w 537767"/>
              <a:gd name="T29" fmla="*/ 1273101 h 2450674"/>
              <a:gd name="T30" fmla="*/ 114235 w 537767"/>
              <a:gd name="T31" fmla="*/ 1356553 h 2450674"/>
              <a:gd name="T32" fmla="*/ 88575 w 537767"/>
              <a:gd name="T33" fmla="*/ 1398672 h 2450674"/>
              <a:gd name="T34" fmla="*/ 36463 w 537767"/>
              <a:gd name="T35" fmla="*/ 1495142 h 2450674"/>
              <a:gd name="T36" fmla="*/ 2792 w 537767"/>
              <a:gd name="T37" fmla="*/ 1597607 h 2450674"/>
              <a:gd name="T38" fmla="*/ 187 w 537767"/>
              <a:gd name="T39" fmla="*/ 1647218 h 2450674"/>
              <a:gd name="T40" fmla="*/ 24743 w 537767"/>
              <a:gd name="T41" fmla="*/ 1756167 h 2450674"/>
              <a:gd name="T42" fmla="*/ 63341 w 537767"/>
              <a:gd name="T43" fmla="*/ 1903882 h 2450674"/>
              <a:gd name="T44" fmla="*/ 84426 w 537767"/>
              <a:gd name="T45" fmla="*/ 1984887 h 2450674"/>
              <a:gd name="T46" fmla="*/ 105057 w 537767"/>
              <a:gd name="T47" fmla="*/ 2066189 h 2450674"/>
              <a:gd name="T48" fmla="*/ 124008 w 537767"/>
              <a:gd name="T49" fmla="*/ 2144447 h 2450674"/>
              <a:gd name="T50" fmla="*/ 151956 w 537767"/>
              <a:gd name="T51" fmla="*/ 2278455 h 2450674"/>
              <a:gd name="T52" fmla="*/ 159374 w 537767"/>
              <a:gd name="T53" fmla="*/ 2346115 h 2450674"/>
              <a:gd name="T54" fmla="*/ 175490 w 537767"/>
              <a:gd name="T55" fmla="*/ 2406967 h 2450674"/>
              <a:gd name="T56" fmla="*/ 248922 w 537767"/>
              <a:gd name="T57" fmla="*/ 2449514 h 2450674"/>
              <a:gd name="T58" fmla="*/ 293792 w 537767"/>
              <a:gd name="T59" fmla="*/ 2451948 h 2450674"/>
              <a:gd name="T60" fmla="*/ 331450 w 537767"/>
              <a:gd name="T61" fmla="*/ 2451989 h 2450674"/>
              <a:gd name="T62" fmla="*/ 377576 w 537767"/>
              <a:gd name="T63" fmla="*/ 2414322 h 2450674"/>
              <a:gd name="T64" fmla="*/ 380842 w 537767"/>
              <a:gd name="T65" fmla="*/ 2337878 h 2450674"/>
              <a:gd name="T66" fmla="*/ 399292 w 537767"/>
              <a:gd name="T67" fmla="*/ 2221410 h 2450674"/>
              <a:gd name="T68" fmla="*/ 424525 w 537767"/>
              <a:gd name="T69" fmla="*/ 2108514 h 2450674"/>
              <a:gd name="T70" fmla="*/ 444470 w 537767"/>
              <a:gd name="T71" fmla="*/ 2027218 h 2450674"/>
              <a:gd name="T72" fmla="*/ 465481 w 537767"/>
              <a:gd name="T73" fmla="*/ 1944911 h 2450674"/>
              <a:gd name="T74" fmla="*/ 496359 w 537767"/>
              <a:gd name="T75" fmla="*/ 1826513 h 2450674"/>
              <a:gd name="T76" fmla="*/ 522632 w 537767"/>
              <a:gd name="T77" fmla="*/ 1724597 h 2450674"/>
              <a:gd name="T78" fmla="*/ 539349 w 537767"/>
              <a:gd name="T79" fmla="*/ 1622708 h 2450674"/>
              <a:gd name="T80" fmla="*/ 523489 w 537767"/>
              <a:gd name="T81" fmla="*/ 1546396 h 2450674"/>
              <a:gd name="T82" fmla="*/ 477652 w 537767"/>
              <a:gd name="T83" fmla="*/ 1445373 h 2450674"/>
              <a:gd name="T84" fmla="*/ 425042 w 537767"/>
              <a:gd name="T85" fmla="*/ 1356520 h 2450674"/>
              <a:gd name="T86" fmla="*/ 389068 w 537767"/>
              <a:gd name="T87" fmla="*/ 1292199 h 2450674"/>
              <a:gd name="T88" fmla="*/ 387106 w 537767"/>
              <a:gd name="T89" fmla="*/ 1267616 h 2450674"/>
              <a:gd name="T90" fmla="*/ 398395 w 537767"/>
              <a:gd name="T91" fmla="*/ 1255525 h 2450674"/>
              <a:gd name="T92" fmla="*/ 443651 w 537767"/>
              <a:gd name="T93" fmla="*/ 1186458 h 2450674"/>
              <a:gd name="T94" fmla="*/ 467981 w 537767"/>
              <a:gd name="T95" fmla="*/ 1099091 h 2450674"/>
              <a:gd name="T96" fmla="*/ 467729 w 537767"/>
              <a:gd name="T97" fmla="*/ 1061756 h 2450674"/>
              <a:gd name="T98" fmla="*/ 436248 w 537767"/>
              <a:gd name="T99" fmla="*/ 978892 h 2450674"/>
              <a:gd name="T100" fmla="*/ 388020 w 537767"/>
              <a:gd name="T101" fmla="*/ 927002 h 2450674"/>
              <a:gd name="T102" fmla="*/ 452513 w 537767"/>
              <a:gd name="T103" fmla="*/ 860114 h 2450674"/>
              <a:gd name="T104" fmla="*/ 496222 w 537767"/>
              <a:gd name="T105" fmla="*/ 777300 h 2450674"/>
              <a:gd name="T106" fmla="*/ 504531 w 537767"/>
              <a:gd name="T107" fmla="*/ 678131 h 2450674"/>
              <a:gd name="T108" fmla="*/ 490263 w 537767"/>
              <a:gd name="T109" fmla="*/ 590822 h 2450674"/>
              <a:gd name="T110" fmla="*/ 467835 w 537767"/>
              <a:gd name="T111" fmla="*/ 512337 h 2450674"/>
              <a:gd name="T112" fmla="*/ 438362 w 537767"/>
              <a:gd name="T113" fmla="*/ 424148 h 2450674"/>
              <a:gd name="T114" fmla="*/ 404660 w 537767"/>
              <a:gd name="T115" fmla="*/ 331836 h 2450674"/>
              <a:gd name="T116" fmla="*/ 369550 w 537767"/>
              <a:gd name="T117" fmla="*/ 240986 h 2450674"/>
              <a:gd name="T118" fmla="*/ 335849 w 537767"/>
              <a:gd name="T119" fmla="*/ 157182 h 2450674"/>
              <a:gd name="T120" fmla="*/ 294104 w 537767"/>
              <a:gd name="T121" fmla="*/ 56910 h 2450674"/>
              <a:gd name="T122" fmla="*/ 269680 w 537767"/>
              <a:gd name="T123" fmla="*/ 0 h 245067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37767" h="2450674">
                <a:moveTo>
                  <a:pt x="268888" y="0"/>
                </a:moveTo>
                <a:lnTo>
                  <a:pt x="178526" y="207279"/>
                </a:lnTo>
                <a:lnTo>
                  <a:pt x="154611" y="262666"/>
                </a:lnTo>
                <a:lnTo>
                  <a:pt x="133506" y="312047"/>
                </a:lnTo>
                <a:lnTo>
                  <a:pt x="115035" y="355931"/>
                </a:lnTo>
                <a:lnTo>
                  <a:pt x="99023" y="394825"/>
                </a:lnTo>
                <a:lnTo>
                  <a:pt x="73674" y="459677"/>
                </a:lnTo>
                <a:lnTo>
                  <a:pt x="56052" y="510671"/>
                </a:lnTo>
                <a:lnTo>
                  <a:pt x="44753" y="551872"/>
                </a:lnTo>
                <a:lnTo>
                  <a:pt x="36586" y="604206"/>
                </a:lnTo>
                <a:lnTo>
                  <a:pt x="34784" y="653559"/>
                </a:lnTo>
                <a:lnTo>
                  <a:pt x="34713" y="677659"/>
                </a:lnTo>
                <a:lnTo>
                  <a:pt x="34922" y="698004"/>
                </a:lnTo>
                <a:lnTo>
                  <a:pt x="38267" y="749261"/>
                </a:lnTo>
                <a:lnTo>
                  <a:pt x="46253" y="788989"/>
                </a:lnTo>
                <a:lnTo>
                  <a:pt x="65398" y="830999"/>
                </a:lnTo>
                <a:lnTo>
                  <a:pt x="95604" y="868970"/>
                </a:lnTo>
                <a:lnTo>
                  <a:pt x="151794" y="925690"/>
                </a:lnTo>
                <a:lnTo>
                  <a:pt x="134948" y="937608"/>
                </a:lnTo>
                <a:lnTo>
                  <a:pt x="98568" y="965653"/>
                </a:lnTo>
                <a:lnTo>
                  <a:pt x="75647" y="998797"/>
                </a:lnTo>
                <a:lnTo>
                  <a:pt x="70256" y="1048686"/>
                </a:lnTo>
                <a:lnTo>
                  <a:pt x="70150" y="1066536"/>
                </a:lnTo>
                <a:lnTo>
                  <a:pt x="70690" y="1084300"/>
                </a:lnTo>
                <a:lnTo>
                  <a:pt x="78026" y="1133369"/>
                </a:lnTo>
                <a:lnTo>
                  <a:pt x="91896" y="1175883"/>
                </a:lnTo>
                <a:lnTo>
                  <a:pt x="109680" y="1211558"/>
                </a:lnTo>
                <a:lnTo>
                  <a:pt x="134950" y="1247998"/>
                </a:lnTo>
                <a:lnTo>
                  <a:pt x="151674" y="1266616"/>
                </a:lnTo>
                <a:lnTo>
                  <a:pt x="154132" y="1272217"/>
                </a:lnTo>
                <a:lnTo>
                  <a:pt x="135332" y="1319652"/>
                </a:lnTo>
                <a:lnTo>
                  <a:pt x="113899" y="1355609"/>
                </a:lnTo>
                <a:lnTo>
                  <a:pt x="101444" y="1375984"/>
                </a:lnTo>
                <a:lnTo>
                  <a:pt x="88315" y="1397700"/>
                </a:lnTo>
                <a:lnTo>
                  <a:pt x="61495" y="1444379"/>
                </a:lnTo>
                <a:lnTo>
                  <a:pt x="36355" y="1494102"/>
                </a:lnTo>
                <a:lnTo>
                  <a:pt x="15812" y="1545322"/>
                </a:lnTo>
                <a:lnTo>
                  <a:pt x="2784" y="1596495"/>
                </a:lnTo>
                <a:lnTo>
                  <a:pt x="0" y="1621580"/>
                </a:lnTo>
                <a:lnTo>
                  <a:pt x="187" y="1646074"/>
                </a:lnTo>
                <a:lnTo>
                  <a:pt x="9635" y="1694885"/>
                </a:lnTo>
                <a:lnTo>
                  <a:pt x="24671" y="1754947"/>
                </a:lnTo>
                <a:lnTo>
                  <a:pt x="42959" y="1825433"/>
                </a:lnTo>
                <a:lnTo>
                  <a:pt x="63157" y="1902558"/>
                </a:lnTo>
                <a:lnTo>
                  <a:pt x="73648" y="1942787"/>
                </a:lnTo>
                <a:lnTo>
                  <a:pt x="84178" y="1983507"/>
                </a:lnTo>
                <a:lnTo>
                  <a:pt x="94597" y="2024302"/>
                </a:lnTo>
                <a:lnTo>
                  <a:pt x="104749" y="2064753"/>
                </a:lnTo>
                <a:lnTo>
                  <a:pt x="114483" y="2104443"/>
                </a:lnTo>
                <a:lnTo>
                  <a:pt x="123644" y="2142955"/>
                </a:lnTo>
                <a:lnTo>
                  <a:pt x="139640" y="2214774"/>
                </a:lnTo>
                <a:lnTo>
                  <a:pt x="151511" y="2276871"/>
                </a:lnTo>
                <a:lnTo>
                  <a:pt x="158034" y="2325907"/>
                </a:lnTo>
                <a:lnTo>
                  <a:pt x="158906" y="2344483"/>
                </a:lnTo>
                <a:lnTo>
                  <a:pt x="160919" y="2368662"/>
                </a:lnTo>
                <a:lnTo>
                  <a:pt x="174974" y="2405295"/>
                </a:lnTo>
                <a:lnTo>
                  <a:pt x="210883" y="2436436"/>
                </a:lnTo>
                <a:lnTo>
                  <a:pt x="248192" y="2447810"/>
                </a:lnTo>
                <a:lnTo>
                  <a:pt x="268458" y="2449321"/>
                </a:lnTo>
                <a:lnTo>
                  <a:pt x="292931" y="2450244"/>
                </a:lnTo>
                <a:lnTo>
                  <a:pt x="313491" y="2450674"/>
                </a:lnTo>
                <a:lnTo>
                  <a:pt x="330478" y="2450285"/>
                </a:lnTo>
                <a:lnTo>
                  <a:pt x="344233" y="2448755"/>
                </a:lnTo>
                <a:lnTo>
                  <a:pt x="376468" y="2412644"/>
                </a:lnTo>
                <a:lnTo>
                  <a:pt x="378851" y="2356552"/>
                </a:lnTo>
                <a:lnTo>
                  <a:pt x="379725" y="2336254"/>
                </a:lnTo>
                <a:lnTo>
                  <a:pt x="386249" y="2284283"/>
                </a:lnTo>
                <a:lnTo>
                  <a:pt x="398121" y="2219866"/>
                </a:lnTo>
                <a:lnTo>
                  <a:pt x="414118" y="2146269"/>
                </a:lnTo>
                <a:lnTo>
                  <a:pt x="423280" y="2107050"/>
                </a:lnTo>
                <a:lnTo>
                  <a:pt x="433014" y="2066761"/>
                </a:lnTo>
                <a:lnTo>
                  <a:pt x="443166" y="2025810"/>
                </a:lnTo>
                <a:lnTo>
                  <a:pt x="453585" y="1984607"/>
                </a:lnTo>
                <a:lnTo>
                  <a:pt x="464116" y="1943559"/>
                </a:lnTo>
                <a:lnTo>
                  <a:pt x="474606" y="1903076"/>
                </a:lnTo>
                <a:lnTo>
                  <a:pt x="494903" y="1825245"/>
                </a:lnTo>
                <a:lnTo>
                  <a:pt x="504330" y="1788995"/>
                </a:lnTo>
                <a:lnTo>
                  <a:pt x="521099" y="1723397"/>
                </a:lnTo>
                <a:lnTo>
                  <a:pt x="534052" y="1669783"/>
                </a:lnTo>
                <a:lnTo>
                  <a:pt x="537767" y="1621580"/>
                </a:lnTo>
                <a:lnTo>
                  <a:pt x="534983" y="1596494"/>
                </a:lnTo>
                <a:lnTo>
                  <a:pt x="521954" y="1545320"/>
                </a:lnTo>
                <a:lnTo>
                  <a:pt x="501405" y="1494097"/>
                </a:lnTo>
                <a:lnTo>
                  <a:pt x="476251" y="1444369"/>
                </a:lnTo>
                <a:lnTo>
                  <a:pt x="449409" y="1397680"/>
                </a:lnTo>
                <a:lnTo>
                  <a:pt x="423795" y="1355576"/>
                </a:lnTo>
                <a:lnTo>
                  <a:pt x="412359" y="1336726"/>
                </a:lnTo>
                <a:lnTo>
                  <a:pt x="387927" y="1291300"/>
                </a:lnTo>
                <a:lnTo>
                  <a:pt x="383529" y="1272320"/>
                </a:lnTo>
                <a:lnTo>
                  <a:pt x="385970" y="1266736"/>
                </a:lnTo>
                <a:lnTo>
                  <a:pt x="391360" y="1261153"/>
                </a:lnTo>
                <a:lnTo>
                  <a:pt x="397227" y="1254653"/>
                </a:lnTo>
                <a:lnTo>
                  <a:pt x="423245" y="1220001"/>
                </a:lnTo>
                <a:lnTo>
                  <a:pt x="442350" y="1185634"/>
                </a:lnTo>
                <a:lnTo>
                  <a:pt x="457797" y="1144847"/>
                </a:lnTo>
                <a:lnTo>
                  <a:pt x="466609" y="1098327"/>
                </a:lnTo>
                <a:lnTo>
                  <a:pt x="467558" y="1081664"/>
                </a:lnTo>
                <a:lnTo>
                  <a:pt x="466357" y="1061018"/>
                </a:lnTo>
                <a:lnTo>
                  <a:pt x="457775" y="1023696"/>
                </a:lnTo>
                <a:lnTo>
                  <a:pt x="434969" y="978212"/>
                </a:lnTo>
                <a:lnTo>
                  <a:pt x="409068" y="946231"/>
                </a:lnTo>
                <a:lnTo>
                  <a:pt x="386882" y="926358"/>
                </a:lnTo>
                <a:lnTo>
                  <a:pt x="422848" y="889959"/>
                </a:lnTo>
                <a:lnTo>
                  <a:pt x="451186" y="859518"/>
                </a:lnTo>
                <a:lnTo>
                  <a:pt x="478351" y="821139"/>
                </a:lnTo>
                <a:lnTo>
                  <a:pt x="494767" y="776760"/>
                </a:lnTo>
                <a:lnTo>
                  <a:pt x="501095" y="733653"/>
                </a:lnTo>
                <a:lnTo>
                  <a:pt x="503051" y="677659"/>
                </a:lnTo>
                <a:lnTo>
                  <a:pt x="501353" y="653559"/>
                </a:lnTo>
                <a:lnTo>
                  <a:pt x="488825" y="590410"/>
                </a:lnTo>
                <a:lnTo>
                  <a:pt x="478698" y="552757"/>
                </a:lnTo>
                <a:lnTo>
                  <a:pt x="466463" y="511981"/>
                </a:lnTo>
                <a:lnTo>
                  <a:pt x="452472" y="468781"/>
                </a:lnTo>
                <a:lnTo>
                  <a:pt x="437076" y="423852"/>
                </a:lnTo>
                <a:lnTo>
                  <a:pt x="420626" y="377895"/>
                </a:lnTo>
                <a:lnTo>
                  <a:pt x="403473" y="331604"/>
                </a:lnTo>
                <a:lnTo>
                  <a:pt x="385970" y="285680"/>
                </a:lnTo>
                <a:lnTo>
                  <a:pt x="368466" y="240818"/>
                </a:lnTo>
                <a:lnTo>
                  <a:pt x="351313" y="197717"/>
                </a:lnTo>
                <a:lnTo>
                  <a:pt x="334864" y="157074"/>
                </a:lnTo>
                <a:lnTo>
                  <a:pt x="319467" y="119587"/>
                </a:lnTo>
                <a:lnTo>
                  <a:pt x="293241" y="56870"/>
                </a:lnTo>
                <a:lnTo>
                  <a:pt x="275445" y="15147"/>
                </a:lnTo>
                <a:lnTo>
                  <a:pt x="268888" y="0"/>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3" name="object 27">
            <a:extLst>
              <a:ext uri="{FF2B5EF4-FFF2-40B4-BE49-F238E27FC236}">
                <a16:creationId xmlns:a16="http://schemas.microsoft.com/office/drawing/2014/main" id="{B7A57F3D-B073-401D-9A16-5707727676B4}"/>
              </a:ext>
            </a:extLst>
          </p:cNvPr>
          <p:cNvSpPr>
            <a:spLocks/>
          </p:cNvSpPr>
          <p:nvPr/>
        </p:nvSpPr>
        <p:spPr bwMode="auto">
          <a:xfrm>
            <a:off x="3121551" y="2133498"/>
            <a:ext cx="2907316" cy="607868"/>
          </a:xfrm>
          <a:custGeom>
            <a:avLst/>
            <a:gdLst>
              <a:gd name="T0" fmla="*/ 114351 w 5033225"/>
              <a:gd name="T1" fmla="*/ 662797 h 1051559"/>
              <a:gd name="T2" fmla="*/ 2722 w 5033225"/>
              <a:gd name="T3" fmla="*/ 814474 h 1051559"/>
              <a:gd name="T4" fmla="*/ 31113 w 5033225"/>
              <a:gd name="T5" fmla="*/ 957231 h 1051559"/>
              <a:gd name="T6" fmla="*/ 142024 w 5033225"/>
              <a:gd name="T7" fmla="*/ 1045180 h 1051559"/>
              <a:gd name="T8" fmla="*/ 296360 w 5033225"/>
              <a:gd name="T9" fmla="*/ 1036257 h 1051559"/>
              <a:gd name="T10" fmla="*/ 538675 w 5033225"/>
              <a:gd name="T11" fmla="*/ 1010765 h 1051559"/>
              <a:gd name="T12" fmla="*/ 753223 w 5033225"/>
              <a:gd name="T13" fmla="*/ 936837 h 1051559"/>
              <a:gd name="T14" fmla="*/ 863983 w 5033225"/>
              <a:gd name="T15" fmla="*/ 865460 h 1051559"/>
              <a:gd name="T16" fmla="*/ 926698 w 5033225"/>
              <a:gd name="T17" fmla="*/ 820848 h 1051559"/>
              <a:gd name="T18" fmla="*/ 401772 w 5033225"/>
              <a:gd name="T19" fmla="*/ 773688 h 1051559"/>
              <a:gd name="T20" fmla="*/ 376242 w 5033225"/>
              <a:gd name="T21" fmla="*/ 726527 h 1051559"/>
              <a:gd name="T22" fmla="*/ 294333 w 5033225"/>
              <a:gd name="T23" fmla="*/ 658973 h 1051559"/>
              <a:gd name="T24" fmla="*/ 4955379 w 5033225"/>
              <a:gd name="T25" fmla="*/ 1010765 h 1051559"/>
              <a:gd name="T26" fmla="*/ 4778821 w 5033225"/>
              <a:gd name="T27" fmla="*/ 1050277 h 1051559"/>
              <a:gd name="T28" fmla="*/ 4934989 w 5033225"/>
              <a:gd name="T29" fmla="*/ 1024785 h 1051559"/>
              <a:gd name="T30" fmla="*/ 430648 w 5033225"/>
              <a:gd name="T31" fmla="*/ 1019687 h 1051559"/>
              <a:gd name="T32" fmla="*/ 4597746 w 5033225"/>
              <a:gd name="T33" fmla="*/ 1019687 h 1051559"/>
              <a:gd name="T34" fmla="*/ 342371 w 5033225"/>
              <a:gd name="T35" fmla="*/ 1015863 h 1051559"/>
              <a:gd name="T36" fmla="*/ 465851 w 5033225"/>
              <a:gd name="T37" fmla="*/ 1018412 h 1051559"/>
              <a:gd name="T38" fmla="*/ 2634549 w 5033225"/>
              <a:gd name="T39" fmla="*/ 234527 h 1051559"/>
              <a:gd name="T40" fmla="*/ 3052740 w 5033225"/>
              <a:gd name="T41" fmla="*/ 288061 h 1051559"/>
              <a:gd name="T42" fmla="*/ 3401187 w 5033225"/>
              <a:gd name="T43" fmla="*/ 396403 h 1051559"/>
              <a:gd name="T44" fmla="*/ 3688607 w 5033225"/>
              <a:gd name="T45" fmla="*/ 535335 h 1051559"/>
              <a:gd name="T46" fmla="*/ 3923712 w 5033225"/>
              <a:gd name="T47" fmla="*/ 685739 h 1051559"/>
              <a:gd name="T48" fmla="*/ 4135746 w 5033225"/>
              <a:gd name="T49" fmla="*/ 839967 h 1051559"/>
              <a:gd name="T50" fmla="*/ 4196888 w 5033225"/>
              <a:gd name="T51" fmla="*/ 883304 h 1051559"/>
              <a:gd name="T52" fmla="*/ 4341355 w 5033225"/>
              <a:gd name="T53" fmla="*/ 964879 h 1051559"/>
              <a:gd name="T54" fmla="*/ 4564646 w 5033225"/>
              <a:gd name="T55" fmla="*/ 1018412 h 1051559"/>
              <a:gd name="T56" fmla="*/ 4699092 w 5033225"/>
              <a:gd name="T57" fmla="*/ 1010765 h 1051559"/>
              <a:gd name="T58" fmla="*/ 4985223 w 5033225"/>
              <a:gd name="T59" fmla="*/ 982723 h 1051559"/>
              <a:gd name="T60" fmla="*/ 5036177 w 5033225"/>
              <a:gd name="T61" fmla="*/ 847614 h 1051559"/>
              <a:gd name="T62" fmla="*/ 5026292 w 5033225"/>
              <a:gd name="T63" fmla="*/ 783884 h 1051559"/>
              <a:gd name="T64" fmla="*/ 4442773 w 5033225"/>
              <a:gd name="T65" fmla="*/ 757118 h 1051559"/>
              <a:gd name="T66" fmla="*/ 4329804 w 5033225"/>
              <a:gd name="T67" fmla="*/ 694661 h 1051559"/>
              <a:gd name="T68" fmla="*/ 4269980 w 5033225"/>
              <a:gd name="T69" fmla="*/ 651325 h 1051559"/>
              <a:gd name="T70" fmla="*/ 4001446 w 5033225"/>
              <a:gd name="T71" fmla="*/ 460133 h 1051559"/>
              <a:gd name="T72" fmla="*/ 3733267 w 5033225"/>
              <a:gd name="T73" fmla="*/ 298258 h 1051559"/>
              <a:gd name="T74" fmla="*/ 2511627 w 5033225"/>
              <a:gd name="T75" fmla="*/ 0 h 1051559"/>
              <a:gd name="T76" fmla="*/ 2033983 w 5033225"/>
              <a:gd name="T77" fmla="*/ 43335 h 1051559"/>
              <a:gd name="T78" fmla="*/ 1633964 w 5033225"/>
              <a:gd name="T79" fmla="*/ 150403 h 1051559"/>
              <a:gd name="T80" fmla="*/ 1304489 w 5033225"/>
              <a:gd name="T81" fmla="*/ 296983 h 1051559"/>
              <a:gd name="T82" fmla="*/ 1038483 w 5033225"/>
              <a:gd name="T83" fmla="*/ 456309 h 1051559"/>
              <a:gd name="T84" fmla="*/ 772852 w 5033225"/>
              <a:gd name="T85" fmla="*/ 647501 h 1051559"/>
              <a:gd name="T86" fmla="*/ 731766 w 5033225"/>
              <a:gd name="T87" fmla="*/ 676817 h 1051559"/>
              <a:gd name="T88" fmla="*/ 693574 w 5033225"/>
              <a:gd name="T89" fmla="*/ 703583 h 1051559"/>
              <a:gd name="T90" fmla="*/ 595426 w 5033225"/>
              <a:gd name="T91" fmla="*/ 755843 h 1051559"/>
              <a:gd name="T92" fmla="*/ 453877 w 5033225"/>
              <a:gd name="T93" fmla="*/ 787708 h 1051559"/>
              <a:gd name="T94" fmla="*/ 1108874 w 5033225"/>
              <a:gd name="T95" fmla="*/ 688289 h 1051559"/>
              <a:gd name="T96" fmla="*/ 1345964 w 5033225"/>
              <a:gd name="T97" fmla="*/ 536610 h 1051559"/>
              <a:gd name="T98" fmla="*/ 1634457 w 5033225"/>
              <a:gd name="T99" fmla="*/ 396403 h 1051559"/>
              <a:gd name="T100" fmla="*/ 1983341 w 5033225"/>
              <a:gd name="T101" fmla="*/ 288061 h 1051559"/>
              <a:gd name="T102" fmla="*/ 2401616 w 5033225"/>
              <a:gd name="T103" fmla="*/ 234527 h 1051559"/>
              <a:gd name="T104" fmla="*/ 3491585 w 5033225"/>
              <a:gd name="T105" fmla="*/ 184817 h 1051559"/>
              <a:gd name="T106" fmla="*/ 3109314 w 5033225"/>
              <a:gd name="T107" fmla="*/ 65005 h 1051559"/>
              <a:gd name="T108" fmla="*/ 2651628 w 5033225"/>
              <a:gd name="T109" fmla="*/ 3821 h 1051559"/>
              <a:gd name="T110" fmla="*/ 4800144 w 5033225"/>
              <a:gd name="T111" fmla="*/ 641128 h 1051559"/>
              <a:gd name="T112" fmla="*/ 4663367 w 5033225"/>
              <a:gd name="T113" fmla="*/ 721428 h 1051559"/>
              <a:gd name="T114" fmla="*/ 5026292 w 5033225"/>
              <a:gd name="T115" fmla="*/ 783884 h 1051559"/>
              <a:gd name="T116" fmla="*/ 4937901 w 5033225"/>
              <a:gd name="T117" fmla="*/ 670444 h 105155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5033225" h="1051559">
                <a:moveTo>
                  <a:pt x="227926" y="637539"/>
                </a:moveTo>
                <a:lnTo>
                  <a:pt x="195823" y="637539"/>
                </a:lnTo>
                <a:lnTo>
                  <a:pt x="161464" y="642619"/>
                </a:lnTo>
                <a:lnTo>
                  <a:pt x="114283" y="660399"/>
                </a:lnTo>
                <a:lnTo>
                  <a:pt x="73502" y="687069"/>
                </a:lnTo>
                <a:lnTo>
                  <a:pt x="40437" y="722629"/>
                </a:lnTo>
                <a:lnTo>
                  <a:pt x="16405" y="763269"/>
                </a:lnTo>
                <a:lnTo>
                  <a:pt x="2722" y="811529"/>
                </a:lnTo>
                <a:lnTo>
                  <a:pt x="0" y="844549"/>
                </a:lnTo>
                <a:lnTo>
                  <a:pt x="687" y="861059"/>
                </a:lnTo>
                <a:lnTo>
                  <a:pt x="10580" y="910589"/>
                </a:lnTo>
                <a:lnTo>
                  <a:pt x="31093" y="953769"/>
                </a:lnTo>
                <a:lnTo>
                  <a:pt x="49957" y="979169"/>
                </a:lnTo>
                <a:lnTo>
                  <a:pt x="60785" y="991869"/>
                </a:lnTo>
                <a:lnTo>
                  <a:pt x="98215" y="1021079"/>
                </a:lnTo>
                <a:lnTo>
                  <a:pt x="141940" y="1041399"/>
                </a:lnTo>
                <a:lnTo>
                  <a:pt x="190520" y="1051559"/>
                </a:lnTo>
                <a:lnTo>
                  <a:pt x="221037" y="1051559"/>
                </a:lnTo>
                <a:lnTo>
                  <a:pt x="260010" y="1045209"/>
                </a:lnTo>
                <a:lnTo>
                  <a:pt x="296188" y="1032509"/>
                </a:lnTo>
                <a:lnTo>
                  <a:pt x="328879" y="1013459"/>
                </a:lnTo>
                <a:lnTo>
                  <a:pt x="342171" y="1012189"/>
                </a:lnTo>
                <a:lnTo>
                  <a:pt x="501580" y="1012189"/>
                </a:lnTo>
                <a:lnTo>
                  <a:pt x="538359" y="1007109"/>
                </a:lnTo>
                <a:lnTo>
                  <a:pt x="594900" y="995679"/>
                </a:lnTo>
                <a:lnTo>
                  <a:pt x="652969" y="977899"/>
                </a:lnTo>
                <a:lnTo>
                  <a:pt x="692465" y="962659"/>
                </a:lnTo>
                <a:lnTo>
                  <a:pt x="752783" y="933449"/>
                </a:lnTo>
                <a:lnTo>
                  <a:pt x="814273" y="896619"/>
                </a:lnTo>
                <a:lnTo>
                  <a:pt x="843442" y="876299"/>
                </a:lnTo>
                <a:lnTo>
                  <a:pt x="853401" y="869949"/>
                </a:lnTo>
                <a:lnTo>
                  <a:pt x="863475" y="862329"/>
                </a:lnTo>
                <a:lnTo>
                  <a:pt x="873660" y="855979"/>
                </a:lnTo>
                <a:lnTo>
                  <a:pt x="894352" y="840739"/>
                </a:lnTo>
                <a:lnTo>
                  <a:pt x="904854" y="833119"/>
                </a:lnTo>
                <a:lnTo>
                  <a:pt x="926154" y="817879"/>
                </a:lnTo>
                <a:lnTo>
                  <a:pt x="971397" y="784859"/>
                </a:lnTo>
                <a:lnTo>
                  <a:pt x="417355" y="784859"/>
                </a:lnTo>
                <a:lnTo>
                  <a:pt x="405968" y="783589"/>
                </a:lnTo>
                <a:lnTo>
                  <a:pt x="401536" y="770889"/>
                </a:lnTo>
                <a:lnTo>
                  <a:pt x="396294" y="758189"/>
                </a:lnTo>
                <a:lnTo>
                  <a:pt x="390274" y="746759"/>
                </a:lnTo>
                <a:lnTo>
                  <a:pt x="383506" y="734059"/>
                </a:lnTo>
                <a:lnTo>
                  <a:pt x="376022" y="723899"/>
                </a:lnTo>
                <a:lnTo>
                  <a:pt x="367853" y="712469"/>
                </a:lnTo>
                <a:lnTo>
                  <a:pt x="339558" y="684529"/>
                </a:lnTo>
                <a:lnTo>
                  <a:pt x="306238" y="661669"/>
                </a:lnTo>
                <a:lnTo>
                  <a:pt x="294161" y="656589"/>
                </a:lnTo>
                <a:lnTo>
                  <a:pt x="281653" y="650239"/>
                </a:lnTo>
                <a:lnTo>
                  <a:pt x="255465" y="642619"/>
                </a:lnTo>
                <a:lnTo>
                  <a:pt x="227926" y="637539"/>
                </a:lnTo>
                <a:close/>
              </a:path>
              <a:path w="5033225" h="1051559">
                <a:moveTo>
                  <a:pt x="4952475" y="1007109"/>
                </a:moveTo>
                <a:lnTo>
                  <a:pt x="4696336" y="1007109"/>
                </a:lnTo>
                <a:lnTo>
                  <a:pt x="4706521" y="1014729"/>
                </a:lnTo>
                <a:lnTo>
                  <a:pt x="4739615" y="1033779"/>
                </a:lnTo>
                <a:lnTo>
                  <a:pt x="4776020" y="1046479"/>
                </a:lnTo>
                <a:lnTo>
                  <a:pt x="4815095" y="1051559"/>
                </a:lnTo>
                <a:lnTo>
                  <a:pt x="4833626" y="1051559"/>
                </a:lnTo>
                <a:lnTo>
                  <a:pt x="4885859" y="1041399"/>
                </a:lnTo>
                <a:lnTo>
                  <a:pt x="4932097" y="1021079"/>
                </a:lnTo>
                <a:lnTo>
                  <a:pt x="4952475" y="1007109"/>
                </a:lnTo>
                <a:close/>
              </a:path>
              <a:path w="5033225" h="1051559">
                <a:moveTo>
                  <a:pt x="447883" y="1014729"/>
                </a:moveTo>
                <a:lnTo>
                  <a:pt x="417819" y="1014729"/>
                </a:lnTo>
                <a:lnTo>
                  <a:pt x="430396" y="1015999"/>
                </a:lnTo>
                <a:lnTo>
                  <a:pt x="447883" y="1014729"/>
                </a:lnTo>
                <a:close/>
              </a:path>
              <a:path w="5033225" h="1051559">
                <a:moveTo>
                  <a:pt x="4621936" y="1014729"/>
                </a:moveTo>
                <a:lnTo>
                  <a:pt x="4578672" y="1014729"/>
                </a:lnTo>
                <a:lnTo>
                  <a:pt x="4595050" y="1015999"/>
                </a:lnTo>
                <a:lnTo>
                  <a:pt x="4608621" y="1015999"/>
                </a:lnTo>
                <a:lnTo>
                  <a:pt x="4621936" y="1014729"/>
                </a:lnTo>
                <a:close/>
              </a:path>
              <a:path w="5033225" h="1051559">
                <a:moveTo>
                  <a:pt x="501580" y="1012189"/>
                </a:moveTo>
                <a:lnTo>
                  <a:pt x="342171" y="1012189"/>
                </a:lnTo>
                <a:lnTo>
                  <a:pt x="355151" y="1013459"/>
                </a:lnTo>
                <a:lnTo>
                  <a:pt x="380454" y="1013459"/>
                </a:lnTo>
                <a:lnTo>
                  <a:pt x="405349" y="1014729"/>
                </a:lnTo>
                <a:lnTo>
                  <a:pt x="465579" y="1014729"/>
                </a:lnTo>
                <a:lnTo>
                  <a:pt x="501580" y="1012189"/>
                </a:lnTo>
                <a:close/>
              </a:path>
              <a:path w="5033225" h="1051559">
                <a:moveTo>
                  <a:pt x="3598285" y="231139"/>
                </a:moveTo>
                <a:lnTo>
                  <a:pt x="2516606" y="231139"/>
                </a:lnTo>
                <a:lnTo>
                  <a:pt x="2633005" y="233679"/>
                </a:lnTo>
                <a:lnTo>
                  <a:pt x="2744503" y="241299"/>
                </a:lnTo>
                <a:lnTo>
                  <a:pt x="2851236" y="252729"/>
                </a:lnTo>
                <a:lnTo>
                  <a:pt x="2953340" y="267969"/>
                </a:lnTo>
                <a:lnTo>
                  <a:pt x="3050951" y="287019"/>
                </a:lnTo>
                <a:lnTo>
                  <a:pt x="3144206" y="309879"/>
                </a:lnTo>
                <a:lnTo>
                  <a:pt x="3233241" y="335279"/>
                </a:lnTo>
                <a:lnTo>
                  <a:pt x="3318191" y="364489"/>
                </a:lnTo>
                <a:lnTo>
                  <a:pt x="3399193" y="394969"/>
                </a:lnTo>
                <a:lnTo>
                  <a:pt x="3476383" y="427989"/>
                </a:lnTo>
                <a:lnTo>
                  <a:pt x="3549897" y="462279"/>
                </a:lnTo>
                <a:lnTo>
                  <a:pt x="3619872" y="497839"/>
                </a:lnTo>
                <a:lnTo>
                  <a:pt x="3686443" y="533399"/>
                </a:lnTo>
                <a:lnTo>
                  <a:pt x="3749746" y="571499"/>
                </a:lnTo>
                <a:lnTo>
                  <a:pt x="3809918" y="608329"/>
                </a:lnTo>
                <a:lnTo>
                  <a:pt x="3867094" y="646429"/>
                </a:lnTo>
                <a:lnTo>
                  <a:pt x="3921412" y="683259"/>
                </a:lnTo>
                <a:lnTo>
                  <a:pt x="3973007" y="720089"/>
                </a:lnTo>
                <a:lnTo>
                  <a:pt x="4022014" y="755649"/>
                </a:lnTo>
                <a:lnTo>
                  <a:pt x="4101364" y="814069"/>
                </a:lnTo>
                <a:lnTo>
                  <a:pt x="4133322" y="836929"/>
                </a:lnTo>
                <a:lnTo>
                  <a:pt x="4154126" y="852169"/>
                </a:lnTo>
                <a:lnTo>
                  <a:pt x="4164369" y="858519"/>
                </a:lnTo>
                <a:lnTo>
                  <a:pt x="4184523" y="873759"/>
                </a:lnTo>
                <a:lnTo>
                  <a:pt x="4194428" y="880109"/>
                </a:lnTo>
                <a:lnTo>
                  <a:pt x="4235221" y="906779"/>
                </a:lnTo>
                <a:lnTo>
                  <a:pt x="4256363" y="919479"/>
                </a:lnTo>
                <a:lnTo>
                  <a:pt x="4298025" y="942339"/>
                </a:lnTo>
                <a:lnTo>
                  <a:pt x="4338811" y="961389"/>
                </a:lnTo>
                <a:lnTo>
                  <a:pt x="4398221" y="984249"/>
                </a:lnTo>
                <a:lnTo>
                  <a:pt x="4455344" y="999489"/>
                </a:lnTo>
                <a:lnTo>
                  <a:pt x="4527622" y="1012189"/>
                </a:lnTo>
                <a:lnTo>
                  <a:pt x="4561970" y="1014729"/>
                </a:lnTo>
                <a:lnTo>
                  <a:pt x="4634993" y="1014729"/>
                </a:lnTo>
                <a:lnTo>
                  <a:pt x="4672595" y="1010919"/>
                </a:lnTo>
                <a:lnTo>
                  <a:pt x="4684600" y="1008379"/>
                </a:lnTo>
                <a:lnTo>
                  <a:pt x="4696336" y="1007109"/>
                </a:lnTo>
                <a:lnTo>
                  <a:pt x="4952475" y="1007109"/>
                </a:lnTo>
                <a:lnTo>
                  <a:pt x="4958985" y="1002029"/>
                </a:lnTo>
                <a:lnTo>
                  <a:pt x="4971112" y="991869"/>
                </a:lnTo>
                <a:lnTo>
                  <a:pt x="4982299" y="979169"/>
                </a:lnTo>
                <a:lnTo>
                  <a:pt x="4992502" y="967739"/>
                </a:lnTo>
                <a:lnTo>
                  <a:pt x="5016749" y="925829"/>
                </a:lnTo>
                <a:lnTo>
                  <a:pt x="5030498" y="878839"/>
                </a:lnTo>
                <a:lnTo>
                  <a:pt x="5033225" y="844549"/>
                </a:lnTo>
                <a:lnTo>
                  <a:pt x="5032537" y="828039"/>
                </a:lnTo>
                <a:lnTo>
                  <a:pt x="5030509" y="811529"/>
                </a:lnTo>
                <a:lnTo>
                  <a:pt x="5027193" y="795019"/>
                </a:lnTo>
                <a:lnTo>
                  <a:pt x="5023344" y="781049"/>
                </a:lnTo>
                <a:lnTo>
                  <a:pt x="4554544" y="781049"/>
                </a:lnTo>
                <a:lnTo>
                  <a:pt x="4541108" y="779779"/>
                </a:lnTo>
                <a:lnTo>
                  <a:pt x="4499247" y="772159"/>
                </a:lnTo>
                <a:lnTo>
                  <a:pt x="4440169" y="754379"/>
                </a:lnTo>
                <a:lnTo>
                  <a:pt x="4393751" y="732789"/>
                </a:lnTo>
                <a:lnTo>
                  <a:pt x="4345813" y="704849"/>
                </a:lnTo>
                <a:lnTo>
                  <a:pt x="4336618" y="698499"/>
                </a:lnTo>
                <a:lnTo>
                  <a:pt x="4327265" y="692149"/>
                </a:lnTo>
                <a:lnTo>
                  <a:pt x="4317747" y="685799"/>
                </a:lnTo>
                <a:lnTo>
                  <a:pt x="4308059" y="678179"/>
                </a:lnTo>
                <a:lnTo>
                  <a:pt x="4298193" y="671829"/>
                </a:lnTo>
                <a:lnTo>
                  <a:pt x="4267476" y="648969"/>
                </a:lnTo>
                <a:lnTo>
                  <a:pt x="4234949" y="626109"/>
                </a:lnTo>
                <a:lnTo>
                  <a:pt x="4112043" y="535939"/>
                </a:lnTo>
                <a:lnTo>
                  <a:pt x="4057231" y="497839"/>
                </a:lnTo>
                <a:lnTo>
                  <a:pt x="3999100" y="458469"/>
                </a:lnTo>
                <a:lnTo>
                  <a:pt x="3937536" y="417829"/>
                </a:lnTo>
                <a:lnTo>
                  <a:pt x="3872422" y="377189"/>
                </a:lnTo>
                <a:lnTo>
                  <a:pt x="3803641" y="336549"/>
                </a:lnTo>
                <a:lnTo>
                  <a:pt x="3731079" y="297179"/>
                </a:lnTo>
                <a:lnTo>
                  <a:pt x="3654618" y="257809"/>
                </a:lnTo>
                <a:lnTo>
                  <a:pt x="3598285" y="231139"/>
                </a:lnTo>
                <a:close/>
              </a:path>
              <a:path w="5033225" h="1051559">
                <a:moveTo>
                  <a:pt x="2523070" y="0"/>
                </a:moveTo>
                <a:lnTo>
                  <a:pt x="2510155" y="0"/>
                </a:lnTo>
                <a:lnTo>
                  <a:pt x="2383154" y="3809"/>
                </a:lnTo>
                <a:lnTo>
                  <a:pt x="2261333" y="12699"/>
                </a:lnTo>
                <a:lnTo>
                  <a:pt x="2144583" y="25399"/>
                </a:lnTo>
                <a:lnTo>
                  <a:pt x="2032791" y="43179"/>
                </a:lnTo>
                <a:lnTo>
                  <a:pt x="1925848" y="64769"/>
                </a:lnTo>
                <a:lnTo>
                  <a:pt x="1823643" y="90169"/>
                </a:lnTo>
                <a:lnTo>
                  <a:pt x="1726066" y="118109"/>
                </a:lnTo>
                <a:lnTo>
                  <a:pt x="1633006" y="149859"/>
                </a:lnTo>
                <a:lnTo>
                  <a:pt x="1544352" y="182879"/>
                </a:lnTo>
                <a:lnTo>
                  <a:pt x="1459995" y="219709"/>
                </a:lnTo>
                <a:lnTo>
                  <a:pt x="1379823" y="256539"/>
                </a:lnTo>
                <a:lnTo>
                  <a:pt x="1303725" y="295909"/>
                </a:lnTo>
                <a:lnTo>
                  <a:pt x="1231593" y="335279"/>
                </a:lnTo>
                <a:lnTo>
                  <a:pt x="1163314" y="374649"/>
                </a:lnTo>
                <a:lnTo>
                  <a:pt x="1098778" y="415289"/>
                </a:lnTo>
                <a:lnTo>
                  <a:pt x="1037875" y="454659"/>
                </a:lnTo>
                <a:lnTo>
                  <a:pt x="980495" y="494029"/>
                </a:lnTo>
                <a:lnTo>
                  <a:pt x="926526" y="532129"/>
                </a:lnTo>
                <a:lnTo>
                  <a:pt x="794136" y="628649"/>
                </a:lnTo>
                <a:lnTo>
                  <a:pt x="772400" y="645159"/>
                </a:lnTo>
                <a:lnTo>
                  <a:pt x="761842" y="652779"/>
                </a:lnTo>
                <a:lnTo>
                  <a:pt x="751483" y="660399"/>
                </a:lnTo>
                <a:lnTo>
                  <a:pt x="741317" y="666749"/>
                </a:lnTo>
                <a:lnTo>
                  <a:pt x="731338" y="674369"/>
                </a:lnTo>
                <a:lnTo>
                  <a:pt x="721539" y="680719"/>
                </a:lnTo>
                <a:lnTo>
                  <a:pt x="711915" y="688339"/>
                </a:lnTo>
                <a:lnTo>
                  <a:pt x="702459" y="694689"/>
                </a:lnTo>
                <a:lnTo>
                  <a:pt x="693166" y="701039"/>
                </a:lnTo>
                <a:lnTo>
                  <a:pt x="659493" y="721359"/>
                </a:lnTo>
                <a:lnTo>
                  <a:pt x="643013" y="730249"/>
                </a:lnTo>
                <a:lnTo>
                  <a:pt x="626780" y="737869"/>
                </a:lnTo>
                <a:lnTo>
                  <a:pt x="595078" y="753109"/>
                </a:lnTo>
                <a:lnTo>
                  <a:pt x="549538" y="768349"/>
                </a:lnTo>
                <a:lnTo>
                  <a:pt x="520599" y="775969"/>
                </a:lnTo>
                <a:lnTo>
                  <a:pt x="492857" y="781049"/>
                </a:lnTo>
                <a:lnTo>
                  <a:pt x="453609" y="784859"/>
                </a:lnTo>
                <a:lnTo>
                  <a:pt x="971397" y="784859"/>
                </a:lnTo>
                <a:lnTo>
                  <a:pt x="1006198" y="759459"/>
                </a:lnTo>
                <a:lnTo>
                  <a:pt x="1055957" y="722629"/>
                </a:lnTo>
                <a:lnTo>
                  <a:pt x="1108223" y="685799"/>
                </a:lnTo>
                <a:lnTo>
                  <a:pt x="1163137" y="648969"/>
                </a:lnTo>
                <a:lnTo>
                  <a:pt x="1220841" y="610869"/>
                </a:lnTo>
                <a:lnTo>
                  <a:pt x="1281474" y="572769"/>
                </a:lnTo>
                <a:lnTo>
                  <a:pt x="1345176" y="534669"/>
                </a:lnTo>
                <a:lnTo>
                  <a:pt x="1412090" y="497839"/>
                </a:lnTo>
                <a:lnTo>
                  <a:pt x="1482354" y="462279"/>
                </a:lnTo>
                <a:lnTo>
                  <a:pt x="1556109" y="427989"/>
                </a:lnTo>
                <a:lnTo>
                  <a:pt x="1633497" y="394969"/>
                </a:lnTo>
                <a:lnTo>
                  <a:pt x="1714657" y="364489"/>
                </a:lnTo>
                <a:lnTo>
                  <a:pt x="1799730" y="336549"/>
                </a:lnTo>
                <a:lnTo>
                  <a:pt x="1888856" y="309879"/>
                </a:lnTo>
                <a:lnTo>
                  <a:pt x="1982177" y="287019"/>
                </a:lnTo>
                <a:lnTo>
                  <a:pt x="2079832" y="267969"/>
                </a:lnTo>
                <a:lnTo>
                  <a:pt x="2181962" y="252729"/>
                </a:lnTo>
                <a:lnTo>
                  <a:pt x="2288707" y="241299"/>
                </a:lnTo>
                <a:lnTo>
                  <a:pt x="2400208" y="233679"/>
                </a:lnTo>
                <a:lnTo>
                  <a:pt x="2516606" y="231139"/>
                </a:lnTo>
                <a:lnTo>
                  <a:pt x="3598285" y="231139"/>
                </a:lnTo>
                <a:lnTo>
                  <a:pt x="3574142" y="219709"/>
                </a:lnTo>
                <a:lnTo>
                  <a:pt x="3489537" y="184149"/>
                </a:lnTo>
                <a:lnTo>
                  <a:pt x="3400685" y="149859"/>
                </a:lnTo>
                <a:lnTo>
                  <a:pt x="3307470" y="118109"/>
                </a:lnTo>
                <a:lnTo>
                  <a:pt x="3209777" y="90169"/>
                </a:lnTo>
                <a:lnTo>
                  <a:pt x="3107490" y="64769"/>
                </a:lnTo>
                <a:lnTo>
                  <a:pt x="3000491" y="43179"/>
                </a:lnTo>
                <a:lnTo>
                  <a:pt x="2888666" y="25399"/>
                </a:lnTo>
                <a:lnTo>
                  <a:pt x="2771899" y="12699"/>
                </a:lnTo>
                <a:lnTo>
                  <a:pt x="2650072" y="3809"/>
                </a:lnTo>
                <a:lnTo>
                  <a:pt x="2523070" y="0"/>
                </a:lnTo>
                <a:close/>
              </a:path>
              <a:path w="5033225" h="1051559">
                <a:moveTo>
                  <a:pt x="4842703" y="637539"/>
                </a:moveTo>
                <a:lnTo>
                  <a:pt x="4811375" y="637539"/>
                </a:lnTo>
                <a:lnTo>
                  <a:pt x="4797329" y="638809"/>
                </a:lnTo>
                <a:lnTo>
                  <a:pt x="4757076" y="648969"/>
                </a:lnTo>
                <a:lnTo>
                  <a:pt x="4720310" y="665479"/>
                </a:lnTo>
                <a:lnTo>
                  <a:pt x="4687879" y="689609"/>
                </a:lnTo>
                <a:lnTo>
                  <a:pt x="4660633" y="718819"/>
                </a:lnTo>
                <a:lnTo>
                  <a:pt x="4639423" y="753109"/>
                </a:lnTo>
                <a:lnTo>
                  <a:pt x="4629054" y="778509"/>
                </a:lnTo>
                <a:lnTo>
                  <a:pt x="4605445" y="781049"/>
                </a:lnTo>
                <a:lnTo>
                  <a:pt x="5023344" y="781049"/>
                </a:lnTo>
                <a:lnTo>
                  <a:pt x="5022644" y="778509"/>
                </a:lnTo>
                <a:lnTo>
                  <a:pt x="5002129" y="735329"/>
                </a:lnTo>
                <a:lnTo>
                  <a:pt x="4972435" y="698499"/>
                </a:lnTo>
                <a:lnTo>
                  <a:pt x="4935005" y="668019"/>
                </a:lnTo>
                <a:lnTo>
                  <a:pt x="4891280" y="647699"/>
                </a:lnTo>
                <a:lnTo>
                  <a:pt x="4875555" y="642619"/>
                </a:lnTo>
                <a:lnTo>
                  <a:pt x="4842703" y="637539"/>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4" name="object 28">
            <a:extLst>
              <a:ext uri="{FF2B5EF4-FFF2-40B4-BE49-F238E27FC236}">
                <a16:creationId xmlns:a16="http://schemas.microsoft.com/office/drawing/2014/main" id="{E18F1A3D-9038-4B34-A7DA-F599F625A299}"/>
              </a:ext>
            </a:extLst>
          </p:cNvPr>
          <p:cNvSpPr>
            <a:spLocks/>
          </p:cNvSpPr>
          <p:nvPr/>
        </p:nvSpPr>
        <p:spPr bwMode="auto">
          <a:xfrm>
            <a:off x="2574195" y="2588253"/>
            <a:ext cx="1308337" cy="1947379"/>
          </a:xfrm>
          <a:custGeom>
            <a:avLst/>
            <a:gdLst>
              <a:gd name="T0" fmla="*/ 42897 w 2265346"/>
              <a:gd name="T1" fmla="*/ 2220965 h 3371507"/>
              <a:gd name="T2" fmla="*/ 18807 w 2265346"/>
              <a:gd name="T3" fmla="*/ 2234792 h 3371507"/>
              <a:gd name="T4" fmla="*/ 4315 w 2265346"/>
              <a:gd name="T5" fmla="*/ 2253684 h 3371507"/>
              <a:gd name="T6" fmla="*/ 94 w 2265346"/>
              <a:gd name="T7" fmla="*/ 2276537 h 3371507"/>
              <a:gd name="T8" fmla="*/ 1383 w 2265346"/>
              <a:gd name="T9" fmla="*/ 2302053 h 3371507"/>
              <a:gd name="T10" fmla="*/ 309 w 2265346"/>
              <a:gd name="T11" fmla="*/ 2327442 h 3371507"/>
              <a:gd name="T12" fmla="*/ 3741 w 2265346"/>
              <a:gd name="T13" fmla="*/ 2425374 h 3371507"/>
              <a:gd name="T14" fmla="*/ 32884 w 2265346"/>
              <a:gd name="T15" fmla="*/ 2589790 h 3371507"/>
              <a:gd name="T16" fmla="*/ 88965 w 2265346"/>
              <a:gd name="T17" fmla="*/ 2744089 h 3371507"/>
              <a:gd name="T18" fmla="*/ 169644 w 2265346"/>
              <a:gd name="T19" fmla="*/ 2886230 h 3371507"/>
              <a:gd name="T20" fmla="*/ 272597 w 2265346"/>
              <a:gd name="T21" fmla="*/ 3014168 h 3371507"/>
              <a:gd name="T22" fmla="*/ 395487 w 2265346"/>
              <a:gd name="T23" fmla="*/ 3125866 h 3371507"/>
              <a:gd name="T24" fmla="*/ 535980 w 2265346"/>
              <a:gd name="T25" fmla="*/ 3219286 h 3371507"/>
              <a:gd name="T26" fmla="*/ 691745 w 2265346"/>
              <a:gd name="T27" fmla="*/ 3292392 h 3371507"/>
              <a:gd name="T28" fmla="*/ 860449 w 2265346"/>
              <a:gd name="T29" fmla="*/ 3343139 h 3371507"/>
              <a:gd name="T30" fmla="*/ 1039796 w 2265346"/>
              <a:gd name="T31" fmla="*/ 3369492 h 3371507"/>
              <a:gd name="T32" fmla="*/ 1225581 w 2265346"/>
              <a:gd name="T33" fmla="*/ 3369491 h 3371507"/>
              <a:gd name="T34" fmla="*/ 1404876 w 2265346"/>
              <a:gd name="T35" fmla="*/ 3343175 h 3371507"/>
              <a:gd name="T36" fmla="*/ 1573578 w 2265346"/>
              <a:gd name="T37" fmla="*/ 3292561 h 3371507"/>
              <a:gd name="T38" fmla="*/ 1729344 w 2265346"/>
              <a:gd name="T39" fmla="*/ 3219750 h 3371507"/>
              <a:gd name="T40" fmla="*/ 1869841 w 2265346"/>
              <a:gd name="T41" fmla="*/ 3126851 h 3371507"/>
              <a:gd name="T42" fmla="*/ 1992736 w 2265346"/>
              <a:gd name="T43" fmla="*/ 3015965 h 3371507"/>
              <a:gd name="T44" fmla="*/ 2095699 w 2265346"/>
              <a:gd name="T45" fmla="*/ 2889196 h 3371507"/>
              <a:gd name="T46" fmla="*/ 2176391 w 2265346"/>
              <a:gd name="T47" fmla="*/ 2748650 h 3371507"/>
              <a:gd name="T48" fmla="*/ 2232490 w 2265346"/>
              <a:gd name="T49" fmla="*/ 2596428 h 3371507"/>
              <a:gd name="T50" fmla="*/ 2261655 w 2265346"/>
              <a:gd name="T51" fmla="*/ 2434639 h 3371507"/>
              <a:gd name="T52" fmla="*/ 2265279 w 2265346"/>
              <a:gd name="T53" fmla="*/ 2338032 h 3371507"/>
              <a:gd name="T54" fmla="*/ 2264346 w 2265346"/>
              <a:gd name="T55" fmla="*/ 2312619 h 3371507"/>
              <a:gd name="T56" fmla="*/ 2262959 w 2265346"/>
              <a:gd name="T57" fmla="*/ 2290106 h 3371507"/>
              <a:gd name="T58" fmla="*/ 2248095 w 2265346"/>
              <a:gd name="T59" fmla="*/ 2236159 h 3371507"/>
              <a:gd name="T60" fmla="*/ 2220325 w 2265346"/>
              <a:gd name="T61" fmla="*/ 2211982 h 3371507"/>
              <a:gd name="T62" fmla="*/ 1097206 w 2265346"/>
              <a:gd name="T63" fmla="*/ 233356 h 3371507"/>
              <a:gd name="T64" fmla="*/ 1132766 w 2265346"/>
              <a:gd name="T65" fmla="*/ 0 h 3371507"/>
              <a:gd name="T66" fmla="*/ 1097206 w 2265346"/>
              <a:gd name="T67" fmla="*/ 233356 h 3371507"/>
              <a:gd name="T68" fmla="*/ 1168072 w 2265346"/>
              <a:gd name="T69" fmla="*/ 2211982 h 3371507"/>
              <a:gd name="T70" fmla="*/ 1248056 w 2265346"/>
              <a:gd name="T71" fmla="*/ 234487 h 3371507"/>
              <a:gd name="T72" fmla="*/ 1248056 w 2265346"/>
              <a:gd name="T73" fmla="*/ 234487 h 3371507"/>
              <a:gd name="T74" fmla="*/ 2130494 w 2265346"/>
              <a:gd name="T75" fmla="*/ 2211982 h 3371507"/>
              <a:gd name="T76" fmla="*/ 1248056 w 2265346"/>
              <a:gd name="T77" fmla="*/ 234487 h 337150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65346" h="3371507">
                <a:moveTo>
                  <a:pt x="1132734" y="0"/>
                </a:moveTo>
                <a:lnTo>
                  <a:pt x="42897" y="2220061"/>
                </a:lnTo>
                <a:lnTo>
                  <a:pt x="29694" y="2226271"/>
                </a:lnTo>
                <a:lnTo>
                  <a:pt x="18807" y="2233884"/>
                </a:lnTo>
                <a:lnTo>
                  <a:pt x="10319" y="2242762"/>
                </a:lnTo>
                <a:lnTo>
                  <a:pt x="4315" y="2252768"/>
                </a:lnTo>
                <a:lnTo>
                  <a:pt x="879" y="2263763"/>
                </a:lnTo>
                <a:lnTo>
                  <a:pt x="94" y="2275609"/>
                </a:lnTo>
                <a:lnTo>
                  <a:pt x="2044" y="2288167"/>
                </a:lnTo>
                <a:lnTo>
                  <a:pt x="1383" y="2301117"/>
                </a:lnTo>
                <a:lnTo>
                  <a:pt x="788" y="2313871"/>
                </a:lnTo>
                <a:lnTo>
                  <a:pt x="309" y="2326494"/>
                </a:lnTo>
                <a:lnTo>
                  <a:pt x="0" y="2339053"/>
                </a:lnTo>
                <a:lnTo>
                  <a:pt x="3741" y="2424386"/>
                </a:lnTo>
                <a:lnTo>
                  <a:pt x="14800" y="2507699"/>
                </a:lnTo>
                <a:lnTo>
                  <a:pt x="32884" y="2588738"/>
                </a:lnTo>
                <a:lnTo>
                  <a:pt x="57701" y="2667248"/>
                </a:lnTo>
                <a:lnTo>
                  <a:pt x="88961" y="2742973"/>
                </a:lnTo>
                <a:lnTo>
                  <a:pt x="126371" y="2815660"/>
                </a:lnTo>
                <a:lnTo>
                  <a:pt x="169640" y="2885054"/>
                </a:lnTo>
                <a:lnTo>
                  <a:pt x="218477" y="2950898"/>
                </a:lnTo>
                <a:lnTo>
                  <a:pt x="272589" y="3012940"/>
                </a:lnTo>
                <a:lnTo>
                  <a:pt x="331686" y="3070924"/>
                </a:lnTo>
                <a:lnTo>
                  <a:pt x="395475" y="3124594"/>
                </a:lnTo>
                <a:lnTo>
                  <a:pt x="463665" y="3173697"/>
                </a:lnTo>
                <a:lnTo>
                  <a:pt x="535964" y="3217978"/>
                </a:lnTo>
                <a:lnTo>
                  <a:pt x="612082" y="3257181"/>
                </a:lnTo>
                <a:lnTo>
                  <a:pt x="691725" y="3291052"/>
                </a:lnTo>
                <a:lnTo>
                  <a:pt x="774604" y="3319336"/>
                </a:lnTo>
                <a:lnTo>
                  <a:pt x="860425" y="3341779"/>
                </a:lnTo>
                <a:lnTo>
                  <a:pt x="948997" y="3358135"/>
                </a:lnTo>
                <a:lnTo>
                  <a:pt x="1039768" y="3368120"/>
                </a:lnTo>
                <a:lnTo>
                  <a:pt x="1132633" y="3371507"/>
                </a:lnTo>
                <a:lnTo>
                  <a:pt x="1225545" y="3368119"/>
                </a:lnTo>
                <a:lnTo>
                  <a:pt x="1316422" y="3358124"/>
                </a:lnTo>
                <a:lnTo>
                  <a:pt x="1404836" y="3341815"/>
                </a:lnTo>
                <a:lnTo>
                  <a:pt x="1490656" y="3319423"/>
                </a:lnTo>
                <a:lnTo>
                  <a:pt x="1573534" y="3291221"/>
                </a:lnTo>
                <a:lnTo>
                  <a:pt x="1653178" y="3257473"/>
                </a:lnTo>
                <a:lnTo>
                  <a:pt x="1729296" y="3218441"/>
                </a:lnTo>
                <a:lnTo>
                  <a:pt x="1801597" y="3174389"/>
                </a:lnTo>
                <a:lnTo>
                  <a:pt x="1869789" y="3125579"/>
                </a:lnTo>
                <a:lnTo>
                  <a:pt x="1933581" y="3072274"/>
                </a:lnTo>
                <a:lnTo>
                  <a:pt x="1992680" y="3014737"/>
                </a:lnTo>
                <a:lnTo>
                  <a:pt x="2046797" y="2953232"/>
                </a:lnTo>
                <a:lnTo>
                  <a:pt x="2095639" y="2888020"/>
                </a:lnTo>
                <a:lnTo>
                  <a:pt x="2138914" y="2819365"/>
                </a:lnTo>
                <a:lnTo>
                  <a:pt x="2176331" y="2747530"/>
                </a:lnTo>
                <a:lnTo>
                  <a:pt x="2207599" y="2672778"/>
                </a:lnTo>
                <a:lnTo>
                  <a:pt x="2232426" y="2595372"/>
                </a:lnTo>
                <a:lnTo>
                  <a:pt x="2250520" y="2515574"/>
                </a:lnTo>
                <a:lnTo>
                  <a:pt x="2261591" y="2433647"/>
                </a:lnTo>
                <a:lnTo>
                  <a:pt x="2265346" y="2349855"/>
                </a:lnTo>
                <a:lnTo>
                  <a:pt x="2265215" y="2337080"/>
                </a:lnTo>
                <a:lnTo>
                  <a:pt x="2264849" y="2324357"/>
                </a:lnTo>
                <a:lnTo>
                  <a:pt x="2264282" y="2311679"/>
                </a:lnTo>
                <a:lnTo>
                  <a:pt x="2263554" y="2299038"/>
                </a:lnTo>
                <a:lnTo>
                  <a:pt x="2262895" y="2289174"/>
                </a:lnTo>
                <a:lnTo>
                  <a:pt x="2265057" y="2276778"/>
                </a:lnTo>
                <a:lnTo>
                  <a:pt x="2248031" y="2235251"/>
                </a:lnTo>
                <a:lnTo>
                  <a:pt x="2225218" y="2221161"/>
                </a:lnTo>
                <a:lnTo>
                  <a:pt x="2220261" y="2211082"/>
                </a:lnTo>
                <a:lnTo>
                  <a:pt x="126247" y="2211082"/>
                </a:lnTo>
                <a:lnTo>
                  <a:pt x="1097174" y="233260"/>
                </a:lnTo>
                <a:lnTo>
                  <a:pt x="1247464" y="233260"/>
                </a:lnTo>
                <a:lnTo>
                  <a:pt x="1132734" y="0"/>
                </a:lnTo>
                <a:close/>
              </a:path>
              <a:path w="2265346" h="3371507">
                <a:moveTo>
                  <a:pt x="1247464" y="233260"/>
                </a:moveTo>
                <a:lnTo>
                  <a:pt x="1097174" y="233260"/>
                </a:lnTo>
                <a:lnTo>
                  <a:pt x="1097174" y="2211082"/>
                </a:lnTo>
                <a:lnTo>
                  <a:pt x="1168040" y="2211082"/>
                </a:lnTo>
                <a:lnTo>
                  <a:pt x="1168040" y="234391"/>
                </a:lnTo>
                <a:lnTo>
                  <a:pt x="1248020" y="234391"/>
                </a:lnTo>
                <a:lnTo>
                  <a:pt x="1247464" y="233260"/>
                </a:lnTo>
                <a:close/>
              </a:path>
              <a:path w="2265346" h="3371507">
                <a:moveTo>
                  <a:pt x="1248020" y="234391"/>
                </a:moveTo>
                <a:lnTo>
                  <a:pt x="1168040" y="234391"/>
                </a:lnTo>
                <a:lnTo>
                  <a:pt x="2130434" y="2211082"/>
                </a:lnTo>
                <a:lnTo>
                  <a:pt x="2220261" y="2211082"/>
                </a:lnTo>
                <a:lnTo>
                  <a:pt x="1248020" y="234391"/>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5" name="object 29">
            <a:extLst>
              <a:ext uri="{FF2B5EF4-FFF2-40B4-BE49-F238E27FC236}">
                <a16:creationId xmlns:a16="http://schemas.microsoft.com/office/drawing/2014/main" id="{4730360A-7AAA-426B-A837-5F33E9325C08}"/>
              </a:ext>
            </a:extLst>
          </p:cNvPr>
          <p:cNvSpPr>
            <a:spLocks/>
          </p:cNvSpPr>
          <p:nvPr/>
        </p:nvSpPr>
        <p:spPr bwMode="auto">
          <a:xfrm>
            <a:off x="5262385" y="2588253"/>
            <a:ext cx="1308337" cy="1947379"/>
          </a:xfrm>
          <a:custGeom>
            <a:avLst/>
            <a:gdLst>
              <a:gd name="T0" fmla="*/ 42897 w 2265346"/>
              <a:gd name="T1" fmla="*/ 2220965 h 3371507"/>
              <a:gd name="T2" fmla="*/ 18807 w 2265346"/>
              <a:gd name="T3" fmla="*/ 2234792 h 3371507"/>
              <a:gd name="T4" fmla="*/ 4315 w 2265346"/>
              <a:gd name="T5" fmla="*/ 2253684 h 3371507"/>
              <a:gd name="T6" fmla="*/ 94 w 2265346"/>
              <a:gd name="T7" fmla="*/ 2276537 h 3371507"/>
              <a:gd name="T8" fmla="*/ 1383 w 2265346"/>
              <a:gd name="T9" fmla="*/ 2302053 h 3371507"/>
              <a:gd name="T10" fmla="*/ 309 w 2265346"/>
              <a:gd name="T11" fmla="*/ 2327442 h 3371507"/>
              <a:gd name="T12" fmla="*/ 3741 w 2265346"/>
              <a:gd name="T13" fmla="*/ 2425374 h 3371507"/>
              <a:gd name="T14" fmla="*/ 32884 w 2265346"/>
              <a:gd name="T15" fmla="*/ 2589790 h 3371507"/>
              <a:gd name="T16" fmla="*/ 88965 w 2265346"/>
              <a:gd name="T17" fmla="*/ 2744089 h 3371507"/>
              <a:gd name="T18" fmla="*/ 169644 w 2265346"/>
              <a:gd name="T19" fmla="*/ 2886230 h 3371507"/>
              <a:gd name="T20" fmla="*/ 272596 w 2265346"/>
              <a:gd name="T21" fmla="*/ 3014168 h 3371507"/>
              <a:gd name="T22" fmla="*/ 395484 w 2265346"/>
              <a:gd name="T23" fmla="*/ 3125866 h 3371507"/>
              <a:gd name="T24" fmla="*/ 535977 w 2265346"/>
              <a:gd name="T25" fmla="*/ 3219286 h 3371507"/>
              <a:gd name="T26" fmla="*/ 691740 w 2265346"/>
              <a:gd name="T27" fmla="*/ 3292392 h 3371507"/>
              <a:gd name="T28" fmla="*/ 860442 w 2265346"/>
              <a:gd name="T29" fmla="*/ 3343139 h 3371507"/>
              <a:gd name="T30" fmla="*/ 1039786 w 2265346"/>
              <a:gd name="T31" fmla="*/ 3369492 h 3371507"/>
              <a:gd name="T32" fmla="*/ 1225570 w 2265346"/>
              <a:gd name="T33" fmla="*/ 3369491 h 3371507"/>
              <a:gd name="T34" fmla="*/ 1404868 w 2265346"/>
              <a:gd name="T35" fmla="*/ 3343175 h 3371507"/>
              <a:gd name="T36" fmla="*/ 1573573 w 2265346"/>
              <a:gd name="T37" fmla="*/ 3292561 h 3371507"/>
              <a:gd name="T38" fmla="*/ 1729341 w 2265346"/>
              <a:gd name="T39" fmla="*/ 3219750 h 3371507"/>
              <a:gd name="T40" fmla="*/ 1869839 w 2265346"/>
              <a:gd name="T41" fmla="*/ 3126851 h 3371507"/>
              <a:gd name="T42" fmla="*/ 1992735 w 2265346"/>
              <a:gd name="T43" fmla="*/ 3015965 h 3371507"/>
              <a:gd name="T44" fmla="*/ 2095698 w 2265346"/>
              <a:gd name="T45" fmla="*/ 2889196 h 3371507"/>
              <a:gd name="T46" fmla="*/ 2176391 w 2265346"/>
              <a:gd name="T47" fmla="*/ 2748650 h 3371507"/>
              <a:gd name="T48" fmla="*/ 2232490 w 2265346"/>
              <a:gd name="T49" fmla="*/ 2596428 h 3371507"/>
              <a:gd name="T50" fmla="*/ 2261655 w 2265346"/>
              <a:gd name="T51" fmla="*/ 2434639 h 3371507"/>
              <a:gd name="T52" fmla="*/ 2265279 w 2265346"/>
              <a:gd name="T53" fmla="*/ 2338032 h 3371507"/>
              <a:gd name="T54" fmla="*/ 2264346 w 2265346"/>
              <a:gd name="T55" fmla="*/ 2312619 h 3371507"/>
              <a:gd name="T56" fmla="*/ 2262959 w 2265346"/>
              <a:gd name="T57" fmla="*/ 2290106 h 3371507"/>
              <a:gd name="T58" fmla="*/ 2248095 w 2265346"/>
              <a:gd name="T59" fmla="*/ 2236159 h 3371507"/>
              <a:gd name="T60" fmla="*/ 2220325 w 2265346"/>
              <a:gd name="T61" fmla="*/ 2211982 h 3371507"/>
              <a:gd name="T62" fmla="*/ 1097206 w 2265346"/>
              <a:gd name="T63" fmla="*/ 233356 h 3371507"/>
              <a:gd name="T64" fmla="*/ 1132766 w 2265346"/>
              <a:gd name="T65" fmla="*/ 0 h 3371507"/>
              <a:gd name="T66" fmla="*/ 1097206 w 2265346"/>
              <a:gd name="T67" fmla="*/ 233356 h 3371507"/>
              <a:gd name="T68" fmla="*/ 1168072 w 2265346"/>
              <a:gd name="T69" fmla="*/ 2211982 h 3371507"/>
              <a:gd name="T70" fmla="*/ 1248056 w 2265346"/>
              <a:gd name="T71" fmla="*/ 234487 h 3371507"/>
              <a:gd name="T72" fmla="*/ 1248056 w 2265346"/>
              <a:gd name="T73" fmla="*/ 234487 h 3371507"/>
              <a:gd name="T74" fmla="*/ 2130494 w 2265346"/>
              <a:gd name="T75" fmla="*/ 2211982 h 3371507"/>
              <a:gd name="T76" fmla="*/ 1248056 w 2265346"/>
              <a:gd name="T77" fmla="*/ 234487 h 337150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265346" h="3371507">
                <a:moveTo>
                  <a:pt x="1132734" y="0"/>
                </a:moveTo>
                <a:lnTo>
                  <a:pt x="42897" y="2220061"/>
                </a:lnTo>
                <a:lnTo>
                  <a:pt x="29694" y="2226271"/>
                </a:lnTo>
                <a:lnTo>
                  <a:pt x="18807" y="2233884"/>
                </a:lnTo>
                <a:lnTo>
                  <a:pt x="10319" y="2242762"/>
                </a:lnTo>
                <a:lnTo>
                  <a:pt x="4315" y="2252768"/>
                </a:lnTo>
                <a:lnTo>
                  <a:pt x="879" y="2263763"/>
                </a:lnTo>
                <a:lnTo>
                  <a:pt x="94" y="2275609"/>
                </a:lnTo>
                <a:lnTo>
                  <a:pt x="2044" y="2288167"/>
                </a:lnTo>
                <a:lnTo>
                  <a:pt x="1383" y="2301117"/>
                </a:lnTo>
                <a:lnTo>
                  <a:pt x="788" y="2313871"/>
                </a:lnTo>
                <a:lnTo>
                  <a:pt x="309" y="2326494"/>
                </a:lnTo>
                <a:lnTo>
                  <a:pt x="0" y="2339053"/>
                </a:lnTo>
                <a:lnTo>
                  <a:pt x="3741" y="2424386"/>
                </a:lnTo>
                <a:lnTo>
                  <a:pt x="14800" y="2507699"/>
                </a:lnTo>
                <a:lnTo>
                  <a:pt x="32884" y="2588738"/>
                </a:lnTo>
                <a:lnTo>
                  <a:pt x="57701" y="2667248"/>
                </a:lnTo>
                <a:lnTo>
                  <a:pt x="88961" y="2742973"/>
                </a:lnTo>
                <a:lnTo>
                  <a:pt x="126371" y="2815660"/>
                </a:lnTo>
                <a:lnTo>
                  <a:pt x="169640" y="2885054"/>
                </a:lnTo>
                <a:lnTo>
                  <a:pt x="218476" y="2950898"/>
                </a:lnTo>
                <a:lnTo>
                  <a:pt x="272588" y="3012940"/>
                </a:lnTo>
                <a:lnTo>
                  <a:pt x="331684" y="3070924"/>
                </a:lnTo>
                <a:lnTo>
                  <a:pt x="395472" y="3124594"/>
                </a:lnTo>
                <a:lnTo>
                  <a:pt x="463662" y="3173697"/>
                </a:lnTo>
                <a:lnTo>
                  <a:pt x="535961" y="3217978"/>
                </a:lnTo>
                <a:lnTo>
                  <a:pt x="612077" y="3257181"/>
                </a:lnTo>
                <a:lnTo>
                  <a:pt x="691720" y="3291052"/>
                </a:lnTo>
                <a:lnTo>
                  <a:pt x="774597" y="3319336"/>
                </a:lnTo>
                <a:lnTo>
                  <a:pt x="860418" y="3341779"/>
                </a:lnTo>
                <a:lnTo>
                  <a:pt x="948987" y="3358135"/>
                </a:lnTo>
                <a:lnTo>
                  <a:pt x="1039758" y="3368120"/>
                </a:lnTo>
                <a:lnTo>
                  <a:pt x="1132620" y="3371507"/>
                </a:lnTo>
                <a:lnTo>
                  <a:pt x="1225534" y="3368119"/>
                </a:lnTo>
                <a:lnTo>
                  <a:pt x="1316413" y="3358124"/>
                </a:lnTo>
                <a:lnTo>
                  <a:pt x="1404828" y="3341815"/>
                </a:lnTo>
                <a:lnTo>
                  <a:pt x="1490650" y="3319423"/>
                </a:lnTo>
                <a:lnTo>
                  <a:pt x="1573529" y="3291221"/>
                </a:lnTo>
                <a:lnTo>
                  <a:pt x="1653174" y="3257473"/>
                </a:lnTo>
                <a:lnTo>
                  <a:pt x="1729293" y="3218441"/>
                </a:lnTo>
                <a:lnTo>
                  <a:pt x="1801594" y="3174389"/>
                </a:lnTo>
                <a:lnTo>
                  <a:pt x="1869787" y="3125579"/>
                </a:lnTo>
                <a:lnTo>
                  <a:pt x="1933579" y="3072274"/>
                </a:lnTo>
                <a:lnTo>
                  <a:pt x="1992679" y="3014737"/>
                </a:lnTo>
                <a:lnTo>
                  <a:pt x="2046796" y="2953232"/>
                </a:lnTo>
                <a:lnTo>
                  <a:pt x="2095638" y="2888020"/>
                </a:lnTo>
                <a:lnTo>
                  <a:pt x="2138913" y="2819365"/>
                </a:lnTo>
                <a:lnTo>
                  <a:pt x="2176331" y="2747530"/>
                </a:lnTo>
                <a:lnTo>
                  <a:pt x="2207599" y="2672778"/>
                </a:lnTo>
                <a:lnTo>
                  <a:pt x="2232426" y="2595372"/>
                </a:lnTo>
                <a:lnTo>
                  <a:pt x="2250520" y="2515574"/>
                </a:lnTo>
                <a:lnTo>
                  <a:pt x="2261591" y="2433647"/>
                </a:lnTo>
                <a:lnTo>
                  <a:pt x="2265346" y="2349855"/>
                </a:lnTo>
                <a:lnTo>
                  <a:pt x="2265215" y="2337080"/>
                </a:lnTo>
                <a:lnTo>
                  <a:pt x="2264849" y="2324357"/>
                </a:lnTo>
                <a:lnTo>
                  <a:pt x="2264282" y="2311679"/>
                </a:lnTo>
                <a:lnTo>
                  <a:pt x="2263554" y="2299038"/>
                </a:lnTo>
                <a:lnTo>
                  <a:pt x="2262895" y="2289174"/>
                </a:lnTo>
                <a:lnTo>
                  <a:pt x="2265057" y="2276778"/>
                </a:lnTo>
                <a:lnTo>
                  <a:pt x="2248031" y="2235251"/>
                </a:lnTo>
                <a:lnTo>
                  <a:pt x="2225218" y="2221161"/>
                </a:lnTo>
                <a:lnTo>
                  <a:pt x="2220261" y="2211082"/>
                </a:lnTo>
                <a:lnTo>
                  <a:pt x="126234" y="2211082"/>
                </a:lnTo>
                <a:lnTo>
                  <a:pt x="1097174" y="233260"/>
                </a:lnTo>
                <a:lnTo>
                  <a:pt x="1247464" y="233260"/>
                </a:lnTo>
                <a:lnTo>
                  <a:pt x="1132734" y="0"/>
                </a:lnTo>
                <a:close/>
              </a:path>
              <a:path w="2265346" h="3371507">
                <a:moveTo>
                  <a:pt x="1247464" y="233260"/>
                </a:moveTo>
                <a:lnTo>
                  <a:pt x="1097174" y="233260"/>
                </a:lnTo>
                <a:lnTo>
                  <a:pt x="1097174" y="2211082"/>
                </a:lnTo>
                <a:lnTo>
                  <a:pt x="1168040" y="2211082"/>
                </a:lnTo>
                <a:lnTo>
                  <a:pt x="1168040" y="234391"/>
                </a:lnTo>
                <a:lnTo>
                  <a:pt x="1248020" y="234391"/>
                </a:lnTo>
                <a:lnTo>
                  <a:pt x="1247464" y="233260"/>
                </a:lnTo>
                <a:close/>
              </a:path>
              <a:path w="2265346" h="3371507">
                <a:moveTo>
                  <a:pt x="1248020" y="234391"/>
                </a:moveTo>
                <a:lnTo>
                  <a:pt x="1168040" y="234391"/>
                </a:lnTo>
                <a:lnTo>
                  <a:pt x="2130434" y="2211082"/>
                </a:lnTo>
                <a:lnTo>
                  <a:pt x="2220261" y="2211082"/>
                </a:lnTo>
                <a:lnTo>
                  <a:pt x="1248020" y="234391"/>
                </a:lnTo>
                <a:close/>
              </a:path>
            </a:pathLst>
          </a:custGeom>
          <a:solidFill>
            <a:srgbClr val="ED1C2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6" name="object 32">
            <a:extLst>
              <a:ext uri="{FF2B5EF4-FFF2-40B4-BE49-F238E27FC236}">
                <a16:creationId xmlns:a16="http://schemas.microsoft.com/office/drawing/2014/main" id="{93D55577-6BD1-4249-A9E4-5A524F1CC46D}"/>
              </a:ext>
            </a:extLst>
          </p:cNvPr>
          <p:cNvSpPr>
            <a:spLocks/>
          </p:cNvSpPr>
          <p:nvPr/>
        </p:nvSpPr>
        <p:spPr bwMode="auto">
          <a:xfrm>
            <a:off x="5863835" y="2576334"/>
            <a:ext cx="90767" cy="90768"/>
          </a:xfrm>
          <a:custGeom>
            <a:avLst/>
            <a:gdLst>
              <a:gd name="T0" fmla="*/ 88794 w 158039"/>
              <a:gd name="T1" fmla="*/ 0 h 157411"/>
              <a:gd name="T2" fmla="*/ 43802 w 158039"/>
              <a:gd name="T3" fmla="*/ 8984 h 157411"/>
              <a:gd name="T4" fmla="*/ 13282 w 158039"/>
              <a:gd name="T5" fmla="*/ 34155 h 157411"/>
              <a:gd name="T6" fmla="*/ 0 w 158039"/>
              <a:gd name="T7" fmla="*/ 70335 h 157411"/>
              <a:gd name="T8" fmla="*/ 1077 w 158039"/>
              <a:gd name="T9" fmla="*/ 86253 h 157411"/>
              <a:gd name="T10" fmla="*/ 16964 w 158039"/>
              <a:gd name="T11" fmla="*/ 125951 h 157411"/>
              <a:gd name="T12" fmla="*/ 47570 w 158039"/>
              <a:gd name="T13" fmla="*/ 150471 h 157411"/>
              <a:gd name="T14" fmla="*/ 73441 w 158039"/>
              <a:gd name="T15" fmla="*/ 156421 h 157411"/>
              <a:gd name="T16" fmla="*/ 88398 w 158039"/>
              <a:gd name="T17" fmla="*/ 155188 h 157411"/>
              <a:gd name="T18" fmla="*/ 126219 w 158039"/>
              <a:gd name="T19" fmla="*/ 138117 h 157411"/>
              <a:gd name="T20" fmla="*/ 142254 w 158039"/>
              <a:gd name="T21" fmla="*/ 119794 h 157411"/>
              <a:gd name="T22" fmla="*/ 90034 w 158039"/>
              <a:gd name="T23" fmla="*/ 119794 h 157411"/>
              <a:gd name="T24" fmla="*/ 72574 w 158039"/>
              <a:gd name="T25" fmla="*/ 118985 h 157411"/>
              <a:gd name="T26" fmla="*/ 58277 w 158039"/>
              <a:gd name="T27" fmla="*/ 114843 h 157411"/>
              <a:gd name="T28" fmla="*/ 47201 w 158039"/>
              <a:gd name="T29" fmla="*/ 107892 h 157411"/>
              <a:gd name="T30" fmla="*/ 39404 w 158039"/>
              <a:gd name="T31" fmla="*/ 98656 h 157411"/>
              <a:gd name="T32" fmla="*/ 34946 w 158039"/>
              <a:gd name="T33" fmla="*/ 87653 h 157411"/>
              <a:gd name="T34" fmla="*/ 36233 w 158039"/>
              <a:gd name="T35" fmla="*/ 70681 h 157411"/>
              <a:gd name="T36" fmla="*/ 40935 w 158039"/>
              <a:gd name="T37" fmla="*/ 56691 h 157411"/>
              <a:gd name="T38" fmla="*/ 48495 w 158039"/>
              <a:gd name="T39" fmla="*/ 45865 h 157411"/>
              <a:gd name="T40" fmla="*/ 58362 w 158039"/>
              <a:gd name="T41" fmla="*/ 38383 h 157411"/>
              <a:gd name="T42" fmla="*/ 69975 w 158039"/>
              <a:gd name="T43" fmla="*/ 34432 h 157411"/>
              <a:gd name="T44" fmla="*/ 141469 w 158039"/>
              <a:gd name="T45" fmla="*/ 34432 h 157411"/>
              <a:gd name="T46" fmla="*/ 135638 w 158039"/>
              <a:gd name="T47" fmla="*/ 26265 h 157411"/>
              <a:gd name="T48" fmla="*/ 125963 w 158039"/>
              <a:gd name="T49" fmla="*/ 16740 h 157411"/>
              <a:gd name="T50" fmla="*/ 114777 w 158039"/>
              <a:gd name="T51" fmla="*/ 9029 h 157411"/>
              <a:gd name="T52" fmla="*/ 102309 w 158039"/>
              <a:gd name="T53" fmla="*/ 3371 h 157411"/>
              <a:gd name="T54" fmla="*/ 88794 w 158039"/>
              <a:gd name="T55" fmla="*/ 0 h 157411"/>
              <a:gd name="T56" fmla="*/ 141469 w 158039"/>
              <a:gd name="T57" fmla="*/ 34432 h 157411"/>
              <a:gd name="T58" fmla="*/ 69975 w 158039"/>
              <a:gd name="T59" fmla="*/ 34432 h 157411"/>
              <a:gd name="T60" fmla="*/ 86017 w 158039"/>
              <a:gd name="T61" fmla="*/ 36097 h 157411"/>
              <a:gd name="T62" fmla="*/ 99350 w 158039"/>
              <a:gd name="T63" fmla="*/ 41362 h 157411"/>
              <a:gd name="T64" fmla="*/ 109674 w 158039"/>
              <a:gd name="T65" fmla="*/ 49623 h 157411"/>
              <a:gd name="T66" fmla="*/ 116691 w 158039"/>
              <a:gd name="T67" fmla="*/ 60277 h 157411"/>
              <a:gd name="T68" fmla="*/ 120103 w 158039"/>
              <a:gd name="T69" fmla="*/ 72720 h 157411"/>
              <a:gd name="T70" fmla="*/ 120391 w 158039"/>
              <a:gd name="T71" fmla="*/ 77809 h 157411"/>
              <a:gd name="T72" fmla="*/ 118121 w 158039"/>
              <a:gd name="T73" fmla="*/ 91902 h 157411"/>
              <a:gd name="T74" fmla="*/ 111808 w 158039"/>
              <a:gd name="T75" fmla="*/ 104100 h 157411"/>
              <a:gd name="T76" fmla="*/ 102197 w 158039"/>
              <a:gd name="T77" fmla="*/ 113650 h 157411"/>
              <a:gd name="T78" fmla="*/ 90034 w 158039"/>
              <a:gd name="T79" fmla="*/ 119794 h 157411"/>
              <a:gd name="T80" fmla="*/ 142254 w 158039"/>
              <a:gd name="T81" fmla="*/ 119794 h 157411"/>
              <a:gd name="T82" fmla="*/ 154559 w 158039"/>
              <a:gd name="T83" fmla="*/ 78311 h 157411"/>
              <a:gd name="T84" fmla="*/ 154561 w 158039"/>
              <a:gd name="T85" fmla="*/ 77809 h 157411"/>
              <a:gd name="T86" fmla="*/ 153261 w 158039"/>
              <a:gd name="T87" fmla="*/ 63381 h 157411"/>
              <a:gd name="T88" fmla="*/ 149520 w 158039"/>
              <a:gd name="T89" fmla="*/ 49822 h 157411"/>
              <a:gd name="T90" fmla="*/ 143567 w 158039"/>
              <a:gd name="T91" fmla="*/ 37373 h 157411"/>
              <a:gd name="T92" fmla="*/ 141469 w 158039"/>
              <a:gd name="T93" fmla="*/ 34432 h 1574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8039" h="157411">
                <a:moveTo>
                  <a:pt x="90792" y="0"/>
                </a:moveTo>
                <a:lnTo>
                  <a:pt x="44788" y="9040"/>
                </a:lnTo>
                <a:lnTo>
                  <a:pt x="13581" y="34371"/>
                </a:lnTo>
                <a:lnTo>
                  <a:pt x="0" y="70780"/>
                </a:lnTo>
                <a:lnTo>
                  <a:pt x="1101" y="86799"/>
                </a:lnTo>
                <a:lnTo>
                  <a:pt x="17346" y="126748"/>
                </a:lnTo>
                <a:lnTo>
                  <a:pt x="48640" y="151423"/>
                </a:lnTo>
                <a:lnTo>
                  <a:pt x="75094" y="157411"/>
                </a:lnTo>
                <a:lnTo>
                  <a:pt x="90388" y="156170"/>
                </a:lnTo>
                <a:lnTo>
                  <a:pt x="129059" y="138991"/>
                </a:lnTo>
                <a:lnTo>
                  <a:pt x="145456" y="120552"/>
                </a:lnTo>
                <a:lnTo>
                  <a:pt x="92060" y="120552"/>
                </a:lnTo>
                <a:lnTo>
                  <a:pt x="74208" y="119738"/>
                </a:lnTo>
                <a:lnTo>
                  <a:pt x="59589" y="115570"/>
                </a:lnTo>
                <a:lnTo>
                  <a:pt x="48263" y="108575"/>
                </a:lnTo>
                <a:lnTo>
                  <a:pt x="40291" y="99280"/>
                </a:lnTo>
                <a:lnTo>
                  <a:pt x="35732" y="88208"/>
                </a:lnTo>
                <a:lnTo>
                  <a:pt x="37048" y="71129"/>
                </a:lnTo>
                <a:lnTo>
                  <a:pt x="41856" y="57050"/>
                </a:lnTo>
                <a:lnTo>
                  <a:pt x="49587" y="46155"/>
                </a:lnTo>
                <a:lnTo>
                  <a:pt x="59675" y="38627"/>
                </a:lnTo>
                <a:lnTo>
                  <a:pt x="71550" y="34650"/>
                </a:lnTo>
                <a:lnTo>
                  <a:pt x="144653" y="34650"/>
                </a:lnTo>
                <a:lnTo>
                  <a:pt x="138691" y="26432"/>
                </a:lnTo>
                <a:lnTo>
                  <a:pt x="128799" y="16845"/>
                </a:lnTo>
                <a:lnTo>
                  <a:pt x="117360" y="9085"/>
                </a:lnTo>
                <a:lnTo>
                  <a:pt x="104612" y="3391"/>
                </a:lnTo>
                <a:lnTo>
                  <a:pt x="90792" y="0"/>
                </a:lnTo>
                <a:close/>
              </a:path>
              <a:path w="158039" h="157411">
                <a:moveTo>
                  <a:pt x="144653" y="34650"/>
                </a:moveTo>
                <a:lnTo>
                  <a:pt x="71550" y="34650"/>
                </a:lnTo>
                <a:lnTo>
                  <a:pt x="87953" y="36325"/>
                </a:lnTo>
                <a:lnTo>
                  <a:pt x="101586" y="41623"/>
                </a:lnTo>
                <a:lnTo>
                  <a:pt x="112142" y="49937"/>
                </a:lnTo>
                <a:lnTo>
                  <a:pt x="119317" y="60658"/>
                </a:lnTo>
                <a:lnTo>
                  <a:pt x="122806" y="73180"/>
                </a:lnTo>
                <a:lnTo>
                  <a:pt x="123101" y="78301"/>
                </a:lnTo>
                <a:lnTo>
                  <a:pt x="120780" y="92483"/>
                </a:lnTo>
                <a:lnTo>
                  <a:pt x="114324" y="104759"/>
                </a:lnTo>
                <a:lnTo>
                  <a:pt x="104497" y="114369"/>
                </a:lnTo>
                <a:lnTo>
                  <a:pt x="92060" y="120552"/>
                </a:lnTo>
                <a:lnTo>
                  <a:pt x="145456" y="120552"/>
                </a:lnTo>
                <a:lnTo>
                  <a:pt x="158037" y="78807"/>
                </a:lnTo>
                <a:lnTo>
                  <a:pt x="158039" y="78301"/>
                </a:lnTo>
                <a:lnTo>
                  <a:pt x="156711" y="63781"/>
                </a:lnTo>
                <a:lnTo>
                  <a:pt x="152885" y="50138"/>
                </a:lnTo>
                <a:lnTo>
                  <a:pt x="146799" y="37609"/>
                </a:lnTo>
                <a:lnTo>
                  <a:pt x="144653" y="34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7" name="object 33">
            <a:extLst>
              <a:ext uri="{FF2B5EF4-FFF2-40B4-BE49-F238E27FC236}">
                <a16:creationId xmlns:a16="http://schemas.microsoft.com/office/drawing/2014/main" id="{33E5E887-ABE8-49E4-9F2A-635213BA7BDC}"/>
              </a:ext>
            </a:extLst>
          </p:cNvPr>
          <p:cNvSpPr>
            <a:spLocks/>
          </p:cNvSpPr>
          <p:nvPr/>
        </p:nvSpPr>
        <p:spPr bwMode="auto">
          <a:xfrm>
            <a:off x="4536244" y="2157337"/>
            <a:ext cx="90767" cy="90767"/>
          </a:xfrm>
          <a:custGeom>
            <a:avLst/>
            <a:gdLst>
              <a:gd name="T0" fmla="*/ 88794 w 158039"/>
              <a:gd name="T1" fmla="*/ 0 h 157411"/>
              <a:gd name="T2" fmla="*/ 43802 w 158039"/>
              <a:gd name="T3" fmla="*/ 8984 h 157411"/>
              <a:gd name="T4" fmla="*/ 13282 w 158039"/>
              <a:gd name="T5" fmla="*/ 34155 h 157411"/>
              <a:gd name="T6" fmla="*/ 0 w 158039"/>
              <a:gd name="T7" fmla="*/ 70333 h 157411"/>
              <a:gd name="T8" fmla="*/ 1077 w 158039"/>
              <a:gd name="T9" fmla="*/ 86251 h 157411"/>
              <a:gd name="T10" fmla="*/ 16964 w 158039"/>
              <a:gd name="T11" fmla="*/ 125948 h 157411"/>
              <a:gd name="T12" fmla="*/ 47570 w 158039"/>
              <a:gd name="T13" fmla="*/ 150467 h 157411"/>
              <a:gd name="T14" fmla="*/ 73441 w 158039"/>
              <a:gd name="T15" fmla="*/ 156417 h 157411"/>
              <a:gd name="T16" fmla="*/ 88398 w 158039"/>
              <a:gd name="T17" fmla="*/ 155184 h 157411"/>
              <a:gd name="T18" fmla="*/ 126219 w 158039"/>
              <a:gd name="T19" fmla="*/ 138113 h 157411"/>
              <a:gd name="T20" fmla="*/ 142254 w 158039"/>
              <a:gd name="T21" fmla="*/ 119791 h 157411"/>
              <a:gd name="T22" fmla="*/ 90034 w 158039"/>
              <a:gd name="T23" fmla="*/ 119791 h 157411"/>
              <a:gd name="T24" fmla="*/ 72574 w 158039"/>
              <a:gd name="T25" fmla="*/ 118982 h 157411"/>
              <a:gd name="T26" fmla="*/ 58277 w 158039"/>
              <a:gd name="T27" fmla="*/ 114840 h 157411"/>
              <a:gd name="T28" fmla="*/ 47201 w 158039"/>
              <a:gd name="T29" fmla="*/ 107890 h 157411"/>
              <a:gd name="T30" fmla="*/ 39404 w 158039"/>
              <a:gd name="T31" fmla="*/ 98653 h 157411"/>
              <a:gd name="T32" fmla="*/ 34946 w 158039"/>
              <a:gd name="T33" fmla="*/ 87651 h 157411"/>
              <a:gd name="T34" fmla="*/ 36233 w 158039"/>
              <a:gd name="T35" fmla="*/ 70680 h 157411"/>
              <a:gd name="T36" fmla="*/ 40935 w 158039"/>
              <a:gd name="T37" fmla="*/ 56690 h 157411"/>
              <a:gd name="T38" fmla="*/ 48495 w 158039"/>
              <a:gd name="T39" fmla="*/ 45863 h 157411"/>
              <a:gd name="T40" fmla="*/ 58362 w 158039"/>
              <a:gd name="T41" fmla="*/ 38383 h 157411"/>
              <a:gd name="T42" fmla="*/ 69975 w 158039"/>
              <a:gd name="T43" fmla="*/ 34430 h 157411"/>
              <a:gd name="T44" fmla="*/ 141469 w 158039"/>
              <a:gd name="T45" fmla="*/ 34430 h 157411"/>
              <a:gd name="T46" fmla="*/ 135638 w 158039"/>
              <a:gd name="T47" fmla="*/ 26264 h 157411"/>
              <a:gd name="T48" fmla="*/ 125963 w 158039"/>
              <a:gd name="T49" fmla="*/ 16737 h 157411"/>
              <a:gd name="T50" fmla="*/ 114777 w 158039"/>
              <a:gd name="T51" fmla="*/ 9029 h 157411"/>
              <a:gd name="T52" fmla="*/ 102309 w 158039"/>
              <a:gd name="T53" fmla="*/ 3371 h 157411"/>
              <a:gd name="T54" fmla="*/ 88794 w 158039"/>
              <a:gd name="T55" fmla="*/ 0 h 157411"/>
              <a:gd name="T56" fmla="*/ 141469 w 158039"/>
              <a:gd name="T57" fmla="*/ 34430 h 157411"/>
              <a:gd name="T58" fmla="*/ 69975 w 158039"/>
              <a:gd name="T59" fmla="*/ 34430 h 157411"/>
              <a:gd name="T60" fmla="*/ 86017 w 158039"/>
              <a:gd name="T61" fmla="*/ 36097 h 157411"/>
              <a:gd name="T62" fmla="*/ 99350 w 158039"/>
              <a:gd name="T63" fmla="*/ 41359 h 157411"/>
              <a:gd name="T64" fmla="*/ 109674 w 158039"/>
              <a:gd name="T65" fmla="*/ 49621 h 157411"/>
              <a:gd name="T66" fmla="*/ 116691 w 158039"/>
              <a:gd name="T67" fmla="*/ 60275 h 157411"/>
              <a:gd name="T68" fmla="*/ 120103 w 158039"/>
              <a:gd name="T69" fmla="*/ 72718 h 157411"/>
              <a:gd name="T70" fmla="*/ 120391 w 158039"/>
              <a:gd name="T71" fmla="*/ 77807 h 157411"/>
              <a:gd name="T72" fmla="*/ 118121 w 158039"/>
              <a:gd name="T73" fmla="*/ 91899 h 157411"/>
              <a:gd name="T74" fmla="*/ 111808 w 158039"/>
              <a:gd name="T75" fmla="*/ 104098 h 157411"/>
              <a:gd name="T76" fmla="*/ 102197 w 158039"/>
              <a:gd name="T77" fmla="*/ 113647 h 157411"/>
              <a:gd name="T78" fmla="*/ 90034 w 158039"/>
              <a:gd name="T79" fmla="*/ 119791 h 157411"/>
              <a:gd name="T80" fmla="*/ 142254 w 158039"/>
              <a:gd name="T81" fmla="*/ 119791 h 157411"/>
              <a:gd name="T82" fmla="*/ 154559 w 158039"/>
              <a:gd name="T83" fmla="*/ 78310 h 157411"/>
              <a:gd name="T84" fmla="*/ 154561 w 158039"/>
              <a:gd name="T85" fmla="*/ 77807 h 157411"/>
              <a:gd name="T86" fmla="*/ 153261 w 158039"/>
              <a:gd name="T87" fmla="*/ 63378 h 157411"/>
              <a:gd name="T88" fmla="*/ 149520 w 158039"/>
              <a:gd name="T89" fmla="*/ 49822 h 157411"/>
              <a:gd name="T90" fmla="*/ 143567 w 158039"/>
              <a:gd name="T91" fmla="*/ 37373 h 157411"/>
              <a:gd name="T92" fmla="*/ 141469 w 158039"/>
              <a:gd name="T93" fmla="*/ 34430 h 1574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8039" h="157411">
                <a:moveTo>
                  <a:pt x="90792" y="0"/>
                </a:moveTo>
                <a:lnTo>
                  <a:pt x="44788" y="9040"/>
                </a:lnTo>
                <a:lnTo>
                  <a:pt x="13581" y="34371"/>
                </a:lnTo>
                <a:lnTo>
                  <a:pt x="0" y="70780"/>
                </a:lnTo>
                <a:lnTo>
                  <a:pt x="1101" y="86799"/>
                </a:lnTo>
                <a:lnTo>
                  <a:pt x="17346" y="126748"/>
                </a:lnTo>
                <a:lnTo>
                  <a:pt x="48640" y="151423"/>
                </a:lnTo>
                <a:lnTo>
                  <a:pt x="75094" y="157411"/>
                </a:lnTo>
                <a:lnTo>
                  <a:pt x="90388" y="156170"/>
                </a:lnTo>
                <a:lnTo>
                  <a:pt x="129059" y="138991"/>
                </a:lnTo>
                <a:lnTo>
                  <a:pt x="145456" y="120552"/>
                </a:lnTo>
                <a:lnTo>
                  <a:pt x="92060" y="120552"/>
                </a:lnTo>
                <a:lnTo>
                  <a:pt x="74208" y="119738"/>
                </a:lnTo>
                <a:lnTo>
                  <a:pt x="59589" y="115570"/>
                </a:lnTo>
                <a:lnTo>
                  <a:pt x="48263" y="108575"/>
                </a:lnTo>
                <a:lnTo>
                  <a:pt x="40291" y="99280"/>
                </a:lnTo>
                <a:lnTo>
                  <a:pt x="35732" y="88208"/>
                </a:lnTo>
                <a:lnTo>
                  <a:pt x="37048" y="71129"/>
                </a:lnTo>
                <a:lnTo>
                  <a:pt x="41856" y="57050"/>
                </a:lnTo>
                <a:lnTo>
                  <a:pt x="49587" y="46155"/>
                </a:lnTo>
                <a:lnTo>
                  <a:pt x="59675" y="38627"/>
                </a:lnTo>
                <a:lnTo>
                  <a:pt x="71550" y="34650"/>
                </a:lnTo>
                <a:lnTo>
                  <a:pt x="144653" y="34650"/>
                </a:lnTo>
                <a:lnTo>
                  <a:pt x="138691" y="26432"/>
                </a:lnTo>
                <a:lnTo>
                  <a:pt x="128799" y="16845"/>
                </a:lnTo>
                <a:lnTo>
                  <a:pt x="117360" y="9085"/>
                </a:lnTo>
                <a:lnTo>
                  <a:pt x="104612" y="3391"/>
                </a:lnTo>
                <a:lnTo>
                  <a:pt x="90792" y="0"/>
                </a:lnTo>
                <a:close/>
              </a:path>
              <a:path w="158039" h="157411">
                <a:moveTo>
                  <a:pt x="144653" y="34650"/>
                </a:moveTo>
                <a:lnTo>
                  <a:pt x="71550" y="34650"/>
                </a:lnTo>
                <a:lnTo>
                  <a:pt x="87953" y="36325"/>
                </a:lnTo>
                <a:lnTo>
                  <a:pt x="101586" y="41623"/>
                </a:lnTo>
                <a:lnTo>
                  <a:pt x="112142" y="49937"/>
                </a:lnTo>
                <a:lnTo>
                  <a:pt x="119317" y="60658"/>
                </a:lnTo>
                <a:lnTo>
                  <a:pt x="122806" y="73180"/>
                </a:lnTo>
                <a:lnTo>
                  <a:pt x="123101" y="78301"/>
                </a:lnTo>
                <a:lnTo>
                  <a:pt x="120780" y="92483"/>
                </a:lnTo>
                <a:lnTo>
                  <a:pt x="114324" y="104759"/>
                </a:lnTo>
                <a:lnTo>
                  <a:pt x="104497" y="114369"/>
                </a:lnTo>
                <a:lnTo>
                  <a:pt x="92060" y="120552"/>
                </a:lnTo>
                <a:lnTo>
                  <a:pt x="145456" y="120552"/>
                </a:lnTo>
                <a:lnTo>
                  <a:pt x="158037" y="78807"/>
                </a:lnTo>
                <a:lnTo>
                  <a:pt x="158039" y="78301"/>
                </a:lnTo>
                <a:lnTo>
                  <a:pt x="156711" y="63781"/>
                </a:lnTo>
                <a:lnTo>
                  <a:pt x="152885" y="50138"/>
                </a:lnTo>
                <a:lnTo>
                  <a:pt x="146799" y="37609"/>
                </a:lnTo>
                <a:lnTo>
                  <a:pt x="144653" y="34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8" name="object 34">
            <a:extLst>
              <a:ext uri="{FF2B5EF4-FFF2-40B4-BE49-F238E27FC236}">
                <a16:creationId xmlns:a16="http://schemas.microsoft.com/office/drawing/2014/main" id="{D337A53A-A610-496B-B413-0378EF008AB4}"/>
              </a:ext>
            </a:extLst>
          </p:cNvPr>
          <p:cNvSpPr>
            <a:spLocks/>
          </p:cNvSpPr>
          <p:nvPr/>
        </p:nvSpPr>
        <p:spPr bwMode="auto">
          <a:xfrm>
            <a:off x="3193065" y="2576334"/>
            <a:ext cx="91684" cy="90768"/>
          </a:xfrm>
          <a:custGeom>
            <a:avLst/>
            <a:gdLst>
              <a:gd name="T0" fmla="*/ 92436 w 158039"/>
              <a:gd name="T1" fmla="*/ 0 h 157411"/>
              <a:gd name="T2" fmla="*/ 45598 w 158039"/>
              <a:gd name="T3" fmla="*/ 8984 h 157411"/>
              <a:gd name="T4" fmla="*/ 13827 w 158039"/>
              <a:gd name="T5" fmla="*/ 34155 h 157411"/>
              <a:gd name="T6" fmla="*/ 0 w 158039"/>
              <a:gd name="T7" fmla="*/ 70335 h 157411"/>
              <a:gd name="T8" fmla="*/ 1121 w 158039"/>
              <a:gd name="T9" fmla="*/ 86253 h 157411"/>
              <a:gd name="T10" fmla="*/ 17660 w 158039"/>
              <a:gd name="T11" fmla="*/ 125951 h 157411"/>
              <a:gd name="T12" fmla="*/ 49522 w 158039"/>
              <a:gd name="T13" fmla="*/ 150471 h 157411"/>
              <a:gd name="T14" fmla="*/ 76454 w 158039"/>
              <a:gd name="T15" fmla="*/ 156421 h 157411"/>
              <a:gd name="T16" fmla="*/ 92025 w 158039"/>
              <a:gd name="T17" fmla="*/ 155188 h 157411"/>
              <a:gd name="T18" fmla="*/ 131397 w 158039"/>
              <a:gd name="T19" fmla="*/ 138117 h 157411"/>
              <a:gd name="T20" fmla="*/ 148090 w 158039"/>
              <a:gd name="T21" fmla="*/ 119794 h 157411"/>
              <a:gd name="T22" fmla="*/ 93728 w 158039"/>
              <a:gd name="T23" fmla="*/ 119794 h 157411"/>
              <a:gd name="T24" fmla="*/ 75552 w 158039"/>
              <a:gd name="T25" fmla="*/ 118985 h 157411"/>
              <a:gd name="T26" fmla="*/ 60669 w 158039"/>
              <a:gd name="T27" fmla="*/ 114843 h 157411"/>
              <a:gd name="T28" fmla="*/ 49137 w 158039"/>
              <a:gd name="T29" fmla="*/ 107892 h 157411"/>
              <a:gd name="T30" fmla="*/ 41021 w 158039"/>
              <a:gd name="T31" fmla="*/ 98656 h 157411"/>
              <a:gd name="T32" fmla="*/ 36379 w 158039"/>
              <a:gd name="T33" fmla="*/ 87653 h 157411"/>
              <a:gd name="T34" fmla="*/ 37719 w 158039"/>
              <a:gd name="T35" fmla="*/ 70681 h 157411"/>
              <a:gd name="T36" fmla="*/ 42614 w 158039"/>
              <a:gd name="T37" fmla="*/ 56691 h 157411"/>
              <a:gd name="T38" fmla="*/ 50485 w 158039"/>
              <a:gd name="T39" fmla="*/ 45865 h 157411"/>
              <a:gd name="T40" fmla="*/ 60756 w 158039"/>
              <a:gd name="T41" fmla="*/ 38383 h 157411"/>
              <a:gd name="T42" fmla="*/ 72846 w 158039"/>
              <a:gd name="T43" fmla="*/ 34432 h 157411"/>
              <a:gd name="T44" fmla="*/ 147275 w 158039"/>
              <a:gd name="T45" fmla="*/ 34432 h 157411"/>
              <a:gd name="T46" fmla="*/ 141204 w 158039"/>
              <a:gd name="T47" fmla="*/ 26265 h 157411"/>
              <a:gd name="T48" fmla="*/ 131132 w 158039"/>
              <a:gd name="T49" fmla="*/ 16740 h 157411"/>
              <a:gd name="T50" fmla="*/ 119486 w 158039"/>
              <a:gd name="T51" fmla="*/ 9029 h 157411"/>
              <a:gd name="T52" fmla="*/ 106508 w 158039"/>
              <a:gd name="T53" fmla="*/ 3371 h 157411"/>
              <a:gd name="T54" fmla="*/ 92436 w 158039"/>
              <a:gd name="T55" fmla="*/ 0 h 157411"/>
              <a:gd name="T56" fmla="*/ 147275 w 158039"/>
              <a:gd name="T57" fmla="*/ 34432 h 157411"/>
              <a:gd name="T58" fmla="*/ 72846 w 158039"/>
              <a:gd name="T59" fmla="*/ 34432 h 157411"/>
              <a:gd name="T60" fmla="*/ 89546 w 158039"/>
              <a:gd name="T61" fmla="*/ 36097 h 157411"/>
              <a:gd name="T62" fmla="*/ 103426 w 158039"/>
              <a:gd name="T63" fmla="*/ 41362 h 157411"/>
              <a:gd name="T64" fmla="*/ 114174 w 158039"/>
              <a:gd name="T65" fmla="*/ 49623 h 157411"/>
              <a:gd name="T66" fmla="*/ 121479 w 158039"/>
              <a:gd name="T67" fmla="*/ 60277 h 157411"/>
              <a:gd name="T68" fmla="*/ 125030 w 158039"/>
              <a:gd name="T69" fmla="*/ 72720 h 157411"/>
              <a:gd name="T70" fmla="*/ 125331 w 158039"/>
              <a:gd name="T71" fmla="*/ 77809 h 157411"/>
              <a:gd name="T72" fmla="*/ 122968 w 158039"/>
              <a:gd name="T73" fmla="*/ 91902 h 157411"/>
              <a:gd name="T74" fmla="*/ 116395 w 158039"/>
              <a:gd name="T75" fmla="*/ 104100 h 157411"/>
              <a:gd name="T76" fmla="*/ 106389 w 158039"/>
              <a:gd name="T77" fmla="*/ 113650 h 157411"/>
              <a:gd name="T78" fmla="*/ 93728 w 158039"/>
              <a:gd name="T79" fmla="*/ 119794 h 157411"/>
              <a:gd name="T80" fmla="*/ 148090 w 158039"/>
              <a:gd name="T81" fmla="*/ 119794 h 157411"/>
              <a:gd name="T82" fmla="*/ 160900 w 158039"/>
              <a:gd name="T83" fmla="*/ 78311 h 157411"/>
              <a:gd name="T84" fmla="*/ 160902 w 158039"/>
              <a:gd name="T85" fmla="*/ 77809 h 157411"/>
              <a:gd name="T86" fmla="*/ 159550 w 158039"/>
              <a:gd name="T87" fmla="*/ 63381 h 157411"/>
              <a:gd name="T88" fmla="*/ 155655 w 158039"/>
              <a:gd name="T89" fmla="*/ 49822 h 157411"/>
              <a:gd name="T90" fmla="*/ 149457 w 158039"/>
              <a:gd name="T91" fmla="*/ 37373 h 157411"/>
              <a:gd name="T92" fmla="*/ 147275 w 158039"/>
              <a:gd name="T93" fmla="*/ 34432 h 1574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8039" h="157411">
                <a:moveTo>
                  <a:pt x="90792" y="0"/>
                </a:moveTo>
                <a:lnTo>
                  <a:pt x="44788" y="9040"/>
                </a:lnTo>
                <a:lnTo>
                  <a:pt x="13581" y="34371"/>
                </a:lnTo>
                <a:lnTo>
                  <a:pt x="0" y="70780"/>
                </a:lnTo>
                <a:lnTo>
                  <a:pt x="1101" y="86799"/>
                </a:lnTo>
                <a:lnTo>
                  <a:pt x="17346" y="126748"/>
                </a:lnTo>
                <a:lnTo>
                  <a:pt x="48640" y="151423"/>
                </a:lnTo>
                <a:lnTo>
                  <a:pt x="75094" y="157411"/>
                </a:lnTo>
                <a:lnTo>
                  <a:pt x="90388" y="156170"/>
                </a:lnTo>
                <a:lnTo>
                  <a:pt x="129059" y="138991"/>
                </a:lnTo>
                <a:lnTo>
                  <a:pt x="145456" y="120552"/>
                </a:lnTo>
                <a:lnTo>
                  <a:pt x="92060" y="120552"/>
                </a:lnTo>
                <a:lnTo>
                  <a:pt x="74208" y="119738"/>
                </a:lnTo>
                <a:lnTo>
                  <a:pt x="59589" y="115570"/>
                </a:lnTo>
                <a:lnTo>
                  <a:pt x="48263" y="108575"/>
                </a:lnTo>
                <a:lnTo>
                  <a:pt x="40291" y="99280"/>
                </a:lnTo>
                <a:lnTo>
                  <a:pt x="35732" y="88208"/>
                </a:lnTo>
                <a:lnTo>
                  <a:pt x="37048" y="71129"/>
                </a:lnTo>
                <a:lnTo>
                  <a:pt x="41856" y="57050"/>
                </a:lnTo>
                <a:lnTo>
                  <a:pt x="49587" y="46155"/>
                </a:lnTo>
                <a:lnTo>
                  <a:pt x="59675" y="38627"/>
                </a:lnTo>
                <a:lnTo>
                  <a:pt x="71550" y="34650"/>
                </a:lnTo>
                <a:lnTo>
                  <a:pt x="144653" y="34650"/>
                </a:lnTo>
                <a:lnTo>
                  <a:pt x="138691" y="26432"/>
                </a:lnTo>
                <a:lnTo>
                  <a:pt x="128799" y="16845"/>
                </a:lnTo>
                <a:lnTo>
                  <a:pt x="117360" y="9085"/>
                </a:lnTo>
                <a:lnTo>
                  <a:pt x="104612" y="3391"/>
                </a:lnTo>
                <a:lnTo>
                  <a:pt x="90792" y="0"/>
                </a:lnTo>
                <a:close/>
              </a:path>
              <a:path w="158039" h="157411">
                <a:moveTo>
                  <a:pt x="144653" y="34650"/>
                </a:moveTo>
                <a:lnTo>
                  <a:pt x="71550" y="34650"/>
                </a:lnTo>
                <a:lnTo>
                  <a:pt x="87953" y="36325"/>
                </a:lnTo>
                <a:lnTo>
                  <a:pt x="101586" y="41623"/>
                </a:lnTo>
                <a:lnTo>
                  <a:pt x="112142" y="49937"/>
                </a:lnTo>
                <a:lnTo>
                  <a:pt x="119317" y="60658"/>
                </a:lnTo>
                <a:lnTo>
                  <a:pt x="122806" y="73180"/>
                </a:lnTo>
                <a:lnTo>
                  <a:pt x="123101" y="78301"/>
                </a:lnTo>
                <a:lnTo>
                  <a:pt x="120780" y="92483"/>
                </a:lnTo>
                <a:lnTo>
                  <a:pt x="114324" y="104759"/>
                </a:lnTo>
                <a:lnTo>
                  <a:pt x="104497" y="114369"/>
                </a:lnTo>
                <a:lnTo>
                  <a:pt x="92060" y="120552"/>
                </a:lnTo>
                <a:lnTo>
                  <a:pt x="145456" y="120552"/>
                </a:lnTo>
                <a:lnTo>
                  <a:pt x="158037" y="78807"/>
                </a:lnTo>
                <a:lnTo>
                  <a:pt x="158039" y="78301"/>
                </a:lnTo>
                <a:lnTo>
                  <a:pt x="156711" y="63781"/>
                </a:lnTo>
                <a:lnTo>
                  <a:pt x="152885" y="50138"/>
                </a:lnTo>
                <a:lnTo>
                  <a:pt x="146799" y="37609"/>
                </a:lnTo>
                <a:lnTo>
                  <a:pt x="144653" y="346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69" name="object 35">
            <a:extLst>
              <a:ext uri="{FF2B5EF4-FFF2-40B4-BE49-F238E27FC236}">
                <a16:creationId xmlns:a16="http://schemas.microsoft.com/office/drawing/2014/main" id="{637E4896-38CD-41A5-AC10-96A506706BFE}"/>
              </a:ext>
            </a:extLst>
          </p:cNvPr>
          <p:cNvSpPr>
            <a:spLocks/>
          </p:cNvSpPr>
          <p:nvPr/>
        </p:nvSpPr>
        <p:spPr bwMode="auto">
          <a:xfrm>
            <a:off x="6762343" y="3550941"/>
            <a:ext cx="225544" cy="225544"/>
          </a:xfrm>
          <a:custGeom>
            <a:avLst/>
            <a:gdLst>
              <a:gd name="T0" fmla="*/ 93916 w 390621"/>
              <a:gd name="T1" fmla="*/ 0 h 390555"/>
              <a:gd name="T2" fmla="*/ 85946 w 390621"/>
              <a:gd name="T3" fmla="*/ 6028 h 390555"/>
              <a:gd name="T4" fmla="*/ 391 w 390621"/>
              <a:gd name="T5" fmla="*/ 363436 h 390555"/>
              <a:gd name="T6" fmla="*/ 0 w 390621"/>
              <a:gd name="T7" fmla="*/ 376417 h 390555"/>
              <a:gd name="T8" fmla="*/ 5014 w 390621"/>
              <a:gd name="T9" fmla="*/ 385712 h 390555"/>
              <a:gd name="T10" fmla="*/ 14540 w 390621"/>
              <a:gd name="T11" fmla="*/ 390435 h 390555"/>
              <a:gd name="T12" fmla="*/ 26830 w 390621"/>
              <a:gd name="T13" fmla="*/ 389907 h 390555"/>
              <a:gd name="T14" fmla="*/ 373086 w 390621"/>
              <a:gd name="T15" fmla="*/ 308994 h 390555"/>
              <a:gd name="T16" fmla="*/ 384713 w 390621"/>
              <a:gd name="T17" fmla="*/ 303751 h 390555"/>
              <a:gd name="T18" fmla="*/ 390237 w 390621"/>
              <a:gd name="T19" fmla="*/ 295585 h 390555"/>
              <a:gd name="T20" fmla="*/ 389329 w 390621"/>
              <a:gd name="T21" fmla="*/ 285633 h 390555"/>
              <a:gd name="T22" fmla="*/ 297228 w 390621"/>
              <a:gd name="T23" fmla="*/ 190489 h 390555"/>
              <a:gd name="T24" fmla="*/ 114363 w 390621"/>
              <a:gd name="T25" fmla="*/ 7499 h 390555"/>
              <a:gd name="T26" fmla="*/ 103764 w 390621"/>
              <a:gd name="T27" fmla="*/ 384 h 390555"/>
              <a:gd name="T28" fmla="*/ 93916 w 390621"/>
              <a:gd name="T29" fmla="*/ 0 h 3905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0621" h="390555">
                <a:moveTo>
                  <a:pt x="94008" y="0"/>
                </a:moveTo>
                <a:lnTo>
                  <a:pt x="86030" y="6028"/>
                </a:lnTo>
                <a:lnTo>
                  <a:pt x="391" y="363548"/>
                </a:lnTo>
                <a:lnTo>
                  <a:pt x="0" y="376533"/>
                </a:lnTo>
                <a:lnTo>
                  <a:pt x="5018" y="385832"/>
                </a:lnTo>
                <a:lnTo>
                  <a:pt x="14556" y="390555"/>
                </a:lnTo>
                <a:lnTo>
                  <a:pt x="26858" y="390027"/>
                </a:lnTo>
                <a:lnTo>
                  <a:pt x="373454" y="309090"/>
                </a:lnTo>
                <a:lnTo>
                  <a:pt x="385093" y="303843"/>
                </a:lnTo>
                <a:lnTo>
                  <a:pt x="390621" y="295677"/>
                </a:lnTo>
                <a:lnTo>
                  <a:pt x="389713" y="285721"/>
                </a:lnTo>
                <a:lnTo>
                  <a:pt x="297520" y="190549"/>
                </a:lnTo>
                <a:lnTo>
                  <a:pt x="114475" y="7503"/>
                </a:lnTo>
                <a:lnTo>
                  <a:pt x="103868" y="384"/>
                </a:lnTo>
                <a:lnTo>
                  <a:pt x="94008"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370" name="object 36">
            <a:extLst>
              <a:ext uri="{FF2B5EF4-FFF2-40B4-BE49-F238E27FC236}">
                <a16:creationId xmlns:a16="http://schemas.microsoft.com/office/drawing/2014/main" id="{20DA1BBA-7B94-462F-B298-70FDB6222DEC}"/>
              </a:ext>
            </a:extLst>
          </p:cNvPr>
          <p:cNvSpPr>
            <a:spLocks/>
          </p:cNvSpPr>
          <p:nvPr/>
        </p:nvSpPr>
        <p:spPr bwMode="auto">
          <a:xfrm>
            <a:off x="6875115" y="3051260"/>
            <a:ext cx="545523" cy="611536"/>
          </a:xfrm>
          <a:custGeom>
            <a:avLst/>
            <a:gdLst>
              <a:gd name="T0" fmla="*/ 0 w 944600"/>
              <a:gd name="T1" fmla="*/ 1056051 h 1059802"/>
              <a:gd name="T2" fmla="*/ 944452 w 944600"/>
              <a:gd name="T3" fmla="*/ 0 h 1059802"/>
              <a:gd name="T4" fmla="*/ 0 60000 65536"/>
              <a:gd name="T5" fmla="*/ 0 60000 65536"/>
            </a:gdLst>
            <a:ahLst/>
            <a:cxnLst>
              <a:cxn ang="T4">
                <a:pos x="T0" y="T1"/>
              </a:cxn>
              <a:cxn ang="T5">
                <a:pos x="T2" y="T3"/>
              </a:cxn>
            </a:cxnLst>
            <a:rect l="0" t="0" r="r" b="b"/>
            <a:pathLst>
              <a:path w="944600" h="1059802">
                <a:moveTo>
                  <a:pt x="0" y="1059802"/>
                </a:moveTo>
                <a:lnTo>
                  <a:pt x="944600" y="0"/>
                </a:lnTo>
              </a:path>
            </a:pathLst>
          </a:custGeom>
          <a:noFill/>
          <a:ln w="63499">
            <a:solidFill>
              <a:srgbClr val="000000"/>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sz="1040"/>
          </a:p>
        </p:txBody>
      </p:sp>
      <p:sp>
        <p:nvSpPr>
          <p:cNvPr id="14371" name="object 37">
            <a:extLst>
              <a:ext uri="{FF2B5EF4-FFF2-40B4-BE49-F238E27FC236}">
                <a16:creationId xmlns:a16="http://schemas.microsoft.com/office/drawing/2014/main" id="{DD5670EE-36E8-4889-A782-048051EAA54E}"/>
              </a:ext>
            </a:extLst>
          </p:cNvPr>
          <p:cNvSpPr txBox="1">
            <a:spLocks noChangeArrowheads="1"/>
          </p:cNvSpPr>
          <p:nvPr/>
        </p:nvSpPr>
        <p:spPr bwMode="auto">
          <a:xfrm>
            <a:off x="534214" y="741065"/>
            <a:ext cx="7561221" cy="1279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578"/>
              </a:lnSpc>
              <a:buNone/>
              <a:defRPr/>
            </a:pPr>
            <a:r>
              <a:rPr lang="en-US" dirty="0" err="1">
                <a:solidFill>
                  <a:schemeClr val="bg1"/>
                </a:solidFill>
              </a:rPr>
              <a:t>စိတ်ဖိစီးမှု</a:t>
            </a:r>
            <a:r>
              <a:rPr lang="en-US" dirty="0">
                <a:solidFill>
                  <a:schemeClr val="bg1"/>
                </a:solidFill>
              </a:rPr>
              <a:t> </a:t>
            </a:r>
            <a:r>
              <a:rPr lang="en-US" dirty="0" err="1">
                <a:solidFill>
                  <a:schemeClr val="bg1"/>
                </a:solidFill>
              </a:rPr>
              <a:t>လျော့ချခြင်း</a:t>
            </a:r>
            <a:r>
              <a:rPr lang="en-US" dirty="0">
                <a:solidFill>
                  <a:schemeClr val="bg1"/>
                </a:solidFill>
              </a:rPr>
              <a:t> </a:t>
            </a:r>
            <a:r>
              <a:rPr lang="en-US" dirty="0" err="1">
                <a:solidFill>
                  <a:schemeClr val="bg1"/>
                </a:solidFill>
              </a:rPr>
              <a:t>နည်းလမ်းများ</a:t>
            </a:r>
            <a:endParaRPr lang="en-US" dirty="0">
              <a:solidFill>
                <a:schemeClr val="bg1"/>
              </a:solidFill>
              <a:latin typeface="Gill Sans Light"/>
              <a:cs typeface="Gill Sans Light"/>
            </a:endParaRPr>
          </a:p>
        </p:txBody>
      </p:sp>
      <p:sp>
        <p:nvSpPr>
          <p:cNvPr id="14373" name="object 31">
            <a:extLst>
              <a:ext uri="{FF2B5EF4-FFF2-40B4-BE49-F238E27FC236}">
                <a16:creationId xmlns:a16="http://schemas.microsoft.com/office/drawing/2014/main" id="{CF357999-FA3D-4BCB-B2F3-201D885A13B7}"/>
              </a:ext>
            </a:extLst>
          </p:cNvPr>
          <p:cNvSpPr txBox="1">
            <a:spLocks noChangeArrowheads="1"/>
          </p:cNvSpPr>
          <p:nvPr/>
        </p:nvSpPr>
        <p:spPr bwMode="auto">
          <a:xfrm>
            <a:off x="2692468" y="3568361"/>
            <a:ext cx="1503626" cy="1335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578"/>
              </a:lnSpc>
              <a:spcBef>
                <a:spcPct val="0"/>
              </a:spcBef>
              <a:buNone/>
            </a:pPr>
            <a:endParaRPr lang="en-US" altLang="en-US" sz="578"/>
          </a:p>
          <a:p>
            <a:pPr>
              <a:lnSpc>
                <a:spcPts val="635"/>
              </a:lnSpc>
              <a:spcBef>
                <a:spcPct val="0"/>
              </a:spcBef>
              <a:buNone/>
            </a:pPr>
            <a:endParaRPr lang="en-US" altLang="en-US" sz="635"/>
          </a:p>
          <a:p>
            <a:pPr eaLnBrk="1" hangingPunct="1">
              <a:lnSpc>
                <a:spcPct val="100000"/>
              </a:lnSpc>
              <a:spcBef>
                <a:spcPct val="0"/>
              </a:spcBef>
              <a:buFontTx/>
              <a:buNone/>
            </a:pPr>
            <a:r>
              <a:rPr lang="en-US" altLang="en-US" sz="1213" b="1">
                <a:solidFill>
                  <a:srgbClr val="FFFFFF"/>
                </a:solidFill>
                <a:latin typeface="Gill Sans" pitchFamily="34" charset="0"/>
                <a:cs typeface="Gill Sans" pitchFamily="34" charset="0"/>
              </a:rPr>
              <a:t>စိတ်ဖိစီးစေသော အကြောင်းအရင်များ</a:t>
            </a:r>
            <a:endParaRPr lang="en-US" altLang="en-US" sz="1213">
              <a:latin typeface="Gill Sans" pitchFamily="34" charset="0"/>
              <a:cs typeface="Gill Sans" pitchFamily="34" charset="0"/>
            </a:endParaRPr>
          </a:p>
        </p:txBody>
      </p:sp>
      <p:sp>
        <p:nvSpPr>
          <p:cNvPr id="14374" name="object 31">
            <a:extLst>
              <a:ext uri="{FF2B5EF4-FFF2-40B4-BE49-F238E27FC236}">
                <a16:creationId xmlns:a16="http://schemas.microsoft.com/office/drawing/2014/main" id="{00C94EFF-712D-48A0-8040-3A2CF3975ACE}"/>
              </a:ext>
            </a:extLst>
          </p:cNvPr>
          <p:cNvSpPr txBox="1">
            <a:spLocks noChangeArrowheads="1"/>
          </p:cNvSpPr>
          <p:nvPr/>
        </p:nvSpPr>
        <p:spPr bwMode="auto">
          <a:xfrm>
            <a:off x="5532853" y="3350152"/>
            <a:ext cx="1503626" cy="1335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50000"/>
              </a:lnSpc>
              <a:spcBef>
                <a:spcPct val="0"/>
              </a:spcBef>
              <a:buFontTx/>
              <a:buNone/>
            </a:pPr>
            <a:endParaRPr lang="en-US" altLang="en-US" sz="578"/>
          </a:p>
          <a:p>
            <a:pPr eaLnBrk="1" hangingPunct="1">
              <a:lnSpc>
                <a:spcPct val="150000"/>
              </a:lnSpc>
              <a:spcBef>
                <a:spcPct val="0"/>
              </a:spcBef>
              <a:buFontTx/>
              <a:buNone/>
            </a:pPr>
            <a:endParaRPr lang="en-US" altLang="en-US" sz="578"/>
          </a:p>
          <a:p>
            <a:pPr eaLnBrk="1" hangingPunct="1">
              <a:lnSpc>
                <a:spcPct val="150000"/>
              </a:lnSpc>
              <a:spcBef>
                <a:spcPct val="0"/>
              </a:spcBef>
              <a:buFontTx/>
              <a:buNone/>
            </a:pPr>
            <a:endParaRPr lang="en-US" altLang="en-US" sz="578"/>
          </a:p>
          <a:p>
            <a:pPr eaLnBrk="1" hangingPunct="1">
              <a:lnSpc>
                <a:spcPct val="150000"/>
              </a:lnSpc>
              <a:spcBef>
                <a:spcPct val="0"/>
              </a:spcBef>
              <a:buFontTx/>
              <a:buNone/>
            </a:pPr>
            <a:endParaRPr lang="en-US" altLang="en-US" sz="578"/>
          </a:p>
          <a:p>
            <a:pPr eaLnBrk="1" hangingPunct="1">
              <a:lnSpc>
                <a:spcPct val="150000"/>
              </a:lnSpc>
              <a:spcBef>
                <a:spcPct val="0"/>
              </a:spcBef>
              <a:buFontTx/>
              <a:buNone/>
            </a:pPr>
            <a:r>
              <a:rPr lang="en-US" altLang="en-US" sz="1213" b="1">
                <a:solidFill>
                  <a:srgbClr val="FFFFFF"/>
                </a:solidFill>
                <a:latin typeface="Gill Sans" pitchFamily="34" charset="0"/>
                <a:cs typeface="Gill Sans" pitchFamily="34" charset="0"/>
              </a:rPr>
              <a:t>ရင်ဆိုင်တဲ့ နည်းလမ်းများ</a:t>
            </a:r>
            <a:endParaRPr lang="en-US" altLang="en-US" sz="1213">
              <a:latin typeface="Gill Sans" pitchFamily="34" charset="0"/>
              <a:cs typeface="Gill Sans"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07C0D-F45C-4FB1-ABC8-9517CD6D1DDD}"/>
              </a:ext>
            </a:extLst>
          </p:cNvPr>
          <p:cNvSpPr>
            <a:spLocks noGrp="1"/>
          </p:cNvSpPr>
          <p:nvPr>
            <p:ph type="title"/>
          </p:nvPr>
        </p:nvSpPr>
        <p:spPr>
          <a:xfrm>
            <a:off x="609600" y="349038"/>
            <a:ext cx="6683765" cy="1280890"/>
          </a:xfrm>
        </p:spPr>
        <p:txBody>
          <a:bodyPr/>
          <a:lstStyle/>
          <a:p>
            <a:r>
              <a:rPr lang="my-MM" sz="3200" dirty="0">
                <a:solidFill>
                  <a:schemeClr val="bg1"/>
                </a:solidFill>
                <a:latin typeface="Pyidaungsu" panose="020B0502040204020203" pitchFamily="34" charset="0"/>
                <a:cs typeface="Pyidaungsu" panose="020B0502040204020203" pitchFamily="34" charset="0"/>
              </a:rPr>
              <a:t>အရေးပေါ်အခြေအနေဆိုတာ…..</a:t>
            </a:r>
            <a:r>
              <a:rPr lang="en-US" sz="3200" dirty="0">
                <a:solidFill>
                  <a:schemeClr val="bg1"/>
                </a:solidFill>
                <a:latin typeface="Pyidaungsu" panose="020B0502040204020203" pitchFamily="34" charset="0"/>
                <a:cs typeface="Pyidaungsu" panose="020B0502040204020203" pitchFamily="34" charset="0"/>
              </a:rPr>
              <a:t>.</a:t>
            </a:r>
          </a:p>
        </p:txBody>
      </p:sp>
      <p:sp>
        <p:nvSpPr>
          <p:cNvPr id="3" name="Content Placeholder 2">
            <a:extLst>
              <a:ext uri="{FF2B5EF4-FFF2-40B4-BE49-F238E27FC236}">
                <a16:creationId xmlns:a16="http://schemas.microsoft.com/office/drawing/2014/main" id="{48665813-49C4-4739-BE1B-51F8A9FD628F}"/>
              </a:ext>
            </a:extLst>
          </p:cNvPr>
          <p:cNvSpPr>
            <a:spLocks noGrp="1"/>
          </p:cNvSpPr>
          <p:nvPr>
            <p:ph idx="1"/>
          </p:nvPr>
        </p:nvSpPr>
        <p:spPr>
          <a:xfrm>
            <a:off x="533400" y="1981200"/>
            <a:ext cx="7895687" cy="3777622"/>
          </a:xfrm>
        </p:spPr>
        <p:txBody>
          <a:bodyPr>
            <a:normAutofit/>
          </a:bodyPr>
          <a:lstStyle/>
          <a:p>
            <a:pPr marL="0" indent="0" algn="ctr">
              <a:lnSpc>
                <a:spcPct val="150000"/>
              </a:lnSpc>
              <a:buNone/>
            </a:pPr>
            <a:r>
              <a:rPr lang="my-MM" sz="2400" dirty="0">
                <a:latin typeface="Zawgyi-One" panose="020B0604030504040204" pitchFamily="34" charset="0"/>
                <a:cs typeface="Zawgyi-One" panose="020B0604030504040204" pitchFamily="34" charset="0"/>
              </a:rPr>
              <a:t>အ</a:t>
            </a:r>
            <a:r>
              <a:rPr lang="en-US" sz="2400" dirty="0">
                <a:latin typeface="Zawgyi-One" panose="020B0604030504040204" pitchFamily="34" charset="0"/>
                <a:cs typeface="Zawgyi-One" panose="020B0604030504040204" pitchFamily="34" charset="0"/>
              </a:rPr>
              <a:t>သ</a:t>
            </a:r>
            <a:r>
              <a:rPr lang="my-MM" sz="2400" dirty="0">
                <a:latin typeface="Zawgyi-One" panose="020B0604030504040204" pitchFamily="34" charset="0"/>
                <a:cs typeface="Zawgyi-One" panose="020B0604030504040204" pitchFamily="34" charset="0"/>
              </a:rPr>
              <a:t>က</a:t>
            </a:r>
            <a:r>
              <a:rPr lang="en-US" sz="2400" dirty="0">
                <a:latin typeface="Zawgyi-One" panose="020B0604030504040204" pitchFamily="34" charset="0"/>
                <a:cs typeface="Zawgyi-One" panose="020B0604030504040204" pitchFamily="34" charset="0"/>
              </a:rPr>
              <a:t>္</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 </a:t>
            </a:r>
            <a:r>
              <a:rPr lang="my-MM" sz="2400" dirty="0">
                <a:latin typeface="Zawgyi-One" panose="020B0604030504040204" pitchFamily="34" charset="0"/>
                <a:cs typeface="Zawgyi-One" panose="020B0604030504040204" pitchFamily="34" charset="0"/>
              </a:rPr>
              <a:t>က</a:t>
            </a:r>
            <a:r>
              <a:rPr lang="en-US" sz="2400" dirty="0">
                <a:latin typeface="Zawgyi-One" panose="020B0604030504040204" pitchFamily="34" charset="0"/>
                <a:cs typeface="Zawgyi-One" panose="020B0604030504040204" pitchFamily="34" charset="0"/>
              </a:rPr>
              <a:t>်</a:t>
            </a:r>
            <a:r>
              <a:rPr lang="my-MM" sz="2400" dirty="0">
                <a:latin typeface="Zawgyi-One" panose="020B0604030504040204" pitchFamily="34" charset="0"/>
                <a:cs typeface="Zawgyi-One" panose="020B0604030504040204" pitchFamily="34" charset="0"/>
              </a:rPr>
              <a:t>န</a:t>
            </a:r>
            <a:r>
              <a:rPr lang="en-US" sz="2400" dirty="0">
                <a:latin typeface="Zawgyi-One" panose="020B0604030504040204" pitchFamily="34" charset="0"/>
                <a:cs typeface="Zawgyi-One" panose="020B0604030504040204" pitchFamily="34" charset="0"/>
              </a:rPr>
              <a:t>္</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မ</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a:t>
            </a:r>
            <a:r>
              <a:rPr lang="my-MM" sz="2400" dirty="0">
                <a:latin typeface="Zawgyi-One" panose="020B0604030504040204" pitchFamily="34" charset="0"/>
                <a:cs typeface="Zawgyi-One" panose="020B0604030504040204" pitchFamily="34" charset="0"/>
              </a:rPr>
              <a:t>ရ</a:t>
            </a:r>
            <a:r>
              <a:rPr lang="en-US" sz="2400" dirty="0">
                <a:latin typeface="Zawgyi-One" panose="020B0604030504040204" pitchFamily="34" charset="0"/>
                <a:cs typeface="Zawgyi-One" panose="020B0604030504040204" pitchFamily="34" charset="0"/>
              </a:rPr>
              <a:t>း</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 </a:t>
            </a:r>
            <a:r>
              <a:rPr lang="my-MM" sz="2400" dirty="0">
                <a:latin typeface="Zawgyi-One" panose="020B0604030504040204" pitchFamily="34" charset="0"/>
                <a:cs typeface="Zawgyi-One" panose="020B0604030504040204" pitchFamily="34" charset="0"/>
              </a:rPr>
              <a:t>ပ</a:t>
            </a:r>
            <a:r>
              <a:rPr lang="en-US" sz="2400" dirty="0" err="1">
                <a:latin typeface="Zawgyi-One" panose="020B0604030504040204" pitchFamily="34" charset="0"/>
                <a:cs typeface="Zawgyi-One" panose="020B0604030504040204" pitchFamily="34" charset="0"/>
              </a:rPr>
              <a:t>ိုင္ဆိုင္မ</a:t>
            </a:r>
            <a:r>
              <a:rPr lang="en-US" sz="2400" dirty="0">
                <a:latin typeface="Zawgyi-One" panose="020B0604030504040204" pitchFamily="34" charset="0"/>
                <a:cs typeface="Zawgyi-One" panose="020B0604030504040204" pitchFamily="34" charset="0"/>
              </a:rPr>
              <a:t>ႈ </a:t>
            </a:r>
            <a:r>
              <a:rPr lang="en-US" sz="2400" dirty="0" err="1">
                <a:latin typeface="Zawgyi-One" panose="020B0604030504040204" pitchFamily="34" charset="0"/>
                <a:cs typeface="Zawgyi-One" panose="020B0604030504040204" pitchFamily="34" charset="0"/>
              </a:rPr>
              <a:t>သို</a:t>
            </a:r>
            <a:r>
              <a:rPr lang="my-MM" sz="2400" dirty="0">
                <a:latin typeface="Zawgyi-One" panose="020B0604030504040204" pitchFamily="34" charset="0"/>
                <a:cs typeface="Zawgyi-One" panose="020B0604030504040204" pitchFamily="34" charset="0"/>
              </a:rPr>
              <a:t>႔</a:t>
            </a:r>
            <a:r>
              <a:rPr lang="en-US" sz="2400" dirty="0">
                <a:latin typeface="Zawgyi-One" panose="020B0604030504040204" pitchFamily="34" charset="0"/>
                <a:cs typeface="Zawgyi-One" panose="020B0604030504040204" pitchFamily="34" charset="0"/>
              </a:rPr>
              <a:t>မ</a:t>
            </a:r>
            <a:r>
              <a:rPr lang="my-MM" sz="2400" dirty="0">
                <a:latin typeface="Zawgyi-One" panose="020B0604030504040204" pitchFamily="34" charset="0"/>
                <a:cs typeface="Zawgyi-One" panose="020B0604030504040204" pitchFamily="34" charset="0"/>
              </a:rPr>
              <a:t>ဟ</a:t>
            </a:r>
            <a:r>
              <a:rPr lang="en-US" sz="2400" dirty="0">
                <a:latin typeface="Zawgyi-One" panose="020B0604030504040204" pitchFamily="34" charset="0"/>
                <a:cs typeface="Zawgyi-One" panose="020B0604030504040204" pitchFamily="34" charset="0"/>
              </a:rPr>
              <a:t>ု</a:t>
            </a:r>
            <a:r>
              <a:rPr lang="my-MM" sz="2400" dirty="0">
                <a:latin typeface="Zawgyi-One" panose="020B0604030504040204" pitchFamily="34" charset="0"/>
                <a:cs typeface="Zawgyi-One" panose="020B0604030504040204" pitchFamily="34" charset="0"/>
              </a:rPr>
              <a:t>တ</a:t>
            </a:r>
            <a:r>
              <a:rPr lang="en-US" sz="2400" dirty="0">
                <a:latin typeface="Zawgyi-One" panose="020B0604030504040204" pitchFamily="34" charset="0"/>
                <a:cs typeface="Zawgyi-One" panose="020B0604030504040204" pitchFamily="34" charset="0"/>
              </a:rPr>
              <a:t>္ </a:t>
            </a:r>
            <a:r>
              <a:rPr lang="my-MM" sz="2400" dirty="0">
                <a:latin typeface="Zawgyi-One" panose="020B0604030504040204" pitchFamily="34" charset="0"/>
                <a:cs typeface="Zawgyi-One" panose="020B0604030504040204" pitchFamily="34" charset="0"/>
              </a:rPr>
              <a:t>ပ</a:t>
            </a:r>
            <a:r>
              <a:rPr lang="en-US" sz="2400" dirty="0">
                <a:latin typeface="Zawgyi-One" panose="020B0604030504040204" pitchFamily="34" charset="0"/>
                <a:cs typeface="Zawgyi-One" panose="020B0604030504040204" pitchFamily="34" charset="0"/>
              </a:rPr>
              <a:t>တ</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၀</a:t>
            </a:r>
            <a:r>
              <a:rPr lang="my-MM" sz="2400" dirty="0">
                <a:latin typeface="Zawgyi-One" panose="020B0604030504040204" pitchFamily="34" charset="0"/>
                <a:cs typeface="Zawgyi-One" panose="020B0604030504040204" pitchFamily="34" charset="0"/>
              </a:rPr>
              <a:t>န</a:t>
            </a:r>
            <a:r>
              <a:rPr lang="en-US" sz="2400" dirty="0">
                <a:latin typeface="Zawgyi-One" panose="020B0604030504040204" pitchFamily="34" charset="0"/>
                <a:cs typeface="Zawgyi-One" panose="020B0604030504040204" pitchFamily="34" charset="0"/>
              </a:rPr>
              <a:t>္</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က</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င</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က</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 ခ</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က</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ခ</a:t>
            </a:r>
            <a:r>
              <a:rPr lang="my-MM" sz="2400" dirty="0">
                <a:latin typeface="Zawgyi-One" panose="020B0604030504040204" pitchFamily="34" charset="0"/>
                <a:cs typeface="Zawgyi-One" panose="020B0604030504040204" pitchFamily="34" charset="0"/>
              </a:rPr>
              <a:t>်</a:t>
            </a:r>
            <a:r>
              <a:rPr lang="en-US" sz="2400" dirty="0">
                <a:latin typeface="Zawgyi-One" panose="020B0604030504040204" pitchFamily="34" charset="0"/>
                <a:cs typeface="Zawgyi-One" panose="020B0604030504040204" pitchFamily="34" charset="0"/>
              </a:rPr>
              <a:t>င</a:t>
            </a:r>
            <a:r>
              <a:rPr lang="my-MM" sz="2400" dirty="0">
                <a:latin typeface="Zawgyi-One" panose="020B0604030504040204" pitchFamily="34" charset="0"/>
                <a:cs typeface="Zawgyi-One" panose="020B0604030504040204" pitchFamily="34" charset="0"/>
              </a:rPr>
              <a:t>္</a:t>
            </a:r>
            <a:r>
              <a:rPr lang="en-US" sz="2400" dirty="0" err="1">
                <a:latin typeface="Zawgyi-One" panose="020B0604030504040204" pitchFamily="34" charset="0"/>
                <a:cs typeface="Zawgyi-One" panose="020B0604030504040204" pitchFamily="34" charset="0"/>
              </a:rPr>
              <a:t>းလက္ငင္း</a:t>
            </a:r>
            <a:r>
              <a:rPr lang="en-US" sz="2400" dirty="0">
                <a:latin typeface="Zawgyi-One" panose="020B0604030504040204" pitchFamily="34" charset="0"/>
                <a:cs typeface="Zawgyi-One" panose="020B0604030504040204" pitchFamily="34" charset="0"/>
              </a:rPr>
              <a:t> အႏၱ</a:t>
            </a:r>
            <a:r>
              <a:rPr lang="en-US" sz="2400" dirty="0" err="1">
                <a:latin typeface="Zawgyi-One" panose="020B0604030504040204" pitchFamily="34" charset="0"/>
                <a:cs typeface="Zawgyi-One" panose="020B0604030504040204" pitchFamily="34" charset="0"/>
              </a:rPr>
              <a:t>ရာယ</a:t>
            </a:r>
            <a:r>
              <a:rPr lang="en-US" sz="2400" dirty="0">
                <a:latin typeface="Zawgyi-One" panose="020B0604030504040204" pitchFamily="34" charset="0"/>
                <a:cs typeface="Zawgyi-One" panose="020B0604030504040204" pitchFamily="34" charset="0"/>
              </a:rPr>
              <a:t>္ျပဳႏ</a:t>
            </a:r>
            <a:r>
              <a:rPr lang="en-US" sz="2400" dirty="0" err="1">
                <a:latin typeface="Zawgyi-One" panose="020B0604030504040204" pitchFamily="34" charset="0"/>
                <a:cs typeface="Zawgyi-One" panose="020B0604030504040204" pitchFamily="34" charset="0"/>
              </a:rPr>
              <a:t>ိုင္သည</a:t>
            </a:r>
            <a:r>
              <a:rPr lang="en-US" sz="2400" dirty="0">
                <a:latin typeface="Zawgyi-One" panose="020B0604030504040204" pitchFamily="34" charset="0"/>
                <a:cs typeface="Zawgyi-One" panose="020B0604030504040204" pitchFamily="34" charset="0"/>
              </a:rPr>
              <a:t>့္ </a:t>
            </a:r>
            <a:r>
              <a:rPr lang="en-US" sz="2400" dirty="0" err="1">
                <a:latin typeface="Zawgyi-One" panose="020B0604030504040204" pitchFamily="34" charset="0"/>
                <a:cs typeface="Zawgyi-One" panose="020B0604030504040204" pitchFamily="34" charset="0"/>
              </a:rPr>
              <a:t>အေျခအေန</a:t>
            </a:r>
            <a:r>
              <a:rPr lang="en-US" sz="2400" dirty="0">
                <a:latin typeface="Zawgyi-One" panose="020B0604030504040204" pitchFamily="34" charset="0"/>
                <a:cs typeface="Zawgyi-One" panose="020B0604030504040204" pitchFamily="34" charset="0"/>
              </a:rPr>
              <a:t> </a:t>
            </a:r>
            <a:r>
              <a:rPr lang="en-US" sz="2400" dirty="0" err="1">
                <a:latin typeface="Zawgyi-One" panose="020B0604030504040204" pitchFamily="34" charset="0"/>
                <a:cs typeface="Zawgyi-One" panose="020B0604030504040204" pitchFamily="34" charset="0"/>
              </a:rPr>
              <a:t>သို႔မဟုတ</a:t>
            </a:r>
            <a:r>
              <a:rPr lang="en-US" sz="2400" dirty="0">
                <a:latin typeface="Zawgyi-One" panose="020B0604030504040204" pitchFamily="34" charset="0"/>
                <a:cs typeface="Zawgyi-One" panose="020B0604030504040204" pitchFamily="34" charset="0"/>
              </a:rPr>
              <a:t>္ အႏၱ</a:t>
            </a:r>
            <a:r>
              <a:rPr lang="en-US" sz="2400" dirty="0" err="1">
                <a:latin typeface="Zawgyi-One" panose="020B0604030504040204" pitchFamily="34" charset="0"/>
                <a:cs typeface="Zawgyi-One" panose="020B0604030504040204" pitchFamily="34" charset="0"/>
              </a:rPr>
              <a:t>ရာယ</a:t>
            </a:r>
            <a:r>
              <a:rPr lang="en-US" sz="2400" dirty="0">
                <a:latin typeface="Zawgyi-One" panose="020B0604030504040204" pitchFamily="34" charset="0"/>
                <a:cs typeface="Zawgyi-One" panose="020B0604030504040204" pitchFamily="34" charset="0"/>
              </a:rPr>
              <a:t>္ျပဳၿ</a:t>
            </a:r>
            <a:r>
              <a:rPr lang="en-US" sz="2400" dirty="0" err="1">
                <a:latin typeface="Zawgyi-One" panose="020B0604030504040204" pitchFamily="34" charset="0"/>
                <a:cs typeface="Zawgyi-One" panose="020B0604030504040204" pitchFamily="34" charset="0"/>
              </a:rPr>
              <a:t>ပီးသည</a:t>
            </a:r>
            <a:r>
              <a:rPr lang="en-US" sz="2400" dirty="0">
                <a:latin typeface="Zawgyi-One" panose="020B0604030504040204" pitchFamily="34" charset="0"/>
                <a:cs typeface="Zawgyi-One" panose="020B0604030504040204" pitchFamily="34" charset="0"/>
              </a:rPr>
              <a:t>့္ </a:t>
            </a:r>
            <a:r>
              <a:rPr lang="en-US" sz="2400" dirty="0" err="1">
                <a:latin typeface="Zawgyi-One" panose="020B0604030504040204" pitchFamily="34" charset="0"/>
                <a:cs typeface="Zawgyi-One" panose="020B0604030504040204" pitchFamily="34" charset="0"/>
              </a:rPr>
              <a:t>အေျခအေန</a:t>
            </a:r>
            <a:endParaRPr lang="en-US" sz="2400" dirty="0">
              <a:latin typeface="Zawgyi-One" panose="020B0604030504040204" pitchFamily="34" charset="0"/>
              <a:cs typeface="Zawgyi-One" panose="020B0604030504040204" pitchFamily="34" charset="0"/>
            </a:endParaRPr>
          </a:p>
        </p:txBody>
      </p:sp>
      <p:sp>
        <p:nvSpPr>
          <p:cNvPr id="6" name="object 6">
            <a:extLst>
              <a:ext uri="{FF2B5EF4-FFF2-40B4-BE49-F238E27FC236}">
                <a16:creationId xmlns:a16="http://schemas.microsoft.com/office/drawing/2014/main" id="{117A0F1D-252B-4884-BAE2-0C3188B1CFB6}"/>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7" name="object 7">
            <a:extLst>
              <a:ext uri="{FF2B5EF4-FFF2-40B4-BE49-F238E27FC236}">
                <a16:creationId xmlns:a16="http://schemas.microsoft.com/office/drawing/2014/main" id="{B3A15155-999D-48C3-9CDC-36B184F8F459}"/>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6</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356866924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9F981-AACB-4B0A-B8BA-0D5DB1C3933C}"/>
              </a:ext>
            </a:extLst>
          </p:cNvPr>
          <p:cNvSpPr>
            <a:spLocks noGrp="1"/>
          </p:cNvSpPr>
          <p:nvPr>
            <p:ph type="title"/>
          </p:nvPr>
        </p:nvSpPr>
        <p:spPr>
          <a:xfrm>
            <a:off x="838200" y="340150"/>
            <a:ext cx="7882115" cy="596866"/>
          </a:xfrm>
        </p:spPr>
        <p:txBody>
          <a:bodyPr>
            <a:normAutofit/>
          </a:bodyPr>
          <a:lstStyle/>
          <a:p>
            <a:pPr>
              <a:defRPr/>
            </a:pPr>
            <a:r>
              <a:rPr lang="my-MM" sz="2698" dirty="0">
                <a:latin typeface="Zawgyi-One" panose="020B0604030504040204" pitchFamily="34" charset="0"/>
                <a:cs typeface="Zawgyi-One" panose="020B0604030504040204" pitchFamily="34" charset="0"/>
              </a:rPr>
              <a:t>စိတ္ဖိစီးမႈကို ရင္ဆုိင္ေျဖရွင္းျခင္း</a:t>
            </a:r>
            <a:endParaRPr lang="en-US" sz="2698" dirty="0"/>
          </a:p>
        </p:txBody>
      </p:sp>
      <p:sp>
        <p:nvSpPr>
          <p:cNvPr id="24" name="Text Placeholder 23">
            <a:extLst>
              <a:ext uri="{FF2B5EF4-FFF2-40B4-BE49-F238E27FC236}">
                <a16:creationId xmlns:a16="http://schemas.microsoft.com/office/drawing/2014/main" id="{593023D0-5253-4845-A1A6-0B9BB012EA1E}"/>
              </a:ext>
            </a:extLst>
          </p:cNvPr>
          <p:cNvSpPr>
            <a:spLocks noGrp="1"/>
          </p:cNvSpPr>
          <p:nvPr>
            <p:ph type="body" idx="1"/>
          </p:nvPr>
        </p:nvSpPr>
        <p:spPr>
          <a:xfrm>
            <a:off x="691912" y="1447699"/>
            <a:ext cx="3866335" cy="617036"/>
          </a:xfrm>
        </p:spPr>
        <p:txBody>
          <a:bodyPr/>
          <a:lstStyle/>
          <a:p>
            <a:pPr>
              <a:defRPr/>
            </a:pPr>
            <a:r>
              <a:rPr lang="en-US" dirty="0" err="1">
                <a:latin typeface="Zawgyi-One" panose="020B0604030504040204" pitchFamily="34" charset="0"/>
                <a:cs typeface="Zawgyi-One" panose="020B0604030504040204" pitchFamily="34" charset="0"/>
              </a:rPr>
              <a:t>အက်ိဳးရွိေသာ</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နည္းလမ္းမ်ား</a:t>
            </a:r>
            <a:endParaRPr lang="en-US" dirty="0">
              <a:latin typeface="Zawgyi-One" panose="020B0604030504040204" pitchFamily="34" charset="0"/>
              <a:cs typeface="Zawgyi-One" panose="020B0604030504040204" pitchFamily="34" charset="0"/>
            </a:endParaRPr>
          </a:p>
        </p:txBody>
      </p:sp>
      <p:sp>
        <p:nvSpPr>
          <p:cNvPr id="25" name="Content Placeholder 24">
            <a:extLst>
              <a:ext uri="{FF2B5EF4-FFF2-40B4-BE49-F238E27FC236}">
                <a16:creationId xmlns:a16="http://schemas.microsoft.com/office/drawing/2014/main" id="{8A588A25-2A68-47C6-9CDE-9D3C7AEE1D7B}"/>
              </a:ext>
            </a:extLst>
          </p:cNvPr>
          <p:cNvSpPr>
            <a:spLocks noGrp="1"/>
          </p:cNvSpPr>
          <p:nvPr>
            <p:ph sz="half" idx="2"/>
          </p:nvPr>
        </p:nvSpPr>
        <p:spPr>
          <a:xfrm>
            <a:off x="673575" y="2105076"/>
            <a:ext cx="3776485" cy="3486762"/>
          </a:xfrm>
        </p:spPr>
        <p:txBody>
          <a:bodyPr>
            <a:noAutofit/>
          </a:bodyPr>
          <a:lstStyle/>
          <a:p>
            <a:pPr>
              <a:lnSpc>
                <a:spcPct val="120000"/>
              </a:lnSpc>
              <a:buFont typeface="Wingdings" panose="05000000000000000000" pitchFamily="2" charset="2"/>
              <a:buChar char="§"/>
              <a:defRPr/>
            </a:pPr>
            <a:r>
              <a:rPr lang="en-US" sz="1499" dirty="0" err="1">
                <a:latin typeface="Zawgyi-One" panose="020B0604030504040204" pitchFamily="34" charset="0"/>
                <a:cs typeface="Zawgyi-One" panose="020B0604030504040204" pitchFamily="34" charset="0"/>
              </a:rPr>
              <a:t>ကိုယ္လက္လႈပ္ရွားမ</a:t>
            </a:r>
            <a:r>
              <a:rPr lang="en-US" sz="1499" dirty="0">
                <a:latin typeface="Zawgyi-One" panose="020B0604030504040204" pitchFamily="34" charset="0"/>
                <a:cs typeface="Zawgyi-One" panose="020B0604030504040204" pitchFamily="34" charset="0"/>
              </a:rPr>
              <a:t>ႈ </a:t>
            </a:r>
            <a:r>
              <a:rPr lang="en-US" sz="1499" dirty="0" err="1">
                <a:latin typeface="Zawgyi-One" panose="020B0604030504040204" pitchFamily="34" charset="0"/>
                <a:cs typeface="Zawgyi-One" panose="020B0604030504040204" pitchFamily="34" charset="0"/>
              </a:rPr>
              <a:t>ေလ့က်င</a:t>
            </a:r>
            <a:r>
              <a:rPr lang="en-US" sz="1499" dirty="0">
                <a:latin typeface="Zawgyi-One" panose="020B0604030504040204" pitchFamily="34" charset="0"/>
                <a:cs typeface="Zawgyi-One" panose="020B0604030504040204" pitchFamily="34" charset="0"/>
              </a:rPr>
              <a:t>့္</a:t>
            </a:r>
            <a:r>
              <a:rPr lang="en-US" sz="1499" dirty="0" err="1">
                <a:latin typeface="Zawgyi-One" panose="020B0604030504040204" pitchFamily="34" charset="0"/>
                <a:cs typeface="Zawgyi-One" panose="020B0604030504040204" pitchFamily="34" charset="0"/>
              </a:rPr>
              <a:t>ခန္းမ်ား</a:t>
            </a:r>
            <a:endParaRPr lang="en-US" sz="1499" dirty="0">
              <a:latin typeface="Zawgyi-One" panose="020B0604030504040204" pitchFamily="34" charset="0"/>
              <a:cs typeface="Zawgyi-One" panose="020B0604030504040204" pitchFamily="34" charset="0"/>
            </a:endParaRPr>
          </a:p>
          <a:p>
            <a:pPr>
              <a:lnSpc>
                <a:spcPct val="120000"/>
              </a:lnSpc>
              <a:buFont typeface="Wingdings" panose="05000000000000000000" pitchFamily="2" charset="2"/>
              <a:buChar char="§"/>
              <a:defRPr/>
            </a:pPr>
            <a:r>
              <a:rPr lang="en-US" sz="1499" dirty="0" err="1">
                <a:latin typeface="Zawgyi-One" panose="020B0604030504040204" pitchFamily="34" charset="0"/>
                <a:cs typeface="Zawgyi-One" panose="020B0604030504040204" pitchFamily="34" charset="0"/>
              </a:rPr>
              <a:t>သီခ်င္းနားေထာင</a:t>
            </a:r>
            <a:r>
              <a:rPr lang="en-US" sz="1499" dirty="0">
                <a:latin typeface="Zawgyi-One" panose="020B0604030504040204" pitchFamily="34" charset="0"/>
                <a:cs typeface="Zawgyi-One" panose="020B0604030504040204" pitchFamily="34" charset="0"/>
              </a:rPr>
              <a:t>္ျ</a:t>
            </a:r>
            <a:r>
              <a:rPr lang="en-US" sz="1499" dirty="0" err="1">
                <a:latin typeface="Zawgyi-One" panose="020B0604030504040204" pitchFamily="34" charset="0"/>
                <a:cs typeface="Zawgyi-One" panose="020B0604030504040204" pitchFamily="34" charset="0"/>
              </a:rPr>
              <a:t>ခင္း</a:t>
            </a:r>
            <a:endParaRPr lang="en-US" sz="1499" dirty="0">
              <a:latin typeface="Zawgyi-One" panose="020B0604030504040204" pitchFamily="34" charset="0"/>
              <a:cs typeface="Zawgyi-One" panose="020B0604030504040204" pitchFamily="34" charset="0"/>
            </a:endParaRPr>
          </a:p>
          <a:p>
            <a:pPr>
              <a:lnSpc>
                <a:spcPct val="120000"/>
              </a:lnSpc>
              <a:buFont typeface="Wingdings" panose="05000000000000000000" pitchFamily="2" charset="2"/>
              <a:buChar char="§"/>
              <a:defRPr/>
            </a:pPr>
            <a:r>
              <a:rPr lang="en-US" sz="1499" dirty="0" err="1">
                <a:latin typeface="Zawgyi-One" panose="020B0604030504040204" pitchFamily="34" charset="0"/>
                <a:cs typeface="Zawgyi-One" panose="020B0604030504040204" pitchFamily="34" charset="0"/>
              </a:rPr>
              <a:t>တရားထုိင</a:t>
            </a:r>
            <a:r>
              <a:rPr lang="en-US" sz="1499" dirty="0">
                <a:latin typeface="Zawgyi-One" panose="020B0604030504040204" pitchFamily="34" charset="0"/>
                <a:cs typeface="Zawgyi-One" panose="020B0604030504040204" pitchFamily="34" charset="0"/>
              </a:rPr>
              <a:t>္ျ</a:t>
            </a:r>
            <a:r>
              <a:rPr lang="en-US" sz="1499" dirty="0" err="1">
                <a:latin typeface="Zawgyi-One" panose="020B0604030504040204" pitchFamily="34" charset="0"/>
                <a:cs typeface="Zawgyi-One" panose="020B0604030504040204" pitchFamily="34" charset="0"/>
              </a:rPr>
              <a:t>ခင္း</a:t>
            </a:r>
            <a:endParaRPr lang="en-US" sz="1499" dirty="0">
              <a:latin typeface="Zawgyi-One" panose="020B0604030504040204" pitchFamily="34" charset="0"/>
              <a:cs typeface="Zawgyi-One" panose="020B0604030504040204" pitchFamily="34" charset="0"/>
            </a:endParaRPr>
          </a:p>
          <a:p>
            <a:pPr>
              <a:lnSpc>
                <a:spcPct val="120000"/>
              </a:lnSpc>
              <a:buFont typeface="Wingdings" panose="05000000000000000000" pitchFamily="2" charset="2"/>
              <a:buChar char="§"/>
              <a:defRPr/>
            </a:pPr>
            <a:r>
              <a:rPr lang="en-US" sz="1499" dirty="0" err="1">
                <a:latin typeface="Zawgyi-One" panose="020B0604030504040204" pitchFamily="34" charset="0"/>
                <a:cs typeface="Zawgyi-One" panose="020B0604030504040204" pitchFamily="34" charset="0"/>
              </a:rPr>
              <a:t>တစ္ေယာက္ေယာက္ကို</a:t>
            </a:r>
            <a:r>
              <a:rPr lang="en-US" sz="1499" dirty="0">
                <a:latin typeface="Zawgyi-One" panose="020B0604030504040204" pitchFamily="34" charset="0"/>
                <a:cs typeface="Zawgyi-One" panose="020B0604030504040204" pitchFamily="34" charset="0"/>
              </a:rPr>
              <a:t> </a:t>
            </a:r>
            <a:r>
              <a:rPr lang="en-US" sz="1499" dirty="0" err="1">
                <a:latin typeface="Zawgyi-One" panose="020B0604030504040204" pitchFamily="34" charset="0"/>
                <a:cs typeface="Zawgyi-One" panose="020B0604030504040204" pitchFamily="34" charset="0"/>
              </a:rPr>
              <a:t>ရင္ဖြင</a:t>
            </a:r>
            <a:r>
              <a:rPr lang="en-US" sz="1499" dirty="0">
                <a:latin typeface="Zawgyi-One" panose="020B0604030504040204" pitchFamily="34" charset="0"/>
                <a:cs typeface="Zawgyi-One" panose="020B0604030504040204" pitchFamily="34" charset="0"/>
              </a:rPr>
              <a:t>့္ျ</a:t>
            </a:r>
            <a:r>
              <a:rPr lang="en-US" sz="1499" dirty="0" err="1">
                <a:latin typeface="Zawgyi-One" panose="020B0604030504040204" pitchFamily="34" charset="0"/>
                <a:cs typeface="Zawgyi-One" panose="020B0604030504040204" pitchFamily="34" charset="0"/>
              </a:rPr>
              <a:t>ခင္း</a:t>
            </a:r>
            <a:endParaRPr lang="en-US" sz="1499" dirty="0">
              <a:latin typeface="Zawgyi-One" panose="020B0604030504040204" pitchFamily="34" charset="0"/>
              <a:cs typeface="Zawgyi-One" panose="020B0604030504040204" pitchFamily="34" charset="0"/>
            </a:endParaRPr>
          </a:p>
          <a:p>
            <a:pPr>
              <a:lnSpc>
                <a:spcPct val="120000"/>
              </a:lnSpc>
              <a:buFont typeface="Wingdings" panose="05000000000000000000" pitchFamily="2" charset="2"/>
              <a:buChar char="§"/>
              <a:defRPr/>
            </a:pPr>
            <a:r>
              <a:rPr lang="en-US" sz="1499" dirty="0">
                <a:latin typeface="Zawgyi-One" panose="020B0604030504040204" pitchFamily="34" charset="0"/>
                <a:cs typeface="Zawgyi-One" panose="020B0604030504040204" pitchFamily="34" charset="0"/>
              </a:rPr>
              <a:t>TV </a:t>
            </a:r>
            <a:r>
              <a:rPr lang="my-MM" sz="1499" dirty="0">
                <a:latin typeface="Zawgyi-One" panose="020B0604030504040204" pitchFamily="34" charset="0"/>
                <a:cs typeface="Zawgyi-One" panose="020B0604030504040204" pitchFamily="34" charset="0"/>
              </a:rPr>
              <a:t>ၾကည့္ျခင္း</a:t>
            </a:r>
            <a:r>
              <a:rPr lang="en-US" sz="1499" dirty="0">
                <a:latin typeface="Zawgyi-One" panose="020B0604030504040204" pitchFamily="34" charset="0"/>
                <a:cs typeface="Zawgyi-One" panose="020B0604030504040204" pitchFamily="34" charset="0"/>
              </a:rPr>
              <a:t>/ </a:t>
            </a:r>
            <a:r>
              <a:rPr lang="my-MM" sz="1499" dirty="0">
                <a:latin typeface="Zawgyi-One" panose="020B0604030504040204" pitchFamily="34" charset="0"/>
                <a:cs typeface="Zawgyi-One" panose="020B0604030504040204" pitchFamily="34" charset="0"/>
              </a:rPr>
              <a:t>ရုပ္ရွင္သြားၾကည့္ျ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စာဖတ္ျ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တေယာက္ထဲေနလုိက္ျ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သစ္ပင္စုိက္ျ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သူငယ္ခ်င္းမ်ားႏွင့္ သြားလာျ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ဝါသနာပါရာ အလုပ္လုပ္တခုခုလုပ္ျခင္း</a:t>
            </a:r>
            <a:endParaRPr lang="en-US" sz="1499" dirty="0">
              <a:latin typeface="Zawgyi-One" panose="020B0604030504040204" pitchFamily="34" charset="0"/>
              <a:cs typeface="Zawgyi-One" panose="020B0604030504040204" pitchFamily="34" charset="0"/>
            </a:endParaRPr>
          </a:p>
        </p:txBody>
      </p:sp>
      <p:sp>
        <p:nvSpPr>
          <p:cNvPr id="26" name="Text Placeholder 25">
            <a:extLst>
              <a:ext uri="{FF2B5EF4-FFF2-40B4-BE49-F238E27FC236}">
                <a16:creationId xmlns:a16="http://schemas.microsoft.com/office/drawing/2014/main" id="{214C99BF-D276-4EAF-B92E-EE98C714389D}"/>
              </a:ext>
            </a:extLst>
          </p:cNvPr>
          <p:cNvSpPr>
            <a:spLocks noGrp="1"/>
          </p:cNvSpPr>
          <p:nvPr>
            <p:ph type="body" sz="quarter" idx="3"/>
          </p:nvPr>
        </p:nvSpPr>
        <p:spPr>
          <a:xfrm>
            <a:off x="3955880" y="1445865"/>
            <a:ext cx="3885589" cy="617036"/>
          </a:xfrm>
        </p:spPr>
        <p:txBody>
          <a:bodyPr/>
          <a:lstStyle/>
          <a:p>
            <a:pPr>
              <a:defRPr/>
            </a:pPr>
            <a:r>
              <a:rPr lang="en-US" dirty="0" err="1">
                <a:latin typeface="Zawgyi-One" panose="020B0604030504040204" pitchFamily="34" charset="0"/>
                <a:cs typeface="Zawgyi-One" panose="020B0604030504040204" pitchFamily="34" charset="0"/>
              </a:rPr>
              <a:t>အက်ိဳးမျဖစ္ေသာ</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နည္းလမ္းမ်ား</a:t>
            </a:r>
            <a:endParaRPr lang="en-US" dirty="0">
              <a:latin typeface="Zawgyi-One" panose="020B0604030504040204" pitchFamily="34" charset="0"/>
              <a:cs typeface="Zawgyi-One" panose="020B0604030504040204" pitchFamily="34" charset="0"/>
            </a:endParaRPr>
          </a:p>
        </p:txBody>
      </p:sp>
      <p:sp>
        <p:nvSpPr>
          <p:cNvPr id="27" name="Content Placeholder 26">
            <a:extLst>
              <a:ext uri="{FF2B5EF4-FFF2-40B4-BE49-F238E27FC236}">
                <a16:creationId xmlns:a16="http://schemas.microsoft.com/office/drawing/2014/main" id="{A8FF75E1-835E-4D9A-BFF0-05CBB89CF621}"/>
              </a:ext>
            </a:extLst>
          </p:cNvPr>
          <p:cNvSpPr>
            <a:spLocks noGrp="1"/>
          </p:cNvSpPr>
          <p:nvPr>
            <p:ph sz="quarter" idx="4"/>
          </p:nvPr>
        </p:nvSpPr>
        <p:spPr>
          <a:xfrm>
            <a:off x="3981552" y="2020726"/>
            <a:ext cx="5292029" cy="3486762"/>
          </a:xfrm>
        </p:spPr>
        <p:txBody>
          <a:bodyPr>
            <a:noAutofit/>
          </a:bodyPr>
          <a:lstStyle/>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ၾကမး္တမ္းေသာ အျပဳအမူမ်ားျပဳျ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တစံုတဦးအား ေအာ္ဟစ္ျခင္း </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အစားအလြန္အကၽြံစားျခင္း   </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အခ်ိန္အေတာ္ၾကာ မစားပဲေနျခင္း            </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အရက္ေသစာ အလြန္အကၽြံေသာက္ျခင္း</a:t>
            </a:r>
            <a:r>
              <a:rPr lang="en-US" sz="1499" dirty="0">
                <a:latin typeface="Zawgyi-One" panose="020B0604030504040204" pitchFamily="34" charset="0"/>
                <a:cs typeface="Zawgyi-One" panose="020B0604030504040204" pitchFamily="34" charset="0"/>
              </a:rPr>
              <a:t>၊ </a:t>
            </a:r>
            <a:r>
              <a:rPr lang="my-MM" sz="1499" dirty="0">
                <a:latin typeface="Zawgyi-One" panose="020B0604030504040204" pitchFamily="34" charset="0"/>
                <a:cs typeface="Zawgyi-One" panose="020B0604030504040204" pitchFamily="34" charset="0"/>
              </a:rPr>
              <a:t>ေဆးလိပ္ေသာက္ျ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ကာ္ဖီ အလြန္အကၽြံေသာက္ျ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တစံုတရာအား ကန္ေက်ာက္ျ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ပစၥည္းမ်ား လႊင့္ပစ္/ရုိက္ခြဲျ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လက္သည္းကိုက္ျခင္း</a:t>
            </a:r>
          </a:p>
          <a:p>
            <a:pPr>
              <a:lnSpc>
                <a:spcPct val="120000"/>
              </a:lnSpc>
              <a:buFont typeface="Wingdings" panose="05000000000000000000" pitchFamily="2" charset="2"/>
              <a:buChar char="§"/>
              <a:defRPr/>
            </a:pPr>
            <a:r>
              <a:rPr lang="my-MM" sz="1499" dirty="0">
                <a:latin typeface="Zawgyi-One" panose="020B0604030504040204" pitchFamily="34" charset="0"/>
                <a:cs typeface="Zawgyi-One" panose="020B0604030504040204" pitchFamily="34" charset="0"/>
              </a:rPr>
              <a:t>မူးယစ္ေဆးဝါးသံုးစြဲျခင္း</a:t>
            </a:r>
          </a:p>
        </p:txBody>
      </p:sp>
      <p:sp>
        <p:nvSpPr>
          <p:cNvPr id="4" name="Slide Number Placeholder 3">
            <a:extLst>
              <a:ext uri="{FF2B5EF4-FFF2-40B4-BE49-F238E27FC236}">
                <a16:creationId xmlns:a16="http://schemas.microsoft.com/office/drawing/2014/main" id="{3442733B-277B-4DE2-93EC-997DD45BA3B0}"/>
              </a:ext>
            </a:extLst>
          </p:cNvPr>
          <p:cNvSpPr>
            <a:spLocks noGrp="1"/>
          </p:cNvSpPr>
          <p:nvPr>
            <p:ph type="sldNum" sz="quarter" idx="12"/>
          </p:nvPr>
        </p:nvSpPr>
        <p:spPr/>
        <p:txBody>
          <a:bodyPr/>
          <a:lstStyle/>
          <a:p>
            <a:pPr defTabSz="342689">
              <a:defRPr/>
            </a:pPr>
            <a:fld id="{7A927F54-4D60-496E-A953-6C1FCB7438E9}" type="slidenum">
              <a:rPr lang="en-US">
                <a:solidFill>
                  <a:prstClr val="black">
                    <a:tint val="75000"/>
                  </a:prstClr>
                </a:solidFill>
                <a:latin typeface="Calibri" panose="020F0502020204030204"/>
              </a:rPr>
              <a:pPr defTabSz="342689">
                <a:defRPr/>
              </a:pPr>
              <a:t>70</a:t>
            </a:fld>
            <a:endParaRPr lang="en-US" dirty="0">
              <a:solidFill>
                <a:prstClr val="black">
                  <a:tint val="75000"/>
                </a:prstClr>
              </a:solidFill>
              <a:latin typeface="Calibri" panose="020F0502020204030204"/>
            </a:endParaRPr>
          </a:p>
        </p:txBody>
      </p:sp>
      <p:pic>
        <p:nvPicPr>
          <p:cNvPr id="15368" name="Picture 8">
            <a:extLst>
              <a:ext uri="{FF2B5EF4-FFF2-40B4-BE49-F238E27FC236}">
                <a16:creationId xmlns:a16="http://schemas.microsoft.com/office/drawing/2014/main" id="{4D1F265F-C83A-4950-8B53-FF2125E779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83899" y="977357"/>
            <a:ext cx="1657656" cy="1190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bject 5">
            <a:extLst>
              <a:ext uri="{FF2B5EF4-FFF2-40B4-BE49-F238E27FC236}">
                <a16:creationId xmlns:a16="http://schemas.microsoft.com/office/drawing/2014/main" id="{0CCEB29D-6788-4B86-B1AE-DA4EE48305C4}"/>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0" name="object 6">
            <a:extLst>
              <a:ext uri="{FF2B5EF4-FFF2-40B4-BE49-F238E27FC236}">
                <a16:creationId xmlns:a16="http://schemas.microsoft.com/office/drawing/2014/main" id="{EB4EC954-45BB-4333-80BB-6064EBF42B8F}"/>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25</a:t>
            </a:r>
            <a:endParaRPr lang="en-US" altLang="en-US" sz="2021" dirty="0">
              <a:latin typeface="Gill Sans" pitchFamily="34" charset="0"/>
              <a:cs typeface="Gill Sans" pitchFamily="34" charset="0"/>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2B399A7-4983-4641-8E15-771AF1B3426C}"/>
              </a:ext>
            </a:extLst>
          </p:cNvPr>
          <p:cNvSpPr>
            <a:spLocks noGrp="1"/>
          </p:cNvSpPr>
          <p:nvPr>
            <p:ph type="title"/>
          </p:nvPr>
        </p:nvSpPr>
        <p:spPr/>
        <p:txBody>
          <a:bodyPr rtlCol="0">
            <a:normAutofit/>
          </a:bodyPr>
          <a:lstStyle/>
          <a:p>
            <a:pPr defTabSz="685377">
              <a:defRPr/>
            </a:pPr>
            <a:r>
              <a:rPr lang="en-US" sz="3298" dirty="0"/>
              <a:t>Draw worries tree</a:t>
            </a:r>
          </a:p>
        </p:txBody>
      </p:sp>
      <p:sp>
        <p:nvSpPr>
          <p:cNvPr id="3" name="object 5">
            <a:extLst>
              <a:ext uri="{FF2B5EF4-FFF2-40B4-BE49-F238E27FC236}">
                <a16:creationId xmlns:a16="http://schemas.microsoft.com/office/drawing/2014/main" id="{D64D075D-B23E-4FB7-AEEC-038CA09E4140}"/>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4" name="object 6">
            <a:extLst>
              <a:ext uri="{FF2B5EF4-FFF2-40B4-BE49-F238E27FC236}">
                <a16:creationId xmlns:a16="http://schemas.microsoft.com/office/drawing/2014/main" id="{BF1B639B-24D3-4A1B-9A9A-15884D1C15ED}"/>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26</a:t>
            </a:r>
            <a:endParaRPr lang="en-US" altLang="en-US" sz="2021" dirty="0">
              <a:latin typeface="Gill Sans" pitchFamily="34" charset="0"/>
              <a:cs typeface="Gill Sans" pitchFamily="34" charset="0"/>
            </a:endParaRP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2600C-0ED1-4B83-AF7A-4994B9E13811}"/>
              </a:ext>
            </a:extLst>
          </p:cNvPr>
          <p:cNvSpPr>
            <a:spLocks noGrp="1"/>
          </p:cNvSpPr>
          <p:nvPr>
            <p:ph type="title"/>
          </p:nvPr>
        </p:nvSpPr>
        <p:spPr>
          <a:xfrm>
            <a:off x="153725" y="310811"/>
            <a:ext cx="4405440" cy="751813"/>
          </a:xfrm>
        </p:spPr>
        <p:txBody>
          <a:bodyPr>
            <a:normAutofit fontScale="90000"/>
          </a:bodyPr>
          <a:lstStyle/>
          <a:p>
            <a:pPr>
              <a:defRPr/>
            </a:pPr>
            <a:r>
              <a:rPr lang="en-US" dirty="0" err="1">
                <a:latin typeface="Zawgyi-One" panose="020B0604030504040204" pitchFamily="34" charset="0"/>
                <a:cs typeface="Zawgyi-One" panose="020B0604030504040204" pitchFamily="34" charset="0"/>
              </a:rPr>
              <a:t>ဆံုးျဖတ</a:t>
            </a:r>
            <a:r>
              <a:rPr lang="en-US" dirty="0">
                <a:latin typeface="Zawgyi-One" panose="020B0604030504040204" pitchFamily="34" charset="0"/>
                <a:cs typeface="Zawgyi-One" panose="020B0604030504040204" pitchFamily="34" charset="0"/>
              </a:rPr>
              <a:t>္</a:t>
            </a:r>
            <a:r>
              <a:rPr lang="my-MM" dirty="0">
                <a:latin typeface="Zawgyi-One" panose="020B0604030504040204" pitchFamily="34" charset="0"/>
                <a:cs typeface="Zawgyi-One" panose="020B0604030504040204" pitchFamily="34" charset="0"/>
              </a:rPr>
              <a:t>ခ</a:t>
            </a:r>
            <a:r>
              <a:rPr lang="en-US" dirty="0">
                <a:latin typeface="Zawgyi-One" panose="020B0604030504040204" pitchFamily="34" charset="0"/>
                <a:cs typeface="Zawgyi-One" panose="020B0604030504040204" pitchFamily="34" charset="0"/>
              </a:rPr>
              <a:t>်</a:t>
            </a:r>
            <a:r>
              <a:rPr lang="my-MM" dirty="0">
                <a:latin typeface="Zawgyi-One" panose="020B0604030504040204" pitchFamily="34" charset="0"/>
                <a:cs typeface="Zawgyi-One" panose="020B0604030504040204" pitchFamily="34" charset="0"/>
              </a:rPr>
              <a:t>က</a:t>
            </a:r>
            <a:r>
              <a:rPr lang="en-US" dirty="0">
                <a:latin typeface="Zawgyi-One" panose="020B0604030504040204" pitchFamily="34" charset="0"/>
                <a:cs typeface="Zawgyi-One" panose="020B0604030504040204" pitchFamily="34" charset="0"/>
              </a:rPr>
              <a:t>္</a:t>
            </a:r>
            <a:r>
              <a:rPr lang="my-MM" dirty="0">
                <a:latin typeface="Zawgyi-One" panose="020B0604030504040204" pitchFamily="34" charset="0"/>
                <a:cs typeface="Zawgyi-One" panose="020B0604030504040204" pitchFamily="34" charset="0"/>
              </a:rPr>
              <a:t>သ</a:t>
            </a:r>
            <a:r>
              <a:rPr lang="en-US" dirty="0">
                <a:latin typeface="Zawgyi-One" panose="020B0604030504040204" pitchFamily="34" charset="0"/>
                <a:cs typeface="Zawgyi-One" panose="020B0604030504040204" pitchFamily="34" charset="0"/>
              </a:rPr>
              <a:t>စ</a:t>
            </a:r>
            <a:r>
              <a:rPr lang="my-MM" dirty="0">
                <a:latin typeface="Zawgyi-One" panose="020B0604030504040204" pitchFamily="34" charset="0"/>
                <a:cs typeface="Zawgyi-One" panose="020B0604030504040204" pitchFamily="34" charset="0"/>
              </a:rPr>
              <a:t>္</a:t>
            </a:r>
            <a:r>
              <a:rPr lang="en-US" dirty="0">
                <a:latin typeface="Zawgyi-One" panose="020B0604030504040204" pitchFamily="34" charset="0"/>
                <a:cs typeface="Zawgyi-One" panose="020B0604030504040204" pitchFamily="34" charset="0"/>
              </a:rPr>
              <a:t>ပ</a:t>
            </a:r>
            <a:r>
              <a:rPr lang="my-MM" dirty="0">
                <a:latin typeface="Zawgyi-One" panose="020B0604030504040204" pitchFamily="34" charset="0"/>
                <a:cs typeface="Zawgyi-One" panose="020B0604030504040204" pitchFamily="34" charset="0"/>
              </a:rPr>
              <a:t>င</a:t>
            </a:r>
            <a:r>
              <a:rPr lang="en-US" dirty="0">
                <a:latin typeface="Zawgyi-One" panose="020B0604030504040204" pitchFamily="34" charset="0"/>
                <a:cs typeface="Zawgyi-One" panose="020B0604030504040204" pitchFamily="34" charset="0"/>
              </a:rPr>
              <a:t>္</a:t>
            </a:r>
          </a:p>
        </p:txBody>
      </p:sp>
      <p:sp>
        <p:nvSpPr>
          <p:cNvPr id="4" name="Freeform 3">
            <a:extLst>
              <a:ext uri="{FF2B5EF4-FFF2-40B4-BE49-F238E27FC236}">
                <a16:creationId xmlns:a16="http://schemas.microsoft.com/office/drawing/2014/main" id="{C3F161DD-8EAC-432E-9CF4-DC8B398EFC5E}"/>
              </a:ext>
            </a:extLst>
          </p:cNvPr>
          <p:cNvSpPr/>
          <p:nvPr/>
        </p:nvSpPr>
        <p:spPr>
          <a:xfrm>
            <a:off x="6086628" y="2448893"/>
            <a:ext cx="68764" cy="267719"/>
          </a:xfrm>
          <a:custGeom>
            <a:avLst/>
            <a:gdLst/>
            <a:ahLst/>
            <a:cxnLst/>
            <a:rect l="0" t="0" r="0" b="0"/>
            <a:pathLst>
              <a:path>
                <a:moveTo>
                  <a:pt x="45720" y="0"/>
                </a:moveTo>
                <a:lnTo>
                  <a:pt x="45720" y="357183"/>
                </a:lnTo>
              </a:path>
            </a:pathLst>
          </a:custGeom>
          <a:noFill/>
        </p:spPr>
        <p:style>
          <a:lnRef idx="1">
            <a:schemeClr val="accent6">
              <a:hueOff val="0"/>
              <a:satOff val="0"/>
              <a:lumOff val="0"/>
              <a:alphaOff val="0"/>
            </a:schemeClr>
          </a:lnRef>
          <a:fillRef idx="0">
            <a:scrgbClr r="0" g="0" b="0"/>
          </a:fillRef>
          <a:effectRef idx="0">
            <a:schemeClr val="accent4">
              <a:tint val="70000"/>
              <a:hueOff val="0"/>
              <a:satOff val="0"/>
              <a:lumOff val="0"/>
              <a:alphaOff val="0"/>
            </a:schemeClr>
          </a:effectRef>
          <a:fontRef idx="minor">
            <a:schemeClr val="tx1">
              <a:hueOff val="0"/>
              <a:satOff val="0"/>
              <a:lumOff val="0"/>
              <a:alphaOff val="0"/>
            </a:schemeClr>
          </a:fontRef>
        </p:style>
      </p:sp>
      <p:sp>
        <p:nvSpPr>
          <p:cNvPr id="6" name="Freeform 5">
            <a:extLst>
              <a:ext uri="{FF2B5EF4-FFF2-40B4-BE49-F238E27FC236}">
                <a16:creationId xmlns:a16="http://schemas.microsoft.com/office/drawing/2014/main" id="{9BD88592-9452-444E-9A93-4402BF34C1F1}"/>
              </a:ext>
            </a:extLst>
          </p:cNvPr>
          <p:cNvSpPr/>
          <p:nvPr/>
        </p:nvSpPr>
        <p:spPr>
          <a:xfrm>
            <a:off x="5105604" y="1596227"/>
            <a:ext cx="1015864" cy="267719"/>
          </a:xfrm>
          <a:custGeom>
            <a:avLst/>
            <a:gdLst/>
            <a:ahLst/>
            <a:cxnLst/>
            <a:rect l="0" t="0" r="0" b="0"/>
            <a:pathLst>
              <a:path>
                <a:moveTo>
                  <a:pt x="0" y="0"/>
                </a:moveTo>
                <a:lnTo>
                  <a:pt x="0" y="243410"/>
                </a:lnTo>
                <a:lnTo>
                  <a:pt x="1354233" y="243410"/>
                </a:lnTo>
                <a:lnTo>
                  <a:pt x="1354233" y="357183"/>
                </a:lnTo>
              </a:path>
            </a:pathLst>
          </a:custGeom>
          <a:noFill/>
        </p:spPr>
        <p:style>
          <a:lnRef idx="1">
            <a:schemeClr val="accent5">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7" name="Freeform 6">
            <a:extLst>
              <a:ext uri="{FF2B5EF4-FFF2-40B4-BE49-F238E27FC236}">
                <a16:creationId xmlns:a16="http://schemas.microsoft.com/office/drawing/2014/main" id="{FB534293-2417-4F60-B6CF-67C8605E06F3}"/>
              </a:ext>
            </a:extLst>
          </p:cNvPr>
          <p:cNvSpPr/>
          <p:nvPr/>
        </p:nvSpPr>
        <p:spPr>
          <a:xfrm>
            <a:off x="5066180" y="5005973"/>
            <a:ext cx="68763" cy="267719"/>
          </a:xfrm>
          <a:custGeom>
            <a:avLst/>
            <a:gdLst/>
            <a:ahLst/>
            <a:cxnLst/>
            <a:rect l="0" t="0" r="0" b="0"/>
            <a:pathLst>
              <a:path>
                <a:moveTo>
                  <a:pt x="45720" y="0"/>
                </a:moveTo>
                <a:lnTo>
                  <a:pt x="45720" y="357183"/>
                </a:lnTo>
              </a:path>
            </a:pathLst>
          </a:custGeom>
          <a:noFill/>
        </p:spPr>
        <p:style>
          <a:lnRef idx="1">
            <a:schemeClr val="accent1">
              <a:hueOff val="0"/>
              <a:satOff val="0"/>
              <a:lumOff val="0"/>
              <a:alphaOff val="0"/>
            </a:schemeClr>
          </a:lnRef>
          <a:fillRef idx="0">
            <a:scrgbClr r="0" g="0" b="0"/>
          </a:fillRef>
          <a:effectRef idx="0">
            <a:schemeClr val="accent4">
              <a:tint val="50000"/>
              <a:hueOff val="0"/>
              <a:satOff val="0"/>
              <a:lumOff val="0"/>
              <a:alphaOff val="0"/>
            </a:schemeClr>
          </a:effectRef>
          <a:fontRef idx="minor">
            <a:schemeClr val="tx1">
              <a:hueOff val="0"/>
              <a:satOff val="0"/>
              <a:lumOff val="0"/>
              <a:alphaOff val="0"/>
            </a:schemeClr>
          </a:fontRef>
        </p:style>
      </p:sp>
      <p:sp>
        <p:nvSpPr>
          <p:cNvPr id="8" name="Freeform 7">
            <a:extLst>
              <a:ext uri="{FF2B5EF4-FFF2-40B4-BE49-F238E27FC236}">
                <a16:creationId xmlns:a16="http://schemas.microsoft.com/office/drawing/2014/main" id="{84FCD37B-91C0-4C70-AAEA-6489EA3B5026}"/>
              </a:ext>
            </a:extLst>
          </p:cNvPr>
          <p:cNvSpPr/>
          <p:nvPr/>
        </p:nvSpPr>
        <p:spPr>
          <a:xfrm>
            <a:off x="5066180" y="4153307"/>
            <a:ext cx="68763" cy="267719"/>
          </a:xfrm>
          <a:custGeom>
            <a:avLst/>
            <a:gdLst/>
            <a:ahLst/>
            <a:cxnLst/>
            <a:rect l="0" t="0" r="0" b="0"/>
            <a:pathLst>
              <a:path>
                <a:moveTo>
                  <a:pt x="45720" y="0"/>
                </a:moveTo>
                <a:lnTo>
                  <a:pt x="45720" y="357183"/>
                </a:lnTo>
              </a:path>
            </a:pathLst>
          </a:custGeom>
          <a:noFill/>
        </p:spPr>
        <p:style>
          <a:lnRef idx="1">
            <a:schemeClr val="accent1">
              <a:hueOff val="0"/>
              <a:satOff val="0"/>
              <a:lumOff val="0"/>
              <a:alphaOff val="0"/>
            </a:schemeClr>
          </a:lnRef>
          <a:fillRef idx="0">
            <a:scrgbClr r="0" g="0" b="0"/>
          </a:fillRef>
          <a:effectRef idx="0">
            <a:schemeClr val="accent4">
              <a:tint val="50000"/>
              <a:hueOff val="0"/>
              <a:satOff val="0"/>
              <a:lumOff val="0"/>
              <a:alphaOff val="0"/>
            </a:schemeClr>
          </a:effectRef>
          <a:fontRef idx="minor">
            <a:schemeClr val="tx1">
              <a:hueOff val="0"/>
              <a:satOff val="0"/>
              <a:lumOff val="0"/>
              <a:alphaOff val="0"/>
            </a:schemeClr>
          </a:fontRef>
        </p:style>
      </p:sp>
      <p:sp>
        <p:nvSpPr>
          <p:cNvPr id="9" name="Freeform 8">
            <a:extLst>
              <a:ext uri="{FF2B5EF4-FFF2-40B4-BE49-F238E27FC236}">
                <a16:creationId xmlns:a16="http://schemas.microsoft.com/office/drawing/2014/main" id="{6DF42B08-FC04-4D90-944D-11567973DC0A}"/>
              </a:ext>
            </a:extLst>
          </p:cNvPr>
          <p:cNvSpPr/>
          <p:nvPr/>
        </p:nvSpPr>
        <p:spPr>
          <a:xfrm>
            <a:off x="4090657" y="3300642"/>
            <a:ext cx="1010363" cy="267719"/>
          </a:xfrm>
          <a:custGeom>
            <a:avLst/>
            <a:gdLst/>
            <a:ahLst/>
            <a:cxnLst/>
            <a:rect l="0" t="0" r="0" b="0"/>
            <a:pathLst>
              <a:path>
                <a:moveTo>
                  <a:pt x="0" y="0"/>
                </a:moveTo>
                <a:lnTo>
                  <a:pt x="0" y="243410"/>
                </a:lnTo>
                <a:lnTo>
                  <a:pt x="1347159" y="243410"/>
                </a:lnTo>
                <a:lnTo>
                  <a:pt x="1347159" y="357183"/>
                </a:lnTo>
              </a:path>
            </a:pathLst>
          </a:custGeom>
          <a:noFill/>
        </p:spPr>
        <p:style>
          <a:lnRef idx="1">
            <a:schemeClr val="accent1">
              <a:hueOff val="0"/>
              <a:satOff val="0"/>
              <a:lumOff val="0"/>
              <a:alphaOff val="0"/>
            </a:schemeClr>
          </a:lnRef>
          <a:fillRef idx="0">
            <a:scrgbClr r="0" g="0" b="0"/>
          </a:fillRef>
          <a:effectRef idx="0">
            <a:schemeClr val="accent4">
              <a:tint val="50000"/>
              <a:hueOff val="0"/>
              <a:satOff val="0"/>
              <a:lumOff val="0"/>
              <a:alphaOff val="0"/>
            </a:schemeClr>
          </a:effectRef>
          <a:fontRef idx="minor">
            <a:schemeClr val="tx1">
              <a:hueOff val="0"/>
              <a:satOff val="0"/>
              <a:lumOff val="0"/>
              <a:alphaOff val="0"/>
            </a:schemeClr>
          </a:fontRef>
        </p:style>
      </p:sp>
      <p:sp>
        <p:nvSpPr>
          <p:cNvPr id="10" name="Freeform 9">
            <a:extLst>
              <a:ext uri="{FF2B5EF4-FFF2-40B4-BE49-F238E27FC236}">
                <a16:creationId xmlns:a16="http://schemas.microsoft.com/office/drawing/2014/main" id="{016AB97E-3338-4214-B9D1-422B79E54C6F}"/>
              </a:ext>
            </a:extLst>
          </p:cNvPr>
          <p:cNvSpPr/>
          <p:nvPr/>
        </p:nvSpPr>
        <p:spPr>
          <a:xfrm>
            <a:off x="3046370" y="4153307"/>
            <a:ext cx="68764" cy="267719"/>
          </a:xfrm>
          <a:custGeom>
            <a:avLst/>
            <a:gdLst/>
            <a:ahLst/>
            <a:cxnLst/>
            <a:rect l="0" t="0" r="0" b="0"/>
            <a:pathLst>
              <a:path>
                <a:moveTo>
                  <a:pt x="45720" y="0"/>
                </a:moveTo>
                <a:lnTo>
                  <a:pt x="45720" y="357183"/>
                </a:lnTo>
              </a:path>
            </a:pathLst>
          </a:custGeom>
          <a:noFill/>
        </p:spPr>
        <p:style>
          <a:lnRef idx="1">
            <a:schemeClr val="accent1">
              <a:hueOff val="0"/>
              <a:satOff val="0"/>
              <a:lumOff val="0"/>
              <a:alphaOff val="0"/>
            </a:schemeClr>
          </a:lnRef>
          <a:fillRef idx="0">
            <a:scrgbClr r="0" g="0" b="0"/>
          </a:fillRef>
          <a:effectRef idx="0">
            <a:schemeClr val="accent4">
              <a:tint val="50000"/>
              <a:hueOff val="0"/>
              <a:satOff val="0"/>
              <a:lumOff val="0"/>
              <a:alphaOff val="0"/>
            </a:schemeClr>
          </a:effectRef>
          <a:fontRef idx="minor">
            <a:schemeClr val="tx1">
              <a:hueOff val="0"/>
              <a:satOff val="0"/>
              <a:lumOff val="0"/>
              <a:alphaOff val="0"/>
            </a:schemeClr>
          </a:fontRef>
        </p:style>
      </p:sp>
      <p:sp>
        <p:nvSpPr>
          <p:cNvPr id="11" name="Freeform 10">
            <a:extLst>
              <a:ext uri="{FF2B5EF4-FFF2-40B4-BE49-F238E27FC236}">
                <a16:creationId xmlns:a16="http://schemas.microsoft.com/office/drawing/2014/main" id="{B7C880B7-ABB2-4AC5-8BB9-9A6AB57D5A40}"/>
              </a:ext>
            </a:extLst>
          </p:cNvPr>
          <p:cNvSpPr/>
          <p:nvPr/>
        </p:nvSpPr>
        <p:spPr>
          <a:xfrm>
            <a:off x="3081210" y="3300642"/>
            <a:ext cx="1009447" cy="267719"/>
          </a:xfrm>
          <a:custGeom>
            <a:avLst/>
            <a:gdLst/>
            <a:ahLst/>
            <a:cxnLst/>
            <a:rect l="0" t="0" r="0" b="0"/>
            <a:pathLst>
              <a:path>
                <a:moveTo>
                  <a:pt x="1347159" y="0"/>
                </a:moveTo>
                <a:lnTo>
                  <a:pt x="1347159" y="243410"/>
                </a:lnTo>
                <a:lnTo>
                  <a:pt x="0" y="243410"/>
                </a:lnTo>
                <a:lnTo>
                  <a:pt x="0" y="357183"/>
                </a:lnTo>
              </a:path>
            </a:pathLst>
          </a:custGeom>
          <a:noFill/>
        </p:spPr>
        <p:style>
          <a:lnRef idx="1">
            <a:schemeClr val="accent1">
              <a:hueOff val="0"/>
              <a:satOff val="0"/>
              <a:lumOff val="0"/>
              <a:alphaOff val="0"/>
            </a:schemeClr>
          </a:lnRef>
          <a:fillRef idx="0">
            <a:scrgbClr r="0" g="0" b="0"/>
          </a:fillRef>
          <a:effectRef idx="0">
            <a:schemeClr val="accent4">
              <a:tint val="50000"/>
              <a:hueOff val="0"/>
              <a:satOff val="0"/>
              <a:lumOff val="0"/>
              <a:alphaOff val="0"/>
            </a:schemeClr>
          </a:effectRef>
          <a:fontRef idx="minor">
            <a:schemeClr val="tx1">
              <a:hueOff val="0"/>
              <a:satOff val="0"/>
              <a:lumOff val="0"/>
              <a:alphaOff val="0"/>
            </a:schemeClr>
          </a:fontRef>
        </p:style>
      </p:sp>
      <p:sp>
        <p:nvSpPr>
          <p:cNvPr id="12" name="Freeform 11">
            <a:extLst>
              <a:ext uri="{FF2B5EF4-FFF2-40B4-BE49-F238E27FC236}">
                <a16:creationId xmlns:a16="http://schemas.microsoft.com/office/drawing/2014/main" id="{9A26EE7F-A4DF-42D4-BDA3-9AE7808EFCB4}"/>
              </a:ext>
            </a:extLst>
          </p:cNvPr>
          <p:cNvSpPr/>
          <p:nvPr/>
        </p:nvSpPr>
        <p:spPr>
          <a:xfrm>
            <a:off x="4056733" y="2448893"/>
            <a:ext cx="67847" cy="267719"/>
          </a:xfrm>
          <a:custGeom>
            <a:avLst/>
            <a:gdLst/>
            <a:ahLst/>
            <a:cxnLst/>
            <a:rect l="0" t="0" r="0" b="0"/>
            <a:pathLst>
              <a:path>
                <a:moveTo>
                  <a:pt x="45720" y="0"/>
                </a:moveTo>
                <a:lnTo>
                  <a:pt x="45720" y="357183"/>
                </a:lnTo>
              </a:path>
            </a:pathLst>
          </a:custGeom>
          <a:noFill/>
        </p:spPr>
        <p:style>
          <a:lnRef idx="1">
            <a:schemeClr val="accent6">
              <a:hueOff val="0"/>
              <a:satOff val="0"/>
              <a:lumOff val="0"/>
              <a:alphaOff val="0"/>
            </a:schemeClr>
          </a:lnRef>
          <a:fillRef idx="0">
            <a:scrgbClr r="0" g="0" b="0"/>
          </a:fillRef>
          <a:effectRef idx="0">
            <a:schemeClr val="accent4">
              <a:tint val="70000"/>
              <a:hueOff val="0"/>
              <a:satOff val="0"/>
              <a:lumOff val="0"/>
              <a:alphaOff val="0"/>
            </a:schemeClr>
          </a:effectRef>
          <a:fontRef idx="minor">
            <a:schemeClr val="tx1">
              <a:hueOff val="0"/>
              <a:satOff val="0"/>
              <a:lumOff val="0"/>
              <a:alphaOff val="0"/>
            </a:schemeClr>
          </a:fontRef>
        </p:style>
      </p:sp>
      <p:sp>
        <p:nvSpPr>
          <p:cNvPr id="13" name="Freeform 12">
            <a:extLst>
              <a:ext uri="{FF2B5EF4-FFF2-40B4-BE49-F238E27FC236}">
                <a16:creationId xmlns:a16="http://schemas.microsoft.com/office/drawing/2014/main" id="{6E4379C3-B036-4B40-ACDB-37FC4FC13D1C}"/>
              </a:ext>
            </a:extLst>
          </p:cNvPr>
          <p:cNvSpPr/>
          <p:nvPr/>
        </p:nvSpPr>
        <p:spPr>
          <a:xfrm>
            <a:off x="4090657" y="1596227"/>
            <a:ext cx="1014947" cy="267719"/>
          </a:xfrm>
          <a:custGeom>
            <a:avLst/>
            <a:gdLst/>
            <a:ahLst/>
            <a:cxnLst/>
            <a:rect l="0" t="0" r="0" b="0"/>
            <a:pathLst>
              <a:path>
                <a:moveTo>
                  <a:pt x="1354233" y="0"/>
                </a:moveTo>
                <a:lnTo>
                  <a:pt x="1354233" y="243410"/>
                </a:lnTo>
                <a:lnTo>
                  <a:pt x="0" y="243410"/>
                </a:lnTo>
                <a:lnTo>
                  <a:pt x="0" y="357183"/>
                </a:lnTo>
              </a:path>
            </a:pathLst>
          </a:custGeom>
          <a:noFill/>
        </p:spPr>
        <p:style>
          <a:lnRef idx="1">
            <a:schemeClr val="accent5">
              <a:hueOff val="0"/>
              <a:satOff val="0"/>
              <a:lumOff val="0"/>
              <a:alphaOff val="0"/>
            </a:schemeClr>
          </a:lnRef>
          <a:fillRef idx="0">
            <a:scrgbClr r="0" g="0" b="0"/>
          </a:fillRef>
          <a:effectRef idx="0">
            <a:schemeClr val="accent4">
              <a:tint val="90000"/>
              <a:hueOff val="0"/>
              <a:satOff val="0"/>
              <a:lumOff val="0"/>
              <a:alphaOff val="0"/>
            </a:schemeClr>
          </a:effectRef>
          <a:fontRef idx="minor">
            <a:schemeClr val="tx1">
              <a:hueOff val="0"/>
              <a:satOff val="0"/>
              <a:lumOff val="0"/>
              <a:alphaOff val="0"/>
            </a:schemeClr>
          </a:fontRef>
        </p:style>
      </p:sp>
      <p:sp>
        <p:nvSpPr>
          <p:cNvPr id="14" name="Rounded Rectangle 13">
            <a:extLst>
              <a:ext uri="{FF2B5EF4-FFF2-40B4-BE49-F238E27FC236}">
                <a16:creationId xmlns:a16="http://schemas.microsoft.com/office/drawing/2014/main" id="{798F4759-AA75-4083-860E-DE71D7516CA4}"/>
              </a:ext>
            </a:extLst>
          </p:cNvPr>
          <p:cNvSpPr/>
          <p:nvPr/>
        </p:nvSpPr>
        <p:spPr>
          <a:xfrm>
            <a:off x="3171978" y="1012197"/>
            <a:ext cx="3868168" cy="584031"/>
          </a:xfrm>
          <a:prstGeom prst="roundRect">
            <a:avLst>
              <a:gd name="adj" fmla="val 10000"/>
            </a:avLst>
          </a:prstGeom>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15" name="Freeform 14">
            <a:extLst>
              <a:ext uri="{FF2B5EF4-FFF2-40B4-BE49-F238E27FC236}">
                <a16:creationId xmlns:a16="http://schemas.microsoft.com/office/drawing/2014/main" id="{F201919A-5246-449D-94FB-0F71762861CB}"/>
              </a:ext>
            </a:extLst>
          </p:cNvPr>
          <p:cNvSpPr/>
          <p:nvPr/>
        </p:nvSpPr>
        <p:spPr>
          <a:xfrm>
            <a:off x="3274665" y="1109382"/>
            <a:ext cx="3867252" cy="584031"/>
          </a:xfrm>
          <a:custGeom>
            <a:avLst/>
            <a:gdLst>
              <a:gd name="connsiteX0" fmla="*/ 0 w 5159963"/>
              <a:gd name="connsiteY0" fmla="*/ 77987 h 779868"/>
              <a:gd name="connsiteX1" fmla="*/ 77987 w 5159963"/>
              <a:gd name="connsiteY1" fmla="*/ 0 h 779868"/>
              <a:gd name="connsiteX2" fmla="*/ 5081976 w 5159963"/>
              <a:gd name="connsiteY2" fmla="*/ 0 h 779868"/>
              <a:gd name="connsiteX3" fmla="*/ 5159963 w 5159963"/>
              <a:gd name="connsiteY3" fmla="*/ 77987 h 779868"/>
              <a:gd name="connsiteX4" fmla="*/ 5159963 w 5159963"/>
              <a:gd name="connsiteY4" fmla="*/ 701881 h 779868"/>
              <a:gd name="connsiteX5" fmla="*/ 5081976 w 5159963"/>
              <a:gd name="connsiteY5" fmla="*/ 779868 h 779868"/>
              <a:gd name="connsiteX6" fmla="*/ 77987 w 5159963"/>
              <a:gd name="connsiteY6" fmla="*/ 779868 h 779868"/>
              <a:gd name="connsiteX7" fmla="*/ 0 w 5159963"/>
              <a:gd name="connsiteY7" fmla="*/ 701881 h 779868"/>
              <a:gd name="connsiteX8" fmla="*/ 0 w 5159963"/>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59963" h="779868">
                <a:moveTo>
                  <a:pt x="0" y="77987"/>
                </a:moveTo>
                <a:cubicBezTo>
                  <a:pt x="0" y="34916"/>
                  <a:pt x="34916" y="0"/>
                  <a:pt x="77987" y="0"/>
                </a:cubicBezTo>
                <a:lnTo>
                  <a:pt x="5081976" y="0"/>
                </a:lnTo>
                <a:cubicBezTo>
                  <a:pt x="5125047" y="0"/>
                  <a:pt x="5159963" y="34916"/>
                  <a:pt x="5159963" y="77987"/>
                </a:cubicBezTo>
                <a:lnTo>
                  <a:pt x="5159963" y="701881"/>
                </a:lnTo>
                <a:cubicBezTo>
                  <a:pt x="5159963" y="744952"/>
                  <a:pt x="5125047" y="779868"/>
                  <a:pt x="5081976" y="779868"/>
                </a:cubicBezTo>
                <a:lnTo>
                  <a:pt x="77987" y="779868"/>
                </a:lnTo>
                <a:cubicBezTo>
                  <a:pt x="34916" y="779868"/>
                  <a:pt x="0" y="744952"/>
                  <a:pt x="0" y="701881"/>
                </a:cubicBezTo>
                <a:lnTo>
                  <a:pt x="0" y="77987"/>
                </a:lnTo>
                <a:close/>
              </a:path>
            </a:pathLst>
          </a:custGeom>
        </p:spPr>
        <p:style>
          <a:lnRef idx="1">
            <a:schemeClr val="accent3">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စိိုးရိမ္ေသာအေၾကာင္းအရာ</a:t>
            </a:r>
            <a:endParaRPr lang="en-US" sz="1349" b="1" dirty="0">
              <a:solidFill>
                <a:schemeClr val="accent6">
                  <a:lumMod val="50000"/>
                </a:schemeClr>
              </a:solidFill>
              <a:latin typeface="Zawgyi-One" panose="020B0604030504040204" pitchFamily="34" charset="0"/>
              <a:cs typeface="Zawgyi-One" panose="020B0604030504040204" pitchFamily="34" charset="0"/>
            </a:endParaRPr>
          </a:p>
          <a:p>
            <a:pPr algn="ctr" defTabSz="599705">
              <a:lnSpc>
                <a:spcPct val="90000"/>
              </a:lnSpc>
              <a:spcAft>
                <a:spcPct val="35000"/>
              </a:spcAft>
              <a:defRPr/>
            </a:pPr>
            <a:r>
              <a:rPr lang="en-US" sz="1349" b="1" dirty="0">
                <a:solidFill>
                  <a:schemeClr val="accent6">
                    <a:lumMod val="50000"/>
                  </a:schemeClr>
                </a:solidFill>
                <a:latin typeface="Zawgyi-One" panose="020B0604030504040204" pitchFamily="34" charset="0"/>
                <a:cs typeface="Zawgyi-One" panose="020B0604030504040204" pitchFamily="34" charset="0"/>
              </a:rPr>
              <a:t>- </a:t>
            </a:r>
            <a:r>
              <a:rPr lang="en-US" sz="1349" b="1" dirty="0" err="1">
                <a:solidFill>
                  <a:schemeClr val="accent6">
                    <a:lumMod val="50000"/>
                  </a:schemeClr>
                </a:solidFill>
                <a:latin typeface="Zawgyi-One" panose="020B0604030504040204" pitchFamily="34" charset="0"/>
                <a:cs typeface="Zawgyi-One" panose="020B0604030504040204" pitchFamily="34" charset="0"/>
              </a:rPr>
              <a:t>ကို္ယ္ေျဖရွင္းလို႔ရနိုင္သလား</a:t>
            </a:r>
            <a:r>
              <a:rPr lang="en-US" sz="1349" b="1" dirty="0">
                <a:solidFill>
                  <a:schemeClr val="accent6">
                    <a:lumMod val="50000"/>
                  </a:schemeClr>
                </a:solidFill>
                <a:latin typeface="Zawgyi-One" panose="020B0604030504040204" pitchFamily="34" charset="0"/>
                <a:cs typeface="Zawgyi-One" panose="020B0604030504040204" pitchFamily="34" charset="0"/>
              </a:rPr>
              <a:t> </a:t>
            </a:r>
          </a:p>
        </p:txBody>
      </p:sp>
      <p:sp>
        <p:nvSpPr>
          <p:cNvPr id="16" name="Rounded Rectangle 15">
            <a:extLst>
              <a:ext uri="{FF2B5EF4-FFF2-40B4-BE49-F238E27FC236}">
                <a16:creationId xmlns:a16="http://schemas.microsoft.com/office/drawing/2014/main" id="{64981CC1-89A5-430B-A013-BF2704404E4E}"/>
              </a:ext>
            </a:extLst>
          </p:cNvPr>
          <p:cNvSpPr/>
          <p:nvPr/>
        </p:nvSpPr>
        <p:spPr>
          <a:xfrm>
            <a:off x="3224238" y="1863946"/>
            <a:ext cx="1732837" cy="584947"/>
          </a:xfrm>
          <a:prstGeom prst="roundRect">
            <a:avLst>
              <a:gd name="adj" fmla="val 10000"/>
            </a:avLst>
          </a:prstGeom>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17" name="Freeform 16">
            <a:extLst>
              <a:ext uri="{FF2B5EF4-FFF2-40B4-BE49-F238E27FC236}">
                <a16:creationId xmlns:a16="http://schemas.microsoft.com/office/drawing/2014/main" id="{5818E46C-CC51-4805-99A3-892E8784BADA}"/>
              </a:ext>
            </a:extLst>
          </p:cNvPr>
          <p:cNvSpPr/>
          <p:nvPr/>
        </p:nvSpPr>
        <p:spPr>
          <a:xfrm>
            <a:off x="3326925" y="1961132"/>
            <a:ext cx="1732837" cy="584947"/>
          </a:xfrm>
          <a:custGeom>
            <a:avLst/>
            <a:gdLst>
              <a:gd name="connsiteX0" fmla="*/ 0 w 2311995"/>
              <a:gd name="connsiteY0" fmla="*/ 77987 h 779868"/>
              <a:gd name="connsiteX1" fmla="*/ 77987 w 2311995"/>
              <a:gd name="connsiteY1" fmla="*/ 0 h 779868"/>
              <a:gd name="connsiteX2" fmla="*/ 2234008 w 2311995"/>
              <a:gd name="connsiteY2" fmla="*/ 0 h 779868"/>
              <a:gd name="connsiteX3" fmla="*/ 2311995 w 2311995"/>
              <a:gd name="connsiteY3" fmla="*/ 77987 h 779868"/>
              <a:gd name="connsiteX4" fmla="*/ 2311995 w 2311995"/>
              <a:gd name="connsiteY4" fmla="*/ 701881 h 779868"/>
              <a:gd name="connsiteX5" fmla="*/ 2234008 w 2311995"/>
              <a:gd name="connsiteY5" fmla="*/ 779868 h 779868"/>
              <a:gd name="connsiteX6" fmla="*/ 77987 w 2311995"/>
              <a:gd name="connsiteY6" fmla="*/ 779868 h 779868"/>
              <a:gd name="connsiteX7" fmla="*/ 0 w 2311995"/>
              <a:gd name="connsiteY7" fmla="*/ 701881 h 779868"/>
              <a:gd name="connsiteX8" fmla="*/ 0 w 2311995"/>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1995" h="779868">
                <a:moveTo>
                  <a:pt x="0" y="77987"/>
                </a:moveTo>
                <a:cubicBezTo>
                  <a:pt x="0" y="34916"/>
                  <a:pt x="34916" y="0"/>
                  <a:pt x="77987" y="0"/>
                </a:cubicBezTo>
                <a:lnTo>
                  <a:pt x="2234008" y="0"/>
                </a:lnTo>
                <a:cubicBezTo>
                  <a:pt x="2277079" y="0"/>
                  <a:pt x="2311995" y="34916"/>
                  <a:pt x="2311995" y="77987"/>
                </a:cubicBezTo>
                <a:lnTo>
                  <a:pt x="2311995" y="701881"/>
                </a:lnTo>
                <a:cubicBezTo>
                  <a:pt x="2311995" y="744952"/>
                  <a:pt x="2277079" y="779868"/>
                  <a:pt x="2234008" y="779868"/>
                </a:cubicBezTo>
                <a:lnTo>
                  <a:pt x="77987" y="779868"/>
                </a:lnTo>
                <a:cubicBezTo>
                  <a:pt x="34916" y="779868"/>
                  <a:pt x="0" y="744952"/>
                  <a:pt x="0" y="701881"/>
                </a:cubicBezTo>
                <a:lnTo>
                  <a:pt x="0" y="77987"/>
                </a:lnTo>
                <a:close/>
              </a:path>
            </a:pathLst>
          </a:custGeom>
        </p:spPr>
        <p:style>
          <a:lnRef idx="1">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ဖရွင္းနိုင္တယ</a:t>
            </a:r>
            <a:r>
              <a:rPr lang="en-US" sz="1349" b="1" dirty="0">
                <a:solidFill>
                  <a:schemeClr val="accent6">
                    <a:lumMod val="50000"/>
                  </a:schemeClr>
                </a:solidFill>
                <a:latin typeface="Zawgyi-One" panose="020B0604030504040204" pitchFamily="34" charset="0"/>
                <a:cs typeface="Zawgyi-One" panose="020B0604030504040204" pitchFamily="34" charset="0"/>
              </a:rPr>
              <a:t>္</a:t>
            </a:r>
          </a:p>
        </p:txBody>
      </p:sp>
      <p:sp>
        <p:nvSpPr>
          <p:cNvPr id="18" name="Rounded Rectangle 17">
            <a:extLst>
              <a:ext uri="{FF2B5EF4-FFF2-40B4-BE49-F238E27FC236}">
                <a16:creationId xmlns:a16="http://schemas.microsoft.com/office/drawing/2014/main" id="{AAF49F23-4460-4F8F-AA5E-D7983408F638}"/>
              </a:ext>
            </a:extLst>
          </p:cNvPr>
          <p:cNvSpPr/>
          <p:nvPr/>
        </p:nvSpPr>
        <p:spPr>
          <a:xfrm>
            <a:off x="3224238" y="2716612"/>
            <a:ext cx="1732837" cy="584030"/>
          </a:xfrm>
          <a:prstGeom prst="roundRect">
            <a:avLst>
              <a:gd name="adj" fmla="val 10000"/>
            </a:avLst>
          </a:prstGeom>
        </p:spPr>
        <p:style>
          <a:lnRef idx="0">
            <a:schemeClr val="lt1">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sp>
      <p:sp>
        <p:nvSpPr>
          <p:cNvPr id="19" name="Freeform 18">
            <a:extLst>
              <a:ext uri="{FF2B5EF4-FFF2-40B4-BE49-F238E27FC236}">
                <a16:creationId xmlns:a16="http://schemas.microsoft.com/office/drawing/2014/main" id="{69F6ECD7-90F9-437B-ADED-9CE6635F2B81}"/>
              </a:ext>
            </a:extLst>
          </p:cNvPr>
          <p:cNvSpPr/>
          <p:nvPr/>
        </p:nvSpPr>
        <p:spPr>
          <a:xfrm>
            <a:off x="3326925" y="2813798"/>
            <a:ext cx="1732837" cy="584030"/>
          </a:xfrm>
          <a:custGeom>
            <a:avLst/>
            <a:gdLst>
              <a:gd name="connsiteX0" fmla="*/ 0 w 2311995"/>
              <a:gd name="connsiteY0" fmla="*/ 77987 h 779868"/>
              <a:gd name="connsiteX1" fmla="*/ 77987 w 2311995"/>
              <a:gd name="connsiteY1" fmla="*/ 0 h 779868"/>
              <a:gd name="connsiteX2" fmla="*/ 2234008 w 2311995"/>
              <a:gd name="connsiteY2" fmla="*/ 0 h 779868"/>
              <a:gd name="connsiteX3" fmla="*/ 2311995 w 2311995"/>
              <a:gd name="connsiteY3" fmla="*/ 77987 h 779868"/>
              <a:gd name="connsiteX4" fmla="*/ 2311995 w 2311995"/>
              <a:gd name="connsiteY4" fmla="*/ 701881 h 779868"/>
              <a:gd name="connsiteX5" fmla="*/ 2234008 w 2311995"/>
              <a:gd name="connsiteY5" fmla="*/ 779868 h 779868"/>
              <a:gd name="connsiteX6" fmla="*/ 77987 w 2311995"/>
              <a:gd name="connsiteY6" fmla="*/ 779868 h 779868"/>
              <a:gd name="connsiteX7" fmla="*/ 0 w 2311995"/>
              <a:gd name="connsiteY7" fmla="*/ 701881 h 779868"/>
              <a:gd name="connsiteX8" fmla="*/ 0 w 2311995"/>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1995" h="779868">
                <a:moveTo>
                  <a:pt x="0" y="77987"/>
                </a:moveTo>
                <a:cubicBezTo>
                  <a:pt x="0" y="34916"/>
                  <a:pt x="34916" y="0"/>
                  <a:pt x="77987" y="0"/>
                </a:cubicBezTo>
                <a:lnTo>
                  <a:pt x="2234008" y="0"/>
                </a:lnTo>
                <a:cubicBezTo>
                  <a:pt x="2277079" y="0"/>
                  <a:pt x="2311995" y="34916"/>
                  <a:pt x="2311995" y="77987"/>
                </a:cubicBezTo>
                <a:lnTo>
                  <a:pt x="2311995" y="701881"/>
                </a:lnTo>
                <a:cubicBezTo>
                  <a:pt x="2311995" y="744952"/>
                  <a:pt x="2277079" y="779868"/>
                  <a:pt x="2234008" y="779868"/>
                </a:cubicBezTo>
                <a:lnTo>
                  <a:pt x="77987" y="779868"/>
                </a:lnTo>
                <a:cubicBezTo>
                  <a:pt x="34916" y="779868"/>
                  <a:pt x="0" y="744952"/>
                  <a:pt x="0" y="701881"/>
                </a:cubicBezTo>
                <a:lnTo>
                  <a:pt x="0" y="77987"/>
                </a:lnTo>
                <a:close/>
              </a:path>
            </a:pathLst>
          </a:custGeom>
        </p:spPr>
        <p:style>
          <a:lnRef idx="1">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စာရင္းျပဳစု</a:t>
            </a:r>
            <a:endParaRPr lang="en-US" sz="1349" b="1" dirty="0">
              <a:solidFill>
                <a:schemeClr val="accent6">
                  <a:lumMod val="50000"/>
                </a:schemeClr>
              </a:solidFill>
              <a:latin typeface="Zawgyi-One" panose="020B0604030504040204" pitchFamily="34" charset="0"/>
              <a:cs typeface="Zawgyi-One" panose="020B0604030504040204" pitchFamily="34" charset="0"/>
            </a:endParaRPr>
          </a:p>
        </p:txBody>
      </p:sp>
      <p:sp>
        <p:nvSpPr>
          <p:cNvPr id="20" name="Rounded Rectangle 19">
            <a:extLst>
              <a:ext uri="{FF2B5EF4-FFF2-40B4-BE49-F238E27FC236}">
                <a16:creationId xmlns:a16="http://schemas.microsoft.com/office/drawing/2014/main" id="{F65C933E-3BB7-48B2-B689-EAA2EF311351}"/>
              </a:ext>
            </a:extLst>
          </p:cNvPr>
          <p:cNvSpPr/>
          <p:nvPr/>
        </p:nvSpPr>
        <p:spPr>
          <a:xfrm>
            <a:off x="2173534" y="3568361"/>
            <a:ext cx="1815353" cy="584947"/>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1" name="Freeform 20">
            <a:extLst>
              <a:ext uri="{FF2B5EF4-FFF2-40B4-BE49-F238E27FC236}">
                <a16:creationId xmlns:a16="http://schemas.microsoft.com/office/drawing/2014/main" id="{3AC8423D-78E9-4666-A8CE-8942F1540015}"/>
              </a:ext>
            </a:extLst>
          </p:cNvPr>
          <p:cNvSpPr/>
          <p:nvPr/>
        </p:nvSpPr>
        <p:spPr>
          <a:xfrm>
            <a:off x="2275304" y="3665546"/>
            <a:ext cx="1815353" cy="584947"/>
          </a:xfrm>
          <a:custGeom>
            <a:avLst/>
            <a:gdLst>
              <a:gd name="connsiteX0" fmla="*/ 0 w 2421398"/>
              <a:gd name="connsiteY0" fmla="*/ 77987 h 779868"/>
              <a:gd name="connsiteX1" fmla="*/ 77987 w 2421398"/>
              <a:gd name="connsiteY1" fmla="*/ 0 h 779868"/>
              <a:gd name="connsiteX2" fmla="*/ 2343411 w 2421398"/>
              <a:gd name="connsiteY2" fmla="*/ 0 h 779868"/>
              <a:gd name="connsiteX3" fmla="*/ 2421398 w 2421398"/>
              <a:gd name="connsiteY3" fmla="*/ 77987 h 779868"/>
              <a:gd name="connsiteX4" fmla="*/ 2421398 w 2421398"/>
              <a:gd name="connsiteY4" fmla="*/ 701881 h 779868"/>
              <a:gd name="connsiteX5" fmla="*/ 2343411 w 2421398"/>
              <a:gd name="connsiteY5" fmla="*/ 779868 h 779868"/>
              <a:gd name="connsiteX6" fmla="*/ 77987 w 2421398"/>
              <a:gd name="connsiteY6" fmla="*/ 779868 h 779868"/>
              <a:gd name="connsiteX7" fmla="*/ 0 w 2421398"/>
              <a:gd name="connsiteY7" fmla="*/ 701881 h 779868"/>
              <a:gd name="connsiteX8" fmla="*/ 0 w 2421398"/>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1398" h="779868">
                <a:moveTo>
                  <a:pt x="0" y="77987"/>
                </a:moveTo>
                <a:cubicBezTo>
                  <a:pt x="0" y="34916"/>
                  <a:pt x="34916" y="0"/>
                  <a:pt x="77987" y="0"/>
                </a:cubicBezTo>
                <a:lnTo>
                  <a:pt x="2343411" y="0"/>
                </a:lnTo>
                <a:cubicBezTo>
                  <a:pt x="2386482" y="0"/>
                  <a:pt x="2421398" y="34916"/>
                  <a:pt x="2421398" y="77987"/>
                </a:cubicBezTo>
                <a:lnTo>
                  <a:pt x="2421398" y="701881"/>
                </a:lnTo>
                <a:cubicBezTo>
                  <a:pt x="2421398" y="744952"/>
                  <a:pt x="2386482" y="779868"/>
                  <a:pt x="2343411" y="779868"/>
                </a:cubicBezTo>
                <a:lnTo>
                  <a:pt x="77987" y="779868"/>
                </a:lnTo>
                <a:cubicBezTo>
                  <a:pt x="34916" y="779868"/>
                  <a:pt x="0" y="744952"/>
                  <a:pt x="0" y="701881"/>
                </a:cubicBezTo>
                <a:lnTo>
                  <a:pt x="0" y="77987"/>
                </a:lnTo>
                <a:close/>
              </a:path>
            </a:pathLst>
          </a:custGeom>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ခုလုပ္လို႔ရတယ</a:t>
            </a:r>
            <a:r>
              <a:rPr lang="en-US" sz="1349" b="1" dirty="0">
                <a:solidFill>
                  <a:schemeClr val="accent6">
                    <a:lumMod val="50000"/>
                  </a:schemeClr>
                </a:solidFill>
                <a:latin typeface="Zawgyi-One" panose="020B0604030504040204" pitchFamily="34" charset="0"/>
                <a:cs typeface="Zawgyi-One" panose="020B0604030504040204" pitchFamily="34" charset="0"/>
              </a:rPr>
              <a:t>္</a:t>
            </a:r>
          </a:p>
        </p:txBody>
      </p:sp>
      <p:sp>
        <p:nvSpPr>
          <p:cNvPr id="22" name="Rounded Rectangle 21">
            <a:extLst>
              <a:ext uri="{FF2B5EF4-FFF2-40B4-BE49-F238E27FC236}">
                <a16:creationId xmlns:a16="http://schemas.microsoft.com/office/drawing/2014/main" id="{2D5F8F63-4EDD-4528-81FD-D7EE8E0BEF91}"/>
              </a:ext>
            </a:extLst>
          </p:cNvPr>
          <p:cNvSpPr/>
          <p:nvPr/>
        </p:nvSpPr>
        <p:spPr>
          <a:xfrm>
            <a:off x="2173534" y="4421027"/>
            <a:ext cx="1815353" cy="584947"/>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3" name="Freeform 22">
            <a:extLst>
              <a:ext uri="{FF2B5EF4-FFF2-40B4-BE49-F238E27FC236}">
                <a16:creationId xmlns:a16="http://schemas.microsoft.com/office/drawing/2014/main" id="{4AA5046C-8DBA-4858-B0D0-3F1F09A14337}"/>
              </a:ext>
            </a:extLst>
          </p:cNvPr>
          <p:cNvSpPr/>
          <p:nvPr/>
        </p:nvSpPr>
        <p:spPr>
          <a:xfrm>
            <a:off x="2275304" y="4518212"/>
            <a:ext cx="1815353" cy="584947"/>
          </a:xfrm>
          <a:custGeom>
            <a:avLst/>
            <a:gdLst>
              <a:gd name="connsiteX0" fmla="*/ 0 w 2421398"/>
              <a:gd name="connsiteY0" fmla="*/ 77987 h 779868"/>
              <a:gd name="connsiteX1" fmla="*/ 77987 w 2421398"/>
              <a:gd name="connsiteY1" fmla="*/ 0 h 779868"/>
              <a:gd name="connsiteX2" fmla="*/ 2343411 w 2421398"/>
              <a:gd name="connsiteY2" fmla="*/ 0 h 779868"/>
              <a:gd name="connsiteX3" fmla="*/ 2421398 w 2421398"/>
              <a:gd name="connsiteY3" fmla="*/ 77987 h 779868"/>
              <a:gd name="connsiteX4" fmla="*/ 2421398 w 2421398"/>
              <a:gd name="connsiteY4" fmla="*/ 701881 h 779868"/>
              <a:gd name="connsiteX5" fmla="*/ 2343411 w 2421398"/>
              <a:gd name="connsiteY5" fmla="*/ 779868 h 779868"/>
              <a:gd name="connsiteX6" fmla="*/ 77987 w 2421398"/>
              <a:gd name="connsiteY6" fmla="*/ 779868 h 779868"/>
              <a:gd name="connsiteX7" fmla="*/ 0 w 2421398"/>
              <a:gd name="connsiteY7" fmla="*/ 701881 h 779868"/>
              <a:gd name="connsiteX8" fmla="*/ 0 w 2421398"/>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1398" h="779868">
                <a:moveTo>
                  <a:pt x="0" y="77987"/>
                </a:moveTo>
                <a:cubicBezTo>
                  <a:pt x="0" y="34916"/>
                  <a:pt x="34916" y="0"/>
                  <a:pt x="77987" y="0"/>
                </a:cubicBezTo>
                <a:lnTo>
                  <a:pt x="2343411" y="0"/>
                </a:lnTo>
                <a:cubicBezTo>
                  <a:pt x="2386482" y="0"/>
                  <a:pt x="2421398" y="34916"/>
                  <a:pt x="2421398" y="77987"/>
                </a:cubicBezTo>
                <a:lnTo>
                  <a:pt x="2421398" y="701881"/>
                </a:lnTo>
                <a:cubicBezTo>
                  <a:pt x="2421398" y="744952"/>
                  <a:pt x="2386482" y="779868"/>
                  <a:pt x="2343411" y="779868"/>
                </a:cubicBezTo>
                <a:lnTo>
                  <a:pt x="77987" y="779868"/>
                </a:lnTo>
                <a:cubicBezTo>
                  <a:pt x="34916" y="779868"/>
                  <a:pt x="0" y="744952"/>
                  <a:pt x="0" y="701881"/>
                </a:cubicBezTo>
                <a:lnTo>
                  <a:pt x="0" y="77987"/>
                </a:lnTo>
                <a:close/>
              </a:path>
            </a:pathLst>
          </a:custGeom>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လုပ္စရာရိွတာလုပ</a:t>
            </a:r>
            <a:r>
              <a:rPr lang="en-US" sz="1349" b="1" dirty="0">
                <a:solidFill>
                  <a:schemeClr val="accent6">
                    <a:lumMod val="50000"/>
                  </a:schemeClr>
                </a:solidFill>
                <a:latin typeface="Zawgyi-One" panose="020B0604030504040204" pitchFamily="34" charset="0"/>
                <a:cs typeface="Zawgyi-One" panose="020B0604030504040204" pitchFamily="34" charset="0"/>
              </a:rPr>
              <a:t>္</a:t>
            </a:r>
          </a:p>
        </p:txBody>
      </p:sp>
      <p:sp>
        <p:nvSpPr>
          <p:cNvPr id="24" name="Rounded Rectangle 23">
            <a:extLst>
              <a:ext uri="{FF2B5EF4-FFF2-40B4-BE49-F238E27FC236}">
                <a16:creationId xmlns:a16="http://schemas.microsoft.com/office/drawing/2014/main" id="{C4F09F62-5EDA-4EAA-B4D6-024FBC25E79F}"/>
              </a:ext>
            </a:extLst>
          </p:cNvPr>
          <p:cNvSpPr/>
          <p:nvPr/>
        </p:nvSpPr>
        <p:spPr>
          <a:xfrm>
            <a:off x="4193343" y="3568361"/>
            <a:ext cx="1814436" cy="584947"/>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5" name="Freeform 24">
            <a:extLst>
              <a:ext uri="{FF2B5EF4-FFF2-40B4-BE49-F238E27FC236}">
                <a16:creationId xmlns:a16="http://schemas.microsoft.com/office/drawing/2014/main" id="{4EE85E29-54B3-4F05-A922-BD4E8EAF48BA}"/>
              </a:ext>
            </a:extLst>
          </p:cNvPr>
          <p:cNvSpPr/>
          <p:nvPr/>
        </p:nvSpPr>
        <p:spPr>
          <a:xfrm>
            <a:off x="4295113" y="3665546"/>
            <a:ext cx="1815353" cy="584947"/>
          </a:xfrm>
          <a:custGeom>
            <a:avLst/>
            <a:gdLst>
              <a:gd name="connsiteX0" fmla="*/ 0 w 2421398"/>
              <a:gd name="connsiteY0" fmla="*/ 77987 h 779868"/>
              <a:gd name="connsiteX1" fmla="*/ 77987 w 2421398"/>
              <a:gd name="connsiteY1" fmla="*/ 0 h 779868"/>
              <a:gd name="connsiteX2" fmla="*/ 2343411 w 2421398"/>
              <a:gd name="connsiteY2" fmla="*/ 0 h 779868"/>
              <a:gd name="connsiteX3" fmla="*/ 2421398 w 2421398"/>
              <a:gd name="connsiteY3" fmla="*/ 77987 h 779868"/>
              <a:gd name="connsiteX4" fmla="*/ 2421398 w 2421398"/>
              <a:gd name="connsiteY4" fmla="*/ 701881 h 779868"/>
              <a:gd name="connsiteX5" fmla="*/ 2343411 w 2421398"/>
              <a:gd name="connsiteY5" fmla="*/ 779868 h 779868"/>
              <a:gd name="connsiteX6" fmla="*/ 77987 w 2421398"/>
              <a:gd name="connsiteY6" fmla="*/ 779868 h 779868"/>
              <a:gd name="connsiteX7" fmla="*/ 0 w 2421398"/>
              <a:gd name="connsiteY7" fmla="*/ 701881 h 779868"/>
              <a:gd name="connsiteX8" fmla="*/ 0 w 2421398"/>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1398" h="779868">
                <a:moveTo>
                  <a:pt x="0" y="77987"/>
                </a:moveTo>
                <a:cubicBezTo>
                  <a:pt x="0" y="34916"/>
                  <a:pt x="34916" y="0"/>
                  <a:pt x="77987" y="0"/>
                </a:cubicBezTo>
                <a:lnTo>
                  <a:pt x="2343411" y="0"/>
                </a:lnTo>
                <a:cubicBezTo>
                  <a:pt x="2386482" y="0"/>
                  <a:pt x="2421398" y="34916"/>
                  <a:pt x="2421398" y="77987"/>
                </a:cubicBezTo>
                <a:lnTo>
                  <a:pt x="2421398" y="701881"/>
                </a:lnTo>
                <a:cubicBezTo>
                  <a:pt x="2421398" y="744952"/>
                  <a:pt x="2386482" y="779868"/>
                  <a:pt x="2343411" y="779868"/>
                </a:cubicBezTo>
                <a:lnTo>
                  <a:pt x="77987" y="779868"/>
                </a:lnTo>
                <a:cubicBezTo>
                  <a:pt x="34916" y="779868"/>
                  <a:pt x="0" y="744952"/>
                  <a:pt x="0" y="701881"/>
                </a:cubicBezTo>
                <a:lnTo>
                  <a:pt x="0" y="77987"/>
                </a:lnTo>
                <a:close/>
              </a:path>
            </a:pathLst>
          </a:custGeom>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ခုလုပ္လို႔မရဘူး</a:t>
            </a:r>
            <a:endParaRPr lang="en-US" sz="1349" b="1" dirty="0">
              <a:solidFill>
                <a:schemeClr val="accent6">
                  <a:lumMod val="50000"/>
                </a:schemeClr>
              </a:solidFill>
              <a:latin typeface="Zawgyi-One" panose="020B0604030504040204" pitchFamily="34" charset="0"/>
              <a:cs typeface="Zawgyi-One" panose="020B0604030504040204" pitchFamily="34" charset="0"/>
            </a:endParaRPr>
          </a:p>
        </p:txBody>
      </p:sp>
      <p:sp>
        <p:nvSpPr>
          <p:cNvPr id="26" name="Rounded Rectangle 25">
            <a:extLst>
              <a:ext uri="{FF2B5EF4-FFF2-40B4-BE49-F238E27FC236}">
                <a16:creationId xmlns:a16="http://schemas.microsoft.com/office/drawing/2014/main" id="{53476642-EC4B-4B4A-9119-71F4F99DB788}"/>
              </a:ext>
            </a:extLst>
          </p:cNvPr>
          <p:cNvSpPr/>
          <p:nvPr/>
        </p:nvSpPr>
        <p:spPr>
          <a:xfrm>
            <a:off x="4193343" y="4421027"/>
            <a:ext cx="1814436" cy="584947"/>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7" name="Freeform 26">
            <a:extLst>
              <a:ext uri="{FF2B5EF4-FFF2-40B4-BE49-F238E27FC236}">
                <a16:creationId xmlns:a16="http://schemas.microsoft.com/office/drawing/2014/main" id="{E63A9F6E-9706-4857-BCB4-0D4F73461186}"/>
              </a:ext>
            </a:extLst>
          </p:cNvPr>
          <p:cNvSpPr/>
          <p:nvPr/>
        </p:nvSpPr>
        <p:spPr>
          <a:xfrm>
            <a:off x="4295113" y="4518212"/>
            <a:ext cx="1815353" cy="584947"/>
          </a:xfrm>
          <a:custGeom>
            <a:avLst/>
            <a:gdLst>
              <a:gd name="connsiteX0" fmla="*/ 0 w 2421398"/>
              <a:gd name="connsiteY0" fmla="*/ 77987 h 779868"/>
              <a:gd name="connsiteX1" fmla="*/ 77987 w 2421398"/>
              <a:gd name="connsiteY1" fmla="*/ 0 h 779868"/>
              <a:gd name="connsiteX2" fmla="*/ 2343411 w 2421398"/>
              <a:gd name="connsiteY2" fmla="*/ 0 h 779868"/>
              <a:gd name="connsiteX3" fmla="*/ 2421398 w 2421398"/>
              <a:gd name="connsiteY3" fmla="*/ 77987 h 779868"/>
              <a:gd name="connsiteX4" fmla="*/ 2421398 w 2421398"/>
              <a:gd name="connsiteY4" fmla="*/ 701881 h 779868"/>
              <a:gd name="connsiteX5" fmla="*/ 2343411 w 2421398"/>
              <a:gd name="connsiteY5" fmla="*/ 779868 h 779868"/>
              <a:gd name="connsiteX6" fmla="*/ 77987 w 2421398"/>
              <a:gd name="connsiteY6" fmla="*/ 779868 h 779868"/>
              <a:gd name="connsiteX7" fmla="*/ 0 w 2421398"/>
              <a:gd name="connsiteY7" fmla="*/ 701881 h 779868"/>
              <a:gd name="connsiteX8" fmla="*/ 0 w 2421398"/>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1398" h="779868">
                <a:moveTo>
                  <a:pt x="0" y="77987"/>
                </a:moveTo>
                <a:cubicBezTo>
                  <a:pt x="0" y="34916"/>
                  <a:pt x="34916" y="0"/>
                  <a:pt x="77987" y="0"/>
                </a:cubicBezTo>
                <a:lnTo>
                  <a:pt x="2343411" y="0"/>
                </a:lnTo>
                <a:cubicBezTo>
                  <a:pt x="2386482" y="0"/>
                  <a:pt x="2421398" y="34916"/>
                  <a:pt x="2421398" y="77987"/>
                </a:cubicBezTo>
                <a:lnTo>
                  <a:pt x="2421398" y="701881"/>
                </a:lnTo>
                <a:cubicBezTo>
                  <a:pt x="2421398" y="744952"/>
                  <a:pt x="2386482" y="779868"/>
                  <a:pt x="2343411" y="779868"/>
                </a:cubicBezTo>
                <a:lnTo>
                  <a:pt x="77987" y="779868"/>
                </a:lnTo>
                <a:cubicBezTo>
                  <a:pt x="34916" y="779868"/>
                  <a:pt x="0" y="744952"/>
                  <a:pt x="0" y="701881"/>
                </a:cubicBezTo>
                <a:lnTo>
                  <a:pt x="0" y="77987"/>
                </a:lnTo>
                <a:close/>
              </a:path>
            </a:pathLst>
          </a:custGeom>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a:solidFill>
                  <a:schemeClr val="accent6">
                    <a:lumMod val="50000"/>
                  </a:schemeClr>
                </a:solidFill>
                <a:latin typeface="Zawgyi-One" panose="020B0604030504040204" pitchFamily="34" charset="0"/>
                <a:cs typeface="Zawgyi-One" panose="020B0604030504040204" pitchFamily="34" charset="0"/>
              </a:rPr>
              <a:t>ၾ</a:t>
            </a:r>
            <a:r>
              <a:rPr lang="en-US" sz="1349" b="1" dirty="0" err="1">
                <a:solidFill>
                  <a:schemeClr val="accent6">
                    <a:lumMod val="50000"/>
                  </a:schemeClr>
                </a:solidFill>
                <a:latin typeface="Zawgyi-One" panose="020B0604030504040204" pitchFamily="34" charset="0"/>
                <a:cs typeface="Zawgyi-One" panose="020B0604030504040204" pitchFamily="34" charset="0"/>
              </a:rPr>
              <a:t>ကိဳတင္အစီအစဥ္ဆြဲ</a:t>
            </a:r>
            <a:endParaRPr lang="en-US" sz="1349" b="1" dirty="0">
              <a:solidFill>
                <a:schemeClr val="accent6">
                  <a:lumMod val="50000"/>
                </a:schemeClr>
              </a:solidFill>
              <a:latin typeface="Zawgyi-One" panose="020B0604030504040204" pitchFamily="34" charset="0"/>
              <a:cs typeface="Zawgyi-One" panose="020B0604030504040204" pitchFamily="34" charset="0"/>
            </a:endParaRPr>
          </a:p>
        </p:txBody>
      </p:sp>
      <p:sp>
        <p:nvSpPr>
          <p:cNvPr id="28" name="Rounded Rectangle 27">
            <a:extLst>
              <a:ext uri="{FF2B5EF4-FFF2-40B4-BE49-F238E27FC236}">
                <a16:creationId xmlns:a16="http://schemas.microsoft.com/office/drawing/2014/main" id="{0E75A3FC-9382-4280-A04A-0D7E0FFDE0C0}"/>
              </a:ext>
            </a:extLst>
          </p:cNvPr>
          <p:cNvSpPr/>
          <p:nvPr/>
        </p:nvSpPr>
        <p:spPr>
          <a:xfrm>
            <a:off x="4109910" y="5273692"/>
            <a:ext cx="1981302" cy="584031"/>
          </a:xfrm>
          <a:prstGeom prst="roundRect">
            <a:avLst>
              <a:gd name="adj" fmla="val 10000"/>
            </a:avLst>
          </a:pr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29" name="Freeform 28">
            <a:extLst>
              <a:ext uri="{FF2B5EF4-FFF2-40B4-BE49-F238E27FC236}">
                <a16:creationId xmlns:a16="http://schemas.microsoft.com/office/drawing/2014/main" id="{FC672A39-4F2F-4652-A5EE-93482CBA61DB}"/>
              </a:ext>
            </a:extLst>
          </p:cNvPr>
          <p:cNvSpPr/>
          <p:nvPr/>
        </p:nvSpPr>
        <p:spPr>
          <a:xfrm>
            <a:off x="4212597" y="5370877"/>
            <a:ext cx="1981302" cy="584031"/>
          </a:xfrm>
          <a:custGeom>
            <a:avLst/>
            <a:gdLst>
              <a:gd name="connsiteX0" fmla="*/ 0 w 2642954"/>
              <a:gd name="connsiteY0" fmla="*/ 77987 h 779868"/>
              <a:gd name="connsiteX1" fmla="*/ 77987 w 2642954"/>
              <a:gd name="connsiteY1" fmla="*/ 0 h 779868"/>
              <a:gd name="connsiteX2" fmla="*/ 2564967 w 2642954"/>
              <a:gd name="connsiteY2" fmla="*/ 0 h 779868"/>
              <a:gd name="connsiteX3" fmla="*/ 2642954 w 2642954"/>
              <a:gd name="connsiteY3" fmla="*/ 77987 h 779868"/>
              <a:gd name="connsiteX4" fmla="*/ 2642954 w 2642954"/>
              <a:gd name="connsiteY4" fmla="*/ 701881 h 779868"/>
              <a:gd name="connsiteX5" fmla="*/ 2564967 w 2642954"/>
              <a:gd name="connsiteY5" fmla="*/ 779868 h 779868"/>
              <a:gd name="connsiteX6" fmla="*/ 77987 w 2642954"/>
              <a:gd name="connsiteY6" fmla="*/ 779868 h 779868"/>
              <a:gd name="connsiteX7" fmla="*/ 0 w 2642954"/>
              <a:gd name="connsiteY7" fmla="*/ 701881 h 779868"/>
              <a:gd name="connsiteX8" fmla="*/ 0 w 2642954"/>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2954" h="779868">
                <a:moveTo>
                  <a:pt x="0" y="77987"/>
                </a:moveTo>
                <a:cubicBezTo>
                  <a:pt x="0" y="34916"/>
                  <a:pt x="34916" y="0"/>
                  <a:pt x="77987" y="0"/>
                </a:cubicBezTo>
                <a:lnTo>
                  <a:pt x="2564967" y="0"/>
                </a:lnTo>
                <a:cubicBezTo>
                  <a:pt x="2608038" y="0"/>
                  <a:pt x="2642954" y="34916"/>
                  <a:pt x="2642954" y="77987"/>
                </a:cubicBezTo>
                <a:lnTo>
                  <a:pt x="2642954" y="701881"/>
                </a:lnTo>
                <a:cubicBezTo>
                  <a:pt x="2642954" y="744952"/>
                  <a:pt x="2608038" y="779868"/>
                  <a:pt x="2564967" y="779868"/>
                </a:cubicBezTo>
                <a:lnTo>
                  <a:pt x="77987" y="779868"/>
                </a:lnTo>
                <a:cubicBezTo>
                  <a:pt x="34916" y="779868"/>
                  <a:pt x="0" y="744952"/>
                  <a:pt x="0" y="701881"/>
                </a:cubicBezTo>
                <a:lnTo>
                  <a:pt x="0" y="77987"/>
                </a:lnTo>
                <a:close/>
              </a:path>
            </a:pathLst>
          </a:custGeom>
        </p:spPr>
        <p:style>
          <a:lnRef idx="1">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စိတ္သက္သာေအာင္လုပ</a:t>
            </a:r>
            <a:r>
              <a:rPr lang="en-US" sz="1349" b="1" dirty="0">
                <a:solidFill>
                  <a:schemeClr val="accent6">
                    <a:lumMod val="50000"/>
                  </a:schemeClr>
                </a:solidFill>
                <a:latin typeface="Zawgyi-One" panose="020B0604030504040204" pitchFamily="34" charset="0"/>
                <a:cs typeface="Zawgyi-One" panose="020B0604030504040204" pitchFamily="34" charset="0"/>
              </a:rPr>
              <a:t>္</a:t>
            </a:r>
          </a:p>
        </p:txBody>
      </p:sp>
      <p:sp>
        <p:nvSpPr>
          <p:cNvPr id="30" name="Rounded Rectangle 29">
            <a:extLst>
              <a:ext uri="{FF2B5EF4-FFF2-40B4-BE49-F238E27FC236}">
                <a16:creationId xmlns:a16="http://schemas.microsoft.com/office/drawing/2014/main" id="{FA852B41-1AA8-446C-9154-3943F3123FFC}"/>
              </a:ext>
            </a:extLst>
          </p:cNvPr>
          <p:cNvSpPr/>
          <p:nvPr/>
        </p:nvSpPr>
        <p:spPr>
          <a:xfrm>
            <a:off x="5254133" y="1863946"/>
            <a:ext cx="1733754" cy="584947"/>
          </a:xfrm>
          <a:prstGeom prst="roundRect">
            <a:avLst>
              <a:gd name="adj" fmla="val 10000"/>
            </a:avLst>
          </a:prstGeom>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sp>
      <p:sp>
        <p:nvSpPr>
          <p:cNvPr id="31" name="Freeform 30">
            <a:extLst>
              <a:ext uri="{FF2B5EF4-FFF2-40B4-BE49-F238E27FC236}">
                <a16:creationId xmlns:a16="http://schemas.microsoft.com/office/drawing/2014/main" id="{D58FE81E-702D-4A75-BC7C-BFD3B8D0129A}"/>
              </a:ext>
            </a:extLst>
          </p:cNvPr>
          <p:cNvSpPr/>
          <p:nvPr/>
        </p:nvSpPr>
        <p:spPr>
          <a:xfrm>
            <a:off x="5356819" y="1961132"/>
            <a:ext cx="1732837" cy="584947"/>
          </a:xfrm>
          <a:custGeom>
            <a:avLst/>
            <a:gdLst>
              <a:gd name="connsiteX0" fmla="*/ 0 w 2311995"/>
              <a:gd name="connsiteY0" fmla="*/ 77987 h 779868"/>
              <a:gd name="connsiteX1" fmla="*/ 77987 w 2311995"/>
              <a:gd name="connsiteY1" fmla="*/ 0 h 779868"/>
              <a:gd name="connsiteX2" fmla="*/ 2234008 w 2311995"/>
              <a:gd name="connsiteY2" fmla="*/ 0 h 779868"/>
              <a:gd name="connsiteX3" fmla="*/ 2311995 w 2311995"/>
              <a:gd name="connsiteY3" fmla="*/ 77987 h 779868"/>
              <a:gd name="connsiteX4" fmla="*/ 2311995 w 2311995"/>
              <a:gd name="connsiteY4" fmla="*/ 701881 h 779868"/>
              <a:gd name="connsiteX5" fmla="*/ 2234008 w 2311995"/>
              <a:gd name="connsiteY5" fmla="*/ 779868 h 779868"/>
              <a:gd name="connsiteX6" fmla="*/ 77987 w 2311995"/>
              <a:gd name="connsiteY6" fmla="*/ 779868 h 779868"/>
              <a:gd name="connsiteX7" fmla="*/ 0 w 2311995"/>
              <a:gd name="connsiteY7" fmla="*/ 701881 h 779868"/>
              <a:gd name="connsiteX8" fmla="*/ 0 w 2311995"/>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1995" h="779868">
                <a:moveTo>
                  <a:pt x="0" y="77987"/>
                </a:moveTo>
                <a:cubicBezTo>
                  <a:pt x="0" y="34916"/>
                  <a:pt x="34916" y="0"/>
                  <a:pt x="77987" y="0"/>
                </a:cubicBezTo>
                <a:lnTo>
                  <a:pt x="2234008" y="0"/>
                </a:lnTo>
                <a:cubicBezTo>
                  <a:pt x="2277079" y="0"/>
                  <a:pt x="2311995" y="34916"/>
                  <a:pt x="2311995" y="77987"/>
                </a:cubicBezTo>
                <a:lnTo>
                  <a:pt x="2311995" y="701881"/>
                </a:lnTo>
                <a:cubicBezTo>
                  <a:pt x="2311995" y="744952"/>
                  <a:pt x="2277079" y="779868"/>
                  <a:pt x="2234008" y="779868"/>
                </a:cubicBezTo>
                <a:lnTo>
                  <a:pt x="77987" y="779868"/>
                </a:lnTo>
                <a:cubicBezTo>
                  <a:pt x="34916" y="779868"/>
                  <a:pt x="0" y="744952"/>
                  <a:pt x="0" y="701881"/>
                </a:cubicBezTo>
                <a:lnTo>
                  <a:pt x="0" y="77987"/>
                </a:lnTo>
                <a:close/>
              </a:path>
            </a:pathLst>
          </a:custGeom>
        </p:spPr>
        <p:style>
          <a:lnRef idx="1">
            <a:schemeClr val="accent5">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မေျဖရွင္းနိုင္ဘူး</a:t>
            </a:r>
            <a:r>
              <a:rPr lang="en-US" sz="1349" b="1" dirty="0">
                <a:solidFill>
                  <a:schemeClr val="accent6">
                    <a:lumMod val="50000"/>
                  </a:schemeClr>
                </a:solidFill>
                <a:latin typeface="Zawgyi-One" panose="020B0604030504040204" pitchFamily="34" charset="0"/>
                <a:cs typeface="Zawgyi-One" panose="020B0604030504040204" pitchFamily="34" charset="0"/>
              </a:rPr>
              <a:t> </a:t>
            </a:r>
          </a:p>
        </p:txBody>
      </p:sp>
      <p:sp>
        <p:nvSpPr>
          <p:cNvPr id="32" name="Rounded Rectangle 31">
            <a:extLst>
              <a:ext uri="{FF2B5EF4-FFF2-40B4-BE49-F238E27FC236}">
                <a16:creationId xmlns:a16="http://schemas.microsoft.com/office/drawing/2014/main" id="{D6413D85-BEFB-4CB7-98C8-C28E3F660CE1}"/>
              </a:ext>
            </a:extLst>
          </p:cNvPr>
          <p:cNvSpPr/>
          <p:nvPr/>
        </p:nvSpPr>
        <p:spPr>
          <a:xfrm>
            <a:off x="5161532" y="2716612"/>
            <a:ext cx="1918956" cy="584030"/>
          </a:xfrm>
          <a:prstGeom prst="roundRect">
            <a:avLst>
              <a:gd name="adj" fmla="val 10000"/>
            </a:avLst>
          </a:prstGeom>
        </p:spPr>
        <p:style>
          <a:lnRef idx="0">
            <a:schemeClr val="lt1">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sp>
      <p:sp>
        <p:nvSpPr>
          <p:cNvPr id="33" name="Freeform 32">
            <a:extLst>
              <a:ext uri="{FF2B5EF4-FFF2-40B4-BE49-F238E27FC236}">
                <a16:creationId xmlns:a16="http://schemas.microsoft.com/office/drawing/2014/main" id="{CD14A1A6-4227-49AE-BEDE-CAC9225EFF39}"/>
              </a:ext>
            </a:extLst>
          </p:cNvPr>
          <p:cNvSpPr/>
          <p:nvPr/>
        </p:nvSpPr>
        <p:spPr>
          <a:xfrm>
            <a:off x="5264218" y="2813798"/>
            <a:ext cx="1918040" cy="584030"/>
          </a:xfrm>
          <a:custGeom>
            <a:avLst/>
            <a:gdLst>
              <a:gd name="connsiteX0" fmla="*/ 0 w 2559097"/>
              <a:gd name="connsiteY0" fmla="*/ 77987 h 779868"/>
              <a:gd name="connsiteX1" fmla="*/ 77987 w 2559097"/>
              <a:gd name="connsiteY1" fmla="*/ 0 h 779868"/>
              <a:gd name="connsiteX2" fmla="*/ 2481110 w 2559097"/>
              <a:gd name="connsiteY2" fmla="*/ 0 h 779868"/>
              <a:gd name="connsiteX3" fmla="*/ 2559097 w 2559097"/>
              <a:gd name="connsiteY3" fmla="*/ 77987 h 779868"/>
              <a:gd name="connsiteX4" fmla="*/ 2559097 w 2559097"/>
              <a:gd name="connsiteY4" fmla="*/ 701881 h 779868"/>
              <a:gd name="connsiteX5" fmla="*/ 2481110 w 2559097"/>
              <a:gd name="connsiteY5" fmla="*/ 779868 h 779868"/>
              <a:gd name="connsiteX6" fmla="*/ 77987 w 2559097"/>
              <a:gd name="connsiteY6" fmla="*/ 779868 h 779868"/>
              <a:gd name="connsiteX7" fmla="*/ 0 w 2559097"/>
              <a:gd name="connsiteY7" fmla="*/ 701881 h 779868"/>
              <a:gd name="connsiteX8" fmla="*/ 0 w 2559097"/>
              <a:gd name="connsiteY8" fmla="*/ 77987 h 77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9097" h="779868">
                <a:moveTo>
                  <a:pt x="0" y="77987"/>
                </a:moveTo>
                <a:cubicBezTo>
                  <a:pt x="0" y="34916"/>
                  <a:pt x="34916" y="0"/>
                  <a:pt x="77987" y="0"/>
                </a:cubicBezTo>
                <a:lnTo>
                  <a:pt x="2481110" y="0"/>
                </a:lnTo>
                <a:cubicBezTo>
                  <a:pt x="2524181" y="0"/>
                  <a:pt x="2559097" y="34916"/>
                  <a:pt x="2559097" y="77987"/>
                </a:cubicBezTo>
                <a:lnTo>
                  <a:pt x="2559097" y="701881"/>
                </a:lnTo>
                <a:cubicBezTo>
                  <a:pt x="2559097" y="744952"/>
                  <a:pt x="2524181" y="779868"/>
                  <a:pt x="2481110" y="779868"/>
                </a:cubicBezTo>
                <a:lnTo>
                  <a:pt x="77987" y="779868"/>
                </a:lnTo>
                <a:cubicBezTo>
                  <a:pt x="34916" y="779868"/>
                  <a:pt x="0" y="744952"/>
                  <a:pt x="0" y="701881"/>
                </a:cubicBezTo>
                <a:lnTo>
                  <a:pt x="0" y="77987"/>
                </a:lnTo>
                <a:close/>
              </a:path>
            </a:pathLst>
          </a:custGeom>
        </p:spPr>
        <p:style>
          <a:lnRef idx="1">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30" tIns="68530" rIns="68530" bIns="68530" spcCol="1270" anchor="ctr"/>
          <a:lstStyle/>
          <a:p>
            <a:pPr algn="ctr" defTabSz="599705">
              <a:lnSpc>
                <a:spcPct val="90000"/>
              </a:lnSpc>
              <a:spcAft>
                <a:spcPct val="35000"/>
              </a:spcAft>
              <a:defRPr/>
            </a:pPr>
            <a:r>
              <a:rPr lang="en-US" sz="1349" b="1" dirty="0" err="1">
                <a:solidFill>
                  <a:schemeClr val="accent6">
                    <a:lumMod val="50000"/>
                  </a:schemeClr>
                </a:solidFill>
                <a:latin typeface="Zawgyi-One" panose="020B0604030504040204" pitchFamily="34" charset="0"/>
                <a:cs typeface="Zawgyi-One" panose="020B0604030504040204" pitchFamily="34" charset="0"/>
              </a:rPr>
              <a:t>စိတ္သက္သာေအာင္လုပ</a:t>
            </a:r>
            <a:r>
              <a:rPr lang="en-US" sz="1349" b="1" dirty="0">
                <a:solidFill>
                  <a:schemeClr val="accent6">
                    <a:lumMod val="50000"/>
                  </a:schemeClr>
                </a:solidFill>
                <a:latin typeface="Zawgyi-One" panose="020B0604030504040204" pitchFamily="34" charset="0"/>
                <a:cs typeface="Zawgyi-One" panose="020B0604030504040204" pitchFamily="34" charset="0"/>
              </a:rPr>
              <a:t>္ </a:t>
            </a:r>
          </a:p>
        </p:txBody>
      </p:sp>
      <p:sp>
        <p:nvSpPr>
          <p:cNvPr id="34" name="object 5">
            <a:extLst>
              <a:ext uri="{FF2B5EF4-FFF2-40B4-BE49-F238E27FC236}">
                <a16:creationId xmlns:a16="http://schemas.microsoft.com/office/drawing/2014/main" id="{48E8197C-4687-4565-B147-4F27231C8C2B}"/>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35" name="object 6">
            <a:extLst>
              <a:ext uri="{FF2B5EF4-FFF2-40B4-BE49-F238E27FC236}">
                <a16:creationId xmlns:a16="http://schemas.microsoft.com/office/drawing/2014/main" id="{7E841396-4F17-4CF9-9834-A12A849E5C34}"/>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27</a:t>
            </a:r>
            <a:endParaRPr lang="en-US" altLang="en-US" sz="2021" dirty="0">
              <a:latin typeface="Gill Sans" pitchFamily="34" charset="0"/>
              <a:cs typeface="Gill Sans" pitchFamily="34" charset="0"/>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B379FA-9989-4D71-B2E7-25006E40D12F}"/>
              </a:ext>
            </a:extLst>
          </p:cNvPr>
          <p:cNvSpPr>
            <a:spLocks noGrp="1"/>
          </p:cNvSpPr>
          <p:nvPr>
            <p:ph type="title"/>
          </p:nvPr>
        </p:nvSpPr>
        <p:spPr>
          <a:xfrm>
            <a:off x="687787" y="104521"/>
            <a:ext cx="7882115" cy="1325758"/>
          </a:xfrm>
        </p:spPr>
        <p:txBody>
          <a:bodyPr rtlCol="0">
            <a:normAutofit/>
          </a:bodyPr>
          <a:lstStyle/>
          <a:p>
            <a:pPr defTabSz="685377">
              <a:defRPr/>
            </a:pPr>
            <a:r>
              <a:rPr lang="en-US" sz="3298" dirty="0"/>
              <a:t>Decision making Tree</a:t>
            </a:r>
          </a:p>
        </p:txBody>
      </p:sp>
      <p:sp>
        <p:nvSpPr>
          <p:cNvPr id="3" name="Text Placeholder 2">
            <a:extLst>
              <a:ext uri="{FF2B5EF4-FFF2-40B4-BE49-F238E27FC236}">
                <a16:creationId xmlns:a16="http://schemas.microsoft.com/office/drawing/2014/main" id="{5FFF75D2-DD11-4D44-94AB-E48064303513}"/>
              </a:ext>
            </a:extLst>
          </p:cNvPr>
          <p:cNvSpPr>
            <a:spLocks noGrp="1"/>
          </p:cNvSpPr>
          <p:nvPr>
            <p:ph type="body" idx="1"/>
          </p:nvPr>
        </p:nvSpPr>
        <p:spPr>
          <a:xfrm>
            <a:off x="632318" y="1681494"/>
            <a:ext cx="3866335" cy="823327"/>
          </a:xfrm>
        </p:spPr>
        <p:txBody>
          <a:bodyPr rtlCol="0">
            <a:normAutofit/>
          </a:bodyPr>
          <a:lstStyle/>
          <a:p>
            <a:pPr defTabSz="685377">
              <a:spcBef>
                <a:spcPts val="750"/>
              </a:spcBef>
              <a:spcAft>
                <a:spcPts val="0"/>
              </a:spcAft>
              <a:defRPr/>
            </a:pPr>
            <a:r>
              <a:rPr lang="en-US" dirty="0" err="1"/>
              <a:t>ကိုယ်ထိန်းချုပ်မှုအောက်မှာရှိတဲ့အရာ</a:t>
            </a:r>
            <a:r>
              <a:rPr lang="en-US" dirty="0"/>
              <a:t>	</a:t>
            </a:r>
          </a:p>
        </p:txBody>
      </p:sp>
      <p:sp>
        <p:nvSpPr>
          <p:cNvPr id="4" name="Content Placeholder 3">
            <a:extLst>
              <a:ext uri="{FF2B5EF4-FFF2-40B4-BE49-F238E27FC236}">
                <a16:creationId xmlns:a16="http://schemas.microsoft.com/office/drawing/2014/main" id="{E82CCA4C-81A3-4C7C-B768-D74FADFA76C8}"/>
              </a:ext>
            </a:extLst>
          </p:cNvPr>
          <p:cNvSpPr>
            <a:spLocks noGrp="1"/>
          </p:cNvSpPr>
          <p:nvPr>
            <p:ph sz="half" idx="2"/>
          </p:nvPr>
        </p:nvSpPr>
        <p:spPr>
          <a:xfrm>
            <a:off x="632318" y="2504821"/>
            <a:ext cx="3866335" cy="3684800"/>
          </a:xfrm>
        </p:spPr>
        <p:txBody>
          <a:bodyPr rtlCol="0">
            <a:normAutofit/>
          </a:bodyPr>
          <a:lstStyle/>
          <a:p>
            <a:pPr marL="171344" indent="-171344" defTabSz="685377">
              <a:spcBef>
                <a:spcPts val="750"/>
              </a:spcBef>
              <a:spcAft>
                <a:spcPts val="0"/>
              </a:spcAft>
              <a:defRPr/>
            </a:pPr>
            <a:endParaRPr lang="en-US" sz="2099" dirty="0"/>
          </a:p>
        </p:txBody>
      </p:sp>
      <p:sp>
        <p:nvSpPr>
          <p:cNvPr id="5" name="Text Placeholder 4">
            <a:extLst>
              <a:ext uri="{FF2B5EF4-FFF2-40B4-BE49-F238E27FC236}">
                <a16:creationId xmlns:a16="http://schemas.microsoft.com/office/drawing/2014/main" id="{D79780E1-1076-4EF2-A2FC-5E842F1554E7}"/>
              </a:ext>
            </a:extLst>
          </p:cNvPr>
          <p:cNvSpPr>
            <a:spLocks noGrp="1"/>
          </p:cNvSpPr>
          <p:nvPr>
            <p:ph type="body" sz="quarter" idx="3"/>
          </p:nvPr>
        </p:nvSpPr>
        <p:spPr>
          <a:xfrm>
            <a:off x="4628845" y="1681494"/>
            <a:ext cx="3885589" cy="823327"/>
          </a:xfrm>
        </p:spPr>
        <p:txBody>
          <a:bodyPr rtlCol="0">
            <a:normAutofit/>
          </a:bodyPr>
          <a:lstStyle/>
          <a:p>
            <a:pPr defTabSz="685377">
              <a:spcBef>
                <a:spcPts val="750"/>
              </a:spcBef>
              <a:spcAft>
                <a:spcPts val="0"/>
              </a:spcAft>
              <a:defRPr/>
            </a:pPr>
            <a:r>
              <a:rPr lang="en-US" dirty="0" err="1"/>
              <a:t>ကိုယ်ထိန်းချုပ်မှုပြင်ပမှာရှိတဲ့အရာ</a:t>
            </a:r>
            <a:r>
              <a:rPr lang="en-US" dirty="0"/>
              <a:t>	</a:t>
            </a:r>
          </a:p>
        </p:txBody>
      </p:sp>
      <p:sp>
        <p:nvSpPr>
          <p:cNvPr id="6" name="Content Placeholder 5">
            <a:extLst>
              <a:ext uri="{FF2B5EF4-FFF2-40B4-BE49-F238E27FC236}">
                <a16:creationId xmlns:a16="http://schemas.microsoft.com/office/drawing/2014/main" id="{761E6DCC-AE1E-4C3C-BC06-1F5D64DAE71F}"/>
              </a:ext>
            </a:extLst>
          </p:cNvPr>
          <p:cNvSpPr>
            <a:spLocks noGrp="1"/>
          </p:cNvSpPr>
          <p:nvPr>
            <p:ph sz="quarter" idx="4"/>
          </p:nvPr>
        </p:nvSpPr>
        <p:spPr>
          <a:xfrm>
            <a:off x="4628845" y="2504821"/>
            <a:ext cx="3885589" cy="3684800"/>
          </a:xfrm>
        </p:spPr>
        <p:txBody>
          <a:bodyPr rtlCol="0">
            <a:normAutofit/>
          </a:bodyPr>
          <a:lstStyle/>
          <a:p>
            <a:pPr marL="171344" indent="-171344" defTabSz="685377">
              <a:spcBef>
                <a:spcPts val="750"/>
              </a:spcBef>
              <a:spcAft>
                <a:spcPts val="0"/>
              </a:spcAft>
              <a:defRPr/>
            </a:pPr>
            <a:endParaRPr lang="en-US" sz="2099"/>
          </a:p>
        </p:txBody>
      </p:sp>
      <p:sp>
        <p:nvSpPr>
          <p:cNvPr id="7" name="object 5">
            <a:extLst>
              <a:ext uri="{FF2B5EF4-FFF2-40B4-BE49-F238E27FC236}">
                <a16:creationId xmlns:a16="http://schemas.microsoft.com/office/drawing/2014/main" id="{917FD32F-F995-4E1C-A990-7179C09431F9}"/>
              </a:ext>
            </a:extLst>
          </p:cNvPr>
          <p:cNvSpPr>
            <a:spLocks/>
          </p:cNvSpPr>
          <p:nvPr/>
        </p:nvSpPr>
        <p:spPr bwMode="auto">
          <a:xfrm>
            <a:off x="8426416" y="264051"/>
            <a:ext cx="716056" cy="358487"/>
          </a:xfrm>
          <a:custGeom>
            <a:avLst/>
            <a:gdLst>
              <a:gd name="T0" fmla="*/ 1238860 w 1240164"/>
              <a:gd name="T1" fmla="*/ 0 h 621360"/>
              <a:gd name="T2" fmla="*/ 104482 w 1240164"/>
              <a:gd name="T3" fmla="*/ 249 h 621360"/>
              <a:gd name="T4" fmla="*/ 53401 w 1240164"/>
              <a:gd name="T5" fmla="*/ 3881 h 621360"/>
              <a:gd name="T6" fmla="*/ 15744 w 1240164"/>
              <a:gd name="T7" fmla="*/ 22635 h 621360"/>
              <a:gd name="T8" fmla="*/ 1919 w 1240164"/>
              <a:gd name="T9" fmla="*/ 68221 h 621360"/>
              <a:gd name="T10" fmla="*/ 0 w 1240164"/>
              <a:gd name="T11" fmla="*/ 127187 h 621360"/>
              <a:gd name="T12" fmla="*/ 2 w 1240164"/>
              <a:gd name="T13" fmla="*/ 492288 h 621360"/>
              <a:gd name="T14" fmla="*/ 813 w 1240164"/>
              <a:gd name="T15" fmla="*/ 534106 h 621360"/>
              <a:gd name="T16" fmla="*/ 6698 w 1240164"/>
              <a:gd name="T17" fmla="*/ 577777 h 621360"/>
              <a:gd name="T18" fmla="*/ 31120 w 1240164"/>
              <a:gd name="T19" fmla="*/ 608259 h 621360"/>
              <a:gd name="T20" fmla="*/ 68405 w 1240164"/>
              <a:gd name="T21" fmla="*/ 616832 h 621360"/>
              <a:gd name="T22" fmla="*/ 1238860 w 1240164"/>
              <a:gd name="T23" fmla="*/ 618776 h 621360"/>
              <a:gd name="T24" fmla="*/ 1238860 w 1240164"/>
              <a:gd name="T25" fmla="*/ 0 h 6213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8" name="object 6">
            <a:extLst>
              <a:ext uri="{FF2B5EF4-FFF2-40B4-BE49-F238E27FC236}">
                <a16:creationId xmlns:a16="http://schemas.microsoft.com/office/drawing/2014/main" id="{B1C3053A-2369-4A21-BA7F-3A27A9DD35CE}"/>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eaLnBrk="1" hangingPunct="1">
              <a:lnSpc>
                <a:spcPct val="100000"/>
              </a:lnSpc>
              <a:spcBef>
                <a:spcPct val="0"/>
              </a:spcBef>
              <a:buFontTx/>
              <a:buNone/>
            </a:pPr>
            <a:r>
              <a:rPr lang="en-US" altLang="en-US" sz="2021" b="1" dirty="0">
                <a:solidFill>
                  <a:srgbClr val="ED1C24"/>
                </a:solidFill>
                <a:latin typeface="Gill Sans" pitchFamily="34" charset="0"/>
                <a:cs typeface="Gill Sans" pitchFamily="34" charset="0"/>
              </a:rPr>
              <a:t>28</a:t>
            </a:r>
            <a:endParaRPr lang="en-US" altLang="en-US" sz="2021" dirty="0">
              <a:latin typeface="Gill Sans" pitchFamily="34" charset="0"/>
              <a:cs typeface="Gill Sans" pitchFamily="34" charset="0"/>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342F3-C901-4116-995C-05561BF7A26F}"/>
              </a:ext>
            </a:extLst>
          </p:cNvPr>
          <p:cNvSpPr>
            <a:spLocks noGrp="1"/>
          </p:cNvSpPr>
          <p:nvPr>
            <p:ph type="title"/>
          </p:nvPr>
        </p:nvSpPr>
        <p:spPr>
          <a:xfrm>
            <a:off x="1905000" y="2346325"/>
            <a:ext cx="5867400" cy="1676400"/>
          </a:xfrm>
        </p:spPr>
        <p:txBody>
          <a:bodyPr/>
          <a:lstStyle/>
          <a:p>
            <a:r>
              <a:rPr lang="en-US" dirty="0"/>
              <a:t>Tips for providing PFA remotely</a:t>
            </a:r>
          </a:p>
        </p:txBody>
      </p:sp>
      <p:sp>
        <p:nvSpPr>
          <p:cNvPr id="4" name="Date Placeholder 3">
            <a:extLst>
              <a:ext uri="{FF2B5EF4-FFF2-40B4-BE49-F238E27FC236}">
                <a16:creationId xmlns:a16="http://schemas.microsoft.com/office/drawing/2014/main" id="{8E528A91-1E07-47BA-9255-8B25D615808C}"/>
              </a:ext>
            </a:extLst>
          </p:cNvPr>
          <p:cNvSpPr>
            <a:spLocks noGrp="1"/>
          </p:cNvSpPr>
          <p:nvPr>
            <p:ph type="dt" sz="half" idx="10"/>
          </p:nvPr>
        </p:nvSpPr>
        <p:spPr/>
        <p:txBody>
          <a:bodyPr/>
          <a:lstStyle/>
          <a:p>
            <a:r>
              <a:rPr lang="en-US" altLang="ja-JP"/>
              <a:t>26 April 2016</a:t>
            </a:r>
            <a:endParaRPr lang="en-US" dirty="0"/>
          </a:p>
        </p:txBody>
      </p:sp>
      <p:sp>
        <p:nvSpPr>
          <p:cNvPr id="5" name="Footer Placeholder 4">
            <a:extLst>
              <a:ext uri="{FF2B5EF4-FFF2-40B4-BE49-F238E27FC236}">
                <a16:creationId xmlns:a16="http://schemas.microsoft.com/office/drawing/2014/main" id="{824608CE-8A4F-4C9E-8965-6D6E124531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9E26D8-0E7C-449D-BDAC-3BC2A05B5564}"/>
              </a:ext>
            </a:extLst>
          </p:cNvPr>
          <p:cNvSpPr>
            <a:spLocks noGrp="1"/>
          </p:cNvSpPr>
          <p:nvPr>
            <p:ph type="sldNum" sz="quarter" idx="12"/>
          </p:nvPr>
        </p:nvSpPr>
        <p:spPr/>
        <p:txBody>
          <a:bodyPr/>
          <a:lstStyle/>
          <a:p>
            <a:fld id="{C3FDE51E-0052-334C-A4B2-C567FE9F326F}" type="slidenum">
              <a:rPr lang="en-US" smtClean="0"/>
              <a:t>74</a:t>
            </a:fld>
            <a:endParaRPr lang="en-US"/>
          </a:p>
        </p:txBody>
      </p:sp>
    </p:spTree>
    <p:extLst>
      <p:ext uri="{BB962C8B-B14F-4D97-AF65-F5344CB8AC3E}">
        <p14:creationId xmlns:p14="http://schemas.microsoft.com/office/powerpoint/2010/main" val="394502930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a:extLst>
              <a:ext uri="{FF2B5EF4-FFF2-40B4-BE49-F238E27FC236}">
                <a16:creationId xmlns:a16="http://schemas.microsoft.com/office/drawing/2014/main" id="{AD4BEF24-74D2-4F3C-B3F4-4442DC0DFEC6}"/>
              </a:ext>
            </a:extLst>
          </p:cNvPr>
          <p:cNvSpPr>
            <a:spLocks noGrp="1"/>
          </p:cNvSpPr>
          <p:nvPr>
            <p:ph type="title"/>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pPr>
              <a:defRPr/>
            </a:pPr>
            <a:r>
              <a:rPr lang="en-US" altLang="en-US" sz="2491" b="1" dirty="0">
                <a:solidFill>
                  <a:srgbClr val="0070C0"/>
                </a:solidFill>
              </a:rPr>
              <a:t>COVID and remote PFA COVID 19 </a:t>
            </a:r>
            <a:r>
              <a:rPr lang="en-US" altLang="en-US" sz="2541" dirty="0" err="1">
                <a:solidFill>
                  <a:srgbClr val="0070C0"/>
                </a:solidFill>
                <a:latin typeface="Zawgyi-One" panose="020B0604030504040204" pitchFamily="34" charset="0"/>
                <a:cs typeface="Zawgyi-One" panose="020B0604030504040204" pitchFamily="34" charset="0"/>
              </a:rPr>
              <a:t>နွင</a:t>
            </a:r>
            <a:r>
              <a:rPr lang="en-US" altLang="en-US" sz="2541" dirty="0">
                <a:solidFill>
                  <a:srgbClr val="0070C0"/>
                </a:solidFill>
                <a:latin typeface="Zawgyi-One" panose="020B0604030504040204" pitchFamily="34" charset="0"/>
                <a:cs typeface="Zawgyi-One" panose="020B0604030504040204" pitchFamily="34" charset="0"/>
              </a:rPr>
              <a:t>့္ အေ၀းမွ PFA ျ</a:t>
            </a:r>
            <a:r>
              <a:rPr lang="en-US" altLang="en-US" sz="2541" dirty="0" err="1">
                <a:solidFill>
                  <a:srgbClr val="0070C0"/>
                </a:solidFill>
                <a:latin typeface="Zawgyi-One" panose="020B0604030504040204" pitchFamily="34" charset="0"/>
                <a:cs typeface="Zawgyi-One" panose="020B0604030504040204" pitchFamily="34" charset="0"/>
              </a:rPr>
              <a:t>ပဳလုပ</a:t>
            </a:r>
            <a:r>
              <a:rPr lang="en-US" altLang="en-US" sz="2541" dirty="0">
                <a:solidFill>
                  <a:srgbClr val="0070C0"/>
                </a:solidFill>
                <a:latin typeface="Zawgyi-One" panose="020B0604030504040204" pitchFamily="34" charset="0"/>
                <a:cs typeface="Zawgyi-One" panose="020B0604030504040204" pitchFamily="34" charset="0"/>
              </a:rPr>
              <a:t>္ျ</a:t>
            </a:r>
            <a:r>
              <a:rPr lang="en-US" altLang="en-US" sz="2541" dirty="0" err="1">
                <a:solidFill>
                  <a:srgbClr val="0070C0"/>
                </a:solidFill>
                <a:latin typeface="Zawgyi-One" panose="020B0604030504040204" pitchFamily="34" charset="0"/>
                <a:cs typeface="Zawgyi-One" panose="020B0604030504040204" pitchFamily="34" charset="0"/>
              </a:rPr>
              <a:t>ခင္း</a:t>
            </a:r>
            <a:endParaRPr lang="en-US" altLang="en-US" sz="2491" b="1" dirty="0">
              <a:solidFill>
                <a:srgbClr val="0070C0"/>
              </a:solidFill>
            </a:endParaRPr>
          </a:p>
        </p:txBody>
      </p:sp>
      <p:sp>
        <p:nvSpPr>
          <p:cNvPr id="105475" name="Content Placeholder 2">
            <a:extLst>
              <a:ext uri="{FF2B5EF4-FFF2-40B4-BE49-F238E27FC236}">
                <a16:creationId xmlns:a16="http://schemas.microsoft.com/office/drawing/2014/main" id="{7D09A094-EACF-4265-9D96-CDD0CD260555}"/>
              </a:ext>
            </a:extLst>
          </p:cNvPr>
          <p:cNvSpPr>
            <a:spLocks noGrp="1"/>
          </p:cNvSpPr>
          <p:nvPr>
            <p:ph idx="4294967295"/>
          </p:nvPr>
        </p:nvSpPr>
        <p:spPr bwMode="auto">
          <a:xfrm>
            <a:off x="2445" y="1179063"/>
            <a:ext cx="8858556" cy="4429278"/>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2500" lnSpcReduction="20000"/>
          </a:bodyPr>
          <a:lstStyle/>
          <a:p>
            <a:pPr marL="316324" indent="-316324">
              <a:defRPr/>
            </a:pPr>
            <a:r>
              <a:rPr lang="en-US" altLang="en-US" sz="2952" dirty="0">
                <a:solidFill>
                  <a:srgbClr val="002060"/>
                </a:solidFill>
              </a:rPr>
              <a:t>During the time of the virus outbreak, </a:t>
            </a:r>
            <a:r>
              <a:rPr lang="en-US" altLang="en-US" sz="2952" dirty="0">
                <a:solidFill>
                  <a:srgbClr val="FF0000"/>
                </a:solidFill>
              </a:rPr>
              <a:t>keeping a physical distance</a:t>
            </a:r>
            <a:r>
              <a:rPr lang="en-US" altLang="en-US" sz="2952" dirty="0">
                <a:solidFill>
                  <a:srgbClr val="002060"/>
                </a:solidFill>
              </a:rPr>
              <a:t> to others is mandatory, however </a:t>
            </a:r>
            <a:r>
              <a:rPr lang="en-US" altLang="en-US" sz="2952" dirty="0">
                <a:solidFill>
                  <a:srgbClr val="FF0000"/>
                </a:solidFill>
              </a:rPr>
              <a:t>keeping socially connected and closely in dialogue with others </a:t>
            </a:r>
            <a:r>
              <a:rPr lang="en-US" altLang="en-US" sz="2952" dirty="0">
                <a:solidFill>
                  <a:srgbClr val="002060"/>
                </a:solidFill>
              </a:rPr>
              <a:t>is vital. </a:t>
            </a:r>
          </a:p>
          <a:p>
            <a:pPr marL="316324" indent="-316324">
              <a:defRPr/>
            </a:pPr>
            <a:r>
              <a:rPr lang="en-US" altLang="en-US" sz="2952" dirty="0">
                <a:solidFill>
                  <a:srgbClr val="002060"/>
                </a:solidFill>
              </a:rPr>
              <a:t>This can happen through </a:t>
            </a:r>
            <a:r>
              <a:rPr lang="en-US" altLang="en-US" sz="2952" dirty="0">
                <a:solidFill>
                  <a:srgbClr val="FF0000"/>
                </a:solidFill>
              </a:rPr>
              <a:t>phone or internet calls, Apps and other social media</a:t>
            </a:r>
            <a:r>
              <a:rPr lang="en-US" altLang="en-US" sz="2952" dirty="0">
                <a:solidFill>
                  <a:srgbClr val="002060"/>
                </a:solidFill>
              </a:rPr>
              <a:t>. </a:t>
            </a:r>
          </a:p>
          <a:p>
            <a:pPr marL="316324" indent="-316324">
              <a:defRPr/>
            </a:pPr>
            <a:r>
              <a:rPr lang="en-US" altLang="en-US" sz="2952" dirty="0">
                <a:solidFill>
                  <a:srgbClr val="002060"/>
                </a:solidFill>
              </a:rPr>
              <a:t> virus </a:t>
            </a:r>
            <a:r>
              <a:rPr lang="en-US" altLang="en-US" sz="2541" dirty="0" err="1">
                <a:solidFill>
                  <a:srgbClr val="231F20"/>
                </a:solidFill>
                <a:latin typeface="Zawgyi-One" panose="020B0604030504040204" pitchFamily="34" charset="0"/>
                <a:ea typeface="+mj-ea"/>
                <a:cs typeface="Zawgyi-One" panose="020B0604030504040204" pitchFamily="34" charset="0"/>
              </a:rPr>
              <a:t>အပ်ံ့နွံ႕ေနသည</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ကာလအတြင္းတြင</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အျခားသူမ်ား</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နွင</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ခပ္ခ</a:t>
            </a:r>
            <a:r>
              <a:rPr lang="en-US" altLang="en-US" sz="2541" dirty="0">
                <a:solidFill>
                  <a:srgbClr val="231F20"/>
                </a:solidFill>
                <a:latin typeface="Zawgyi-One" panose="020B0604030504040204" pitchFamily="34" charset="0"/>
                <a:ea typeface="+mj-ea"/>
                <a:cs typeface="Zawgyi-One" panose="020B0604030504040204" pitchFamily="34" charset="0"/>
              </a:rPr>
              <a:t>ြါခြါ </a:t>
            </a:r>
            <a:r>
              <a:rPr lang="en-US" altLang="en-US" sz="2541" dirty="0" err="1">
                <a:solidFill>
                  <a:srgbClr val="231F20"/>
                </a:solidFill>
                <a:latin typeface="Zawgyi-One" panose="020B0604030504040204" pitchFamily="34" charset="0"/>
                <a:ea typeface="+mj-ea"/>
                <a:cs typeface="Zawgyi-One" panose="020B0604030504040204" pitchFamily="34" charset="0"/>
              </a:rPr>
              <a:t>ေနထိုင္ရန</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အလြန္အေရး</a:t>
            </a:r>
            <a:r>
              <a:rPr lang="en-US" altLang="en-US" sz="2541" dirty="0">
                <a:solidFill>
                  <a:srgbClr val="231F20"/>
                </a:solidFill>
                <a:latin typeface="Zawgyi-One" panose="020B0604030504040204" pitchFamily="34" charset="0"/>
                <a:ea typeface="+mj-ea"/>
                <a:cs typeface="Zawgyi-One" panose="020B0604030504040204" pitchFamily="34" charset="0"/>
              </a:rPr>
              <a:t> ၾ</a:t>
            </a:r>
            <a:r>
              <a:rPr lang="en-US" altLang="en-US" sz="2541" dirty="0" err="1">
                <a:solidFill>
                  <a:srgbClr val="231F20"/>
                </a:solidFill>
                <a:latin typeface="Zawgyi-One" panose="020B0604030504040204" pitchFamily="34" charset="0"/>
                <a:ea typeface="+mj-ea"/>
                <a:cs typeface="Zawgyi-One" panose="020B0604030504040204" pitchFamily="34" charset="0"/>
              </a:rPr>
              <a:t>ကီးပါသည</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သို႔ရာတြင</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အျခားသူမ်ားနွင</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အဆက္အသြယ္မျပတ္ရွိေနရန</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လည္းအေရးၾကီးပါသည</a:t>
            </a:r>
            <a:r>
              <a:rPr lang="en-US" altLang="en-US" sz="2541" dirty="0">
                <a:solidFill>
                  <a:srgbClr val="231F20"/>
                </a:solidFill>
                <a:latin typeface="Zawgyi-One" panose="020B0604030504040204" pitchFamily="34" charset="0"/>
                <a:ea typeface="+mj-ea"/>
                <a:cs typeface="Zawgyi-One" panose="020B0604030504040204" pitchFamily="34" charset="0"/>
              </a:rPr>
              <a:t>္။</a:t>
            </a:r>
          </a:p>
          <a:p>
            <a:pPr marL="316324" indent="-316324">
              <a:defRPr/>
            </a:pPr>
            <a:endParaRPr lang="en-US" altLang="en-US" sz="2541" dirty="0">
              <a:solidFill>
                <a:srgbClr val="231F20"/>
              </a:solidFill>
              <a:latin typeface="Zawgyi-One" panose="020B0604030504040204" pitchFamily="34" charset="0"/>
              <a:ea typeface="+mj-ea"/>
              <a:cs typeface="Zawgyi-One" panose="020B0604030504040204" pitchFamily="34" charset="0"/>
            </a:endParaRPr>
          </a:p>
          <a:p>
            <a:pPr marL="316324" indent="-316324">
              <a:defRPr/>
            </a:pPr>
            <a:r>
              <a:rPr lang="en-US" altLang="en-US" sz="2541" dirty="0" err="1">
                <a:solidFill>
                  <a:srgbClr val="231F20"/>
                </a:solidFill>
                <a:latin typeface="Zawgyi-One" panose="020B0604030504040204" pitchFamily="34" charset="0"/>
                <a:ea typeface="+mj-ea"/>
                <a:cs typeface="Zawgyi-One" panose="020B0604030504040204" pitchFamily="34" charset="0"/>
              </a:rPr>
              <a:t>ဖုန္း</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သို</a:t>
            </a:r>
            <a:r>
              <a:rPr lang="en-US" altLang="en-US" sz="2541" dirty="0">
                <a:solidFill>
                  <a:srgbClr val="231F20"/>
                </a:solidFill>
                <a:latin typeface="Zawgyi-One" panose="020B0604030504040204" pitchFamily="34" charset="0"/>
                <a:ea typeface="+mj-ea"/>
                <a:cs typeface="Zawgyi-One" panose="020B0604030504040204" pitchFamily="34" charset="0"/>
              </a:rPr>
              <a:t>႔ </a:t>
            </a:r>
            <a:r>
              <a:rPr lang="en-US" altLang="en-US" sz="2541" dirty="0" err="1">
                <a:solidFill>
                  <a:srgbClr val="231F20"/>
                </a:solidFill>
                <a:latin typeface="Zawgyi-One" panose="020B0604030504040204" pitchFamily="34" charset="0"/>
                <a:ea typeface="+mj-ea"/>
                <a:cs typeface="Zawgyi-One" panose="020B0604030504040204" pitchFamily="34" charset="0"/>
              </a:rPr>
              <a:t>မဟုတ</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အင္တာနက</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မွတစ္ဆင</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အျခားသူမ်ားနွင</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ဆက္သြယ</a:t>
            </a:r>
            <a:r>
              <a:rPr lang="en-US" altLang="en-US" sz="2541" dirty="0">
                <a:solidFill>
                  <a:srgbClr val="231F20"/>
                </a:solidFill>
                <a:latin typeface="Zawgyi-One" panose="020B0604030504040204" pitchFamily="34" charset="0"/>
                <a:ea typeface="+mj-ea"/>
                <a:cs typeface="Zawgyi-One" panose="020B0604030504040204" pitchFamily="34" charset="0"/>
              </a:rPr>
              <a:t>္ </a:t>
            </a:r>
            <a:r>
              <a:rPr lang="en-US" altLang="en-US" sz="2541" dirty="0" err="1">
                <a:solidFill>
                  <a:srgbClr val="231F20"/>
                </a:solidFill>
                <a:latin typeface="Zawgyi-One" panose="020B0604030504040204" pitchFamily="34" charset="0"/>
                <a:ea typeface="+mj-ea"/>
                <a:cs typeface="Zawgyi-One" panose="020B0604030504040204" pitchFamily="34" charset="0"/>
              </a:rPr>
              <a:t>နိုင္ပါသည</a:t>
            </a:r>
            <a:r>
              <a:rPr lang="en-US" altLang="en-US" sz="2541" dirty="0">
                <a:solidFill>
                  <a:srgbClr val="231F20"/>
                </a:solidFill>
                <a:latin typeface="Zawgyi-One" panose="020B0604030504040204" pitchFamily="34" charset="0"/>
                <a:ea typeface="+mj-ea"/>
                <a:cs typeface="Zawgyi-One" panose="020B0604030504040204" pitchFamily="34" charset="0"/>
              </a:rPr>
              <a:t>္။ </a:t>
            </a:r>
          </a:p>
        </p:txBody>
      </p:sp>
    </p:spTree>
    <p:extLst>
      <p:ext uri="{BB962C8B-B14F-4D97-AF65-F5344CB8AC3E}">
        <p14:creationId xmlns:p14="http://schemas.microsoft.com/office/powerpoint/2010/main" val="83154640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le 1">
            <a:extLst>
              <a:ext uri="{FF2B5EF4-FFF2-40B4-BE49-F238E27FC236}">
                <a16:creationId xmlns:a16="http://schemas.microsoft.com/office/drawing/2014/main" id="{149D62AB-6B73-4F72-BBBF-13C9CD2F2FEE}"/>
              </a:ext>
            </a:extLst>
          </p:cNvPr>
          <p:cNvSpPr>
            <a:spLocks noGrp="1"/>
          </p:cNvSpPr>
          <p:nvPr>
            <p:ph type="title"/>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0000"/>
          </a:bodyPr>
          <a:lstStyle/>
          <a:p>
            <a:pPr>
              <a:defRPr/>
            </a:pPr>
            <a:r>
              <a:rPr lang="en-US" altLang="en-US" sz="2491" b="1" dirty="0"/>
              <a:t>Who is remote PFA for in the context of COVID? COVID 19</a:t>
            </a:r>
            <a:r>
              <a:rPr lang="en-US" altLang="en-US" sz="2310" dirty="0">
                <a:solidFill>
                  <a:srgbClr val="231F20"/>
                </a:solidFill>
                <a:latin typeface="Zawgyi-One" panose="020B0604030504040204" pitchFamily="34" charset="0"/>
                <a:cs typeface="Zawgyi-One" panose="020B0604030504040204" pitchFamily="34" charset="0"/>
              </a:rPr>
              <a:t> </a:t>
            </a:r>
            <a:r>
              <a:rPr lang="en-US" altLang="en-US" sz="2310" dirty="0" err="1">
                <a:solidFill>
                  <a:srgbClr val="231F20"/>
                </a:solidFill>
                <a:latin typeface="Zawgyi-One" panose="020B0604030504040204" pitchFamily="34" charset="0"/>
                <a:cs typeface="Zawgyi-One" panose="020B0604030504040204" pitchFamily="34" charset="0"/>
              </a:rPr>
              <a:t>ကာလတြင</a:t>
            </a:r>
            <a:r>
              <a:rPr lang="en-US" altLang="en-US" sz="2310" dirty="0">
                <a:solidFill>
                  <a:srgbClr val="231F20"/>
                </a:solidFill>
                <a:latin typeface="Zawgyi-One" panose="020B0604030504040204" pitchFamily="34" charset="0"/>
                <a:cs typeface="Zawgyi-One" panose="020B0604030504040204" pitchFamily="34" charset="0"/>
              </a:rPr>
              <a:t>္ မည္သူတို႔အားအေ၀းမွ </a:t>
            </a:r>
            <a:r>
              <a:rPr lang="en-US" altLang="en-US" sz="2491" b="1" dirty="0"/>
              <a:t>PFA </a:t>
            </a:r>
            <a:r>
              <a:rPr lang="en-US" altLang="en-US" sz="2541" dirty="0">
                <a:solidFill>
                  <a:srgbClr val="231F20"/>
                </a:solidFill>
                <a:latin typeface="Zawgyi-One" panose="020B0604030504040204" pitchFamily="34" charset="0"/>
                <a:cs typeface="Zawgyi-One" panose="020B0604030504040204" pitchFamily="34" charset="0"/>
              </a:rPr>
              <a:t>ျ</a:t>
            </a:r>
            <a:r>
              <a:rPr lang="en-US" altLang="en-US" sz="2541" dirty="0" err="1">
                <a:solidFill>
                  <a:srgbClr val="231F20"/>
                </a:solidFill>
                <a:latin typeface="Zawgyi-One" panose="020B0604030504040204" pitchFamily="34" charset="0"/>
                <a:cs typeface="Zawgyi-One" panose="020B0604030504040204" pitchFamily="34" charset="0"/>
              </a:rPr>
              <a:t>ပဳလုပ္ရန</a:t>
            </a:r>
            <a:r>
              <a:rPr lang="en-US" altLang="en-US" sz="2541" dirty="0">
                <a:solidFill>
                  <a:srgbClr val="231F20"/>
                </a:solidFill>
                <a:latin typeface="Zawgyi-One" panose="020B0604030504040204" pitchFamily="34" charset="0"/>
                <a:cs typeface="Zawgyi-One" panose="020B0604030504040204" pitchFamily="34" charset="0"/>
              </a:rPr>
              <a:t>္ </a:t>
            </a:r>
            <a:r>
              <a:rPr lang="en-US" altLang="en-US" sz="2541" dirty="0" err="1">
                <a:solidFill>
                  <a:srgbClr val="231F20"/>
                </a:solidFill>
                <a:latin typeface="Zawgyi-One" panose="020B0604030504040204" pitchFamily="34" charset="0"/>
                <a:cs typeface="Zawgyi-One" panose="020B0604030504040204" pitchFamily="34" charset="0"/>
              </a:rPr>
              <a:t>လုိအပ္ပါသနည္း</a:t>
            </a:r>
            <a:r>
              <a:rPr lang="en-US" altLang="en-US" sz="2541" dirty="0">
                <a:solidFill>
                  <a:srgbClr val="231F20"/>
                </a:solidFill>
                <a:latin typeface="Zawgyi-One" panose="020B0604030504040204" pitchFamily="34" charset="0"/>
                <a:cs typeface="Zawgyi-One" panose="020B0604030504040204" pitchFamily="34" charset="0"/>
              </a:rPr>
              <a:t>။</a:t>
            </a:r>
            <a:endParaRPr lang="en-US" altLang="en-US" sz="2491" b="1" dirty="0"/>
          </a:p>
        </p:txBody>
      </p:sp>
      <p:sp>
        <p:nvSpPr>
          <p:cNvPr id="61443" name="Content Placeholder 2">
            <a:extLst>
              <a:ext uri="{FF2B5EF4-FFF2-40B4-BE49-F238E27FC236}">
                <a16:creationId xmlns:a16="http://schemas.microsoft.com/office/drawing/2014/main" id="{26B76E85-D723-4F30-ADA3-B83339EDD9C8}"/>
              </a:ext>
            </a:extLst>
          </p:cNvPr>
          <p:cNvSpPr>
            <a:spLocks noGrp="1"/>
          </p:cNvSpPr>
          <p:nvPr>
            <p:ph idx="4294967295"/>
          </p:nvPr>
        </p:nvSpPr>
        <p:spPr bwMode="auto">
          <a:xfrm>
            <a:off x="142722" y="1272581"/>
            <a:ext cx="8998833" cy="5413052"/>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pPr marL="316324" indent="-316324">
              <a:defRPr/>
            </a:pPr>
            <a:r>
              <a:rPr lang="en-US" altLang="en-US" sz="1848" dirty="0">
                <a:solidFill>
                  <a:srgbClr val="002060"/>
                </a:solidFill>
              </a:rPr>
              <a:t>Self-quarantined persons in homes, hotels or appointed facilities</a:t>
            </a:r>
          </a:p>
          <a:p>
            <a:pPr marL="0" indent="0">
              <a:buNone/>
              <a:defRPr/>
            </a:pPr>
            <a:r>
              <a:rPr lang="en-US" altLang="en-US" sz="1848" dirty="0">
                <a:solidFill>
                  <a:srgbClr val="002060"/>
                </a:solidFill>
              </a:rPr>
              <a:t>• The general population who may call to seek information and support</a:t>
            </a:r>
          </a:p>
          <a:p>
            <a:pPr marL="0" indent="0">
              <a:buNone/>
              <a:defRPr/>
            </a:pPr>
            <a:r>
              <a:rPr lang="en-US" altLang="en-US" sz="1848" dirty="0">
                <a:solidFill>
                  <a:srgbClr val="002060"/>
                </a:solidFill>
              </a:rPr>
              <a:t>• Health workers and social welfare responders providing care and treatment to patients </a:t>
            </a:r>
          </a:p>
          <a:p>
            <a:pPr marL="0" indent="0">
              <a:buNone/>
              <a:defRPr/>
            </a:pPr>
            <a:r>
              <a:rPr lang="en-US" altLang="en-US" sz="1848" dirty="0">
                <a:solidFill>
                  <a:srgbClr val="002060"/>
                </a:solidFill>
              </a:rPr>
              <a:t>• People who have recovered from COVID-19</a:t>
            </a:r>
          </a:p>
          <a:p>
            <a:pPr marL="0" indent="0">
              <a:buNone/>
              <a:defRPr/>
            </a:pPr>
            <a:r>
              <a:rPr lang="en-US" altLang="en-US" sz="1848" dirty="0">
                <a:solidFill>
                  <a:srgbClr val="002060"/>
                </a:solidFill>
              </a:rPr>
              <a:t>• Families and friends of the deceased</a:t>
            </a:r>
          </a:p>
          <a:p>
            <a:pPr marL="0" indent="0">
              <a:buNone/>
              <a:defRPr/>
            </a:pPr>
            <a:r>
              <a:rPr lang="en-US" altLang="en-US" sz="1848" dirty="0">
                <a:solidFill>
                  <a:srgbClr val="002060"/>
                </a:solidFill>
              </a:rPr>
              <a:t>• Caregivers with children at homes due to closure of schools etc. </a:t>
            </a:r>
          </a:p>
          <a:p>
            <a:pPr marL="0" indent="0">
              <a:buNone/>
              <a:defRPr/>
            </a:pPr>
            <a:endParaRPr lang="en-US" altLang="en-US" sz="1848" dirty="0">
              <a:solidFill>
                <a:srgbClr val="002060"/>
              </a:solidFill>
            </a:endParaRPr>
          </a:p>
          <a:p>
            <a:pPr>
              <a:lnSpc>
                <a:spcPct val="150000"/>
              </a:lnSpc>
              <a:buFont typeface="Wingdings" panose="05000000000000000000" pitchFamily="2" charset="2"/>
              <a:buChar char="Ø"/>
              <a:defRPr/>
            </a:pPr>
            <a:r>
              <a:rPr lang="en-US" altLang="en-US" sz="1848" dirty="0" err="1">
                <a:solidFill>
                  <a:srgbClr val="231F20"/>
                </a:solidFill>
                <a:latin typeface="Zawgyi-One" panose="020B0604030504040204" pitchFamily="34" charset="0"/>
                <a:cs typeface="Zawgyi-One" panose="020B0604030504040204" pitchFamily="34" charset="0"/>
              </a:rPr>
              <a:t>ေနအိမ</a:t>
            </a:r>
            <a:r>
              <a:rPr lang="en-US" altLang="en-US" sz="1848" dirty="0">
                <a:solidFill>
                  <a:srgbClr val="231F20"/>
                </a:solidFill>
                <a:latin typeface="Zawgyi-One" panose="020B0604030504040204" pitchFamily="34" charset="0"/>
                <a:cs typeface="Zawgyi-One" panose="020B0604030504040204" pitchFamily="34" charset="0"/>
              </a:rPr>
              <a:t>္၊</a:t>
            </a:r>
            <a:r>
              <a:rPr lang="en-US" altLang="en-US" sz="1848" dirty="0">
                <a:solidFill>
                  <a:srgbClr val="002060"/>
                </a:solidFill>
              </a:rPr>
              <a:t>, hotels or appointed facilities </a:t>
            </a:r>
            <a:r>
              <a:rPr lang="en-US" altLang="en-US" sz="1848" dirty="0" err="1">
                <a:solidFill>
                  <a:srgbClr val="231F20"/>
                </a:solidFill>
                <a:latin typeface="Zawgyi-One" panose="020B0604030504040204" pitchFamily="34" charset="0"/>
                <a:cs typeface="Zawgyi-One" panose="020B0604030504040204" pitchFamily="34" charset="0"/>
              </a:rPr>
              <a:t>တို႔တြ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သီးျခားခြဲေနရသူမ်ား</a:t>
            </a:r>
            <a:r>
              <a:rPr lang="en-US" altLang="en-US" sz="1848" dirty="0">
                <a:solidFill>
                  <a:srgbClr val="231F20"/>
                </a:solidFill>
                <a:latin typeface="Zawgyi-One" panose="020B0604030504040204" pitchFamily="34" charset="0"/>
                <a:cs typeface="Zawgyi-One" panose="020B0604030504040204" pitchFamily="34" charset="0"/>
              </a:rPr>
              <a:t>။ </a:t>
            </a:r>
          </a:p>
          <a:p>
            <a:pPr>
              <a:lnSpc>
                <a:spcPct val="150000"/>
              </a:lnSpc>
              <a:buFont typeface="Wingdings" panose="05000000000000000000" pitchFamily="2" charset="2"/>
              <a:buChar char="Ø"/>
              <a:defRPr/>
            </a:pPr>
            <a:r>
              <a:rPr lang="en-US" altLang="en-US" sz="1848" dirty="0">
                <a:solidFill>
                  <a:srgbClr val="231F20"/>
                </a:solidFill>
                <a:latin typeface="Zawgyi-One" panose="020B0604030504040204" pitchFamily="34" charset="0"/>
                <a:cs typeface="Zawgyi-One" panose="020B0604030504040204" pitchFamily="34" charset="0"/>
              </a:rPr>
              <a:t>က်န္းမာေရး၀န္ထမ္းမ်ား </a:t>
            </a:r>
            <a:r>
              <a:rPr lang="en-US" altLang="en-US" sz="1848" dirty="0" err="1">
                <a:solidFill>
                  <a:srgbClr val="231F20"/>
                </a:solidFill>
                <a:latin typeface="Zawgyi-One" panose="020B0604030504040204" pitchFamily="34" charset="0"/>
                <a:cs typeface="Zawgyi-One" panose="020B0604030504040204" pitchFamily="34" charset="0"/>
              </a:rPr>
              <a:t>သို</a:t>
            </a:r>
            <a:r>
              <a:rPr lang="en-US" altLang="en-US" sz="1848" dirty="0">
                <a:solidFill>
                  <a:srgbClr val="231F20"/>
                </a:solidFill>
                <a:latin typeface="Zawgyi-One" panose="020B0604030504040204" pitchFamily="34" charset="0"/>
                <a:cs typeface="Zawgyi-One" panose="020B0604030504040204" pitchFamily="34" charset="0"/>
              </a:rPr>
              <a:t>႔ </a:t>
            </a:r>
            <a:r>
              <a:rPr lang="en-US" altLang="en-US" sz="1848" dirty="0" err="1">
                <a:solidFill>
                  <a:srgbClr val="231F20"/>
                </a:solidFill>
                <a:latin typeface="Zawgyi-One" panose="020B0604030504040204" pitchFamily="34" charset="0"/>
                <a:cs typeface="Zawgyi-One" panose="020B0604030504040204" pitchFamily="34" charset="0"/>
              </a:rPr>
              <a:t>လူမွုေရးရာ</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ဆာင္ရြက္သူမ်ား</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ပံ့ပိုးကူညီမွု</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ယူေနရသူမ်ား</a:t>
            </a:r>
            <a:r>
              <a:rPr lang="en-US" altLang="en-US" sz="1848" dirty="0">
                <a:solidFill>
                  <a:srgbClr val="231F20"/>
                </a:solidFill>
                <a:latin typeface="Zawgyi-One" panose="020B0604030504040204" pitchFamily="34" charset="0"/>
                <a:cs typeface="Zawgyi-One" panose="020B0604030504040204" pitchFamily="34" charset="0"/>
              </a:rPr>
              <a:t>။</a:t>
            </a:r>
          </a:p>
          <a:p>
            <a:pPr>
              <a:lnSpc>
                <a:spcPct val="150000"/>
              </a:lnSpc>
              <a:buFont typeface="Wingdings" panose="05000000000000000000" pitchFamily="2" charset="2"/>
              <a:buChar char="Ø"/>
              <a:defRPr/>
            </a:pPr>
            <a:r>
              <a:rPr lang="en-US" altLang="en-US" sz="1848" dirty="0">
                <a:solidFill>
                  <a:srgbClr val="002060"/>
                </a:solidFill>
              </a:rPr>
              <a:t>COVID-19 </a:t>
            </a:r>
            <a:r>
              <a:rPr lang="en-US" altLang="en-US" sz="1848" dirty="0" err="1">
                <a:solidFill>
                  <a:srgbClr val="231F20"/>
                </a:solidFill>
                <a:latin typeface="Zawgyi-One" panose="020B0604030504040204" pitchFamily="34" charset="0"/>
                <a:cs typeface="Zawgyi-One" panose="020B0604030504040204" pitchFamily="34" charset="0"/>
              </a:rPr>
              <a:t>ကူစက္ခံရျပီး</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ပန္လည္သက္သာလာသူမ်ား</a:t>
            </a:r>
            <a:r>
              <a:rPr lang="en-US" altLang="en-US" sz="1848" dirty="0">
                <a:solidFill>
                  <a:srgbClr val="231F20"/>
                </a:solidFill>
                <a:latin typeface="Zawgyi-One" panose="020B0604030504040204" pitchFamily="34" charset="0"/>
                <a:cs typeface="Zawgyi-One" panose="020B0604030504040204" pitchFamily="34" charset="0"/>
              </a:rPr>
              <a:t>။</a:t>
            </a:r>
          </a:p>
          <a:p>
            <a:pPr>
              <a:lnSpc>
                <a:spcPct val="150000"/>
              </a:lnSpc>
              <a:buFont typeface="Wingdings" panose="05000000000000000000" pitchFamily="2" charset="2"/>
              <a:buChar char="Ø"/>
              <a:defRPr/>
            </a:pPr>
            <a:r>
              <a:rPr lang="en-US" altLang="en-US" sz="1848" dirty="0" err="1">
                <a:solidFill>
                  <a:srgbClr val="231F20"/>
                </a:solidFill>
                <a:latin typeface="Zawgyi-One" panose="020B0604030504040204" pitchFamily="34" charset="0"/>
                <a:cs typeface="Zawgyi-One" panose="020B0604030504040204" pitchFamily="34" charset="0"/>
              </a:rPr>
              <a:t>ကြယ္လြန္သြားသူမ်ား</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က်န္ရစ္ေသာ</a:t>
            </a:r>
            <a:r>
              <a:rPr lang="en-US" altLang="en-US" sz="1848" dirty="0">
                <a:solidFill>
                  <a:srgbClr val="231F20"/>
                </a:solidFill>
                <a:latin typeface="Zawgyi-One" panose="020B0604030504040204" pitchFamily="34" charset="0"/>
                <a:cs typeface="Zawgyi-One" panose="020B0604030504040204" pitchFamily="34" charset="0"/>
              </a:rPr>
              <a:t> မိသားစု၀င္မ်ားနွင့္ </a:t>
            </a:r>
            <a:r>
              <a:rPr lang="en-US" altLang="en-US" sz="1848" dirty="0" err="1">
                <a:solidFill>
                  <a:srgbClr val="231F20"/>
                </a:solidFill>
                <a:latin typeface="Zawgyi-One" panose="020B0604030504040204" pitchFamily="34" charset="0"/>
                <a:cs typeface="Zawgyi-One" panose="020B0604030504040204" pitchFamily="34" charset="0"/>
              </a:rPr>
              <a:t>သူငယ္ခ်င္းမ်ား</a:t>
            </a:r>
            <a:r>
              <a:rPr lang="en-US" altLang="en-US" sz="1848" dirty="0">
                <a:solidFill>
                  <a:srgbClr val="231F20"/>
                </a:solidFill>
                <a:latin typeface="Zawgyi-One" panose="020B0604030504040204" pitchFamily="34" charset="0"/>
                <a:cs typeface="Zawgyi-One" panose="020B0604030504040204" pitchFamily="34" charset="0"/>
              </a:rPr>
              <a:t>။</a:t>
            </a:r>
          </a:p>
          <a:p>
            <a:pPr>
              <a:lnSpc>
                <a:spcPct val="150000"/>
              </a:lnSpc>
              <a:buFont typeface="Wingdings" panose="05000000000000000000" pitchFamily="2" charset="2"/>
              <a:buChar char="Ø"/>
              <a:defRPr/>
            </a:pPr>
            <a:r>
              <a:rPr lang="en-US" altLang="en-US" sz="1848" dirty="0" err="1">
                <a:solidFill>
                  <a:srgbClr val="231F20"/>
                </a:solidFill>
                <a:latin typeface="Zawgyi-One" panose="020B0604030504040204" pitchFamily="34" charset="0"/>
                <a:cs typeface="Zawgyi-One" panose="020B0604030504040204" pitchFamily="34" charset="0"/>
              </a:rPr>
              <a:t>ေက်ာင္းပိတ္ထားေသာေၾကာ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နအိမ္တြ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နထိုင္ေနရေ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ကေလးမ်ားနွ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အုပ္ထိန္းသူမ်ား</a:t>
            </a:r>
            <a:r>
              <a:rPr lang="en-US" altLang="en-US" sz="1848" dirty="0">
                <a:solidFill>
                  <a:srgbClr val="231F20"/>
                </a:solidFill>
                <a:latin typeface="Zawgyi-One" panose="020B0604030504040204" pitchFamily="34" charset="0"/>
                <a:cs typeface="Zawgyi-One" panose="020B0604030504040204" pitchFamily="34" charset="0"/>
              </a:rPr>
              <a:t>။ </a:t>
            </a:r>
            <a:endParaRPr lang="en-US" altLang="en-US" sz="1848" dirty="0">
              <a:solidFill>
                <a:srgbClr val="002060"/>
              </a:solidFill>
            </a:endParaRPr>
          </a:p>
          <a:p>
            <a:pPr>
              <a:buFont typeface="Wingdings" panose="05000000000000000000" pitchFamily="2" charset="2"/>
              <a:buChar char="Ø"/>
              <a:defRPr/>
            </a:pPr>
            <a:endParaRPr lang="en-US" altLang="en-US" sz="1848" dirty="0">
              <a:solidFill>
                <a:srgbClr val="002060"/>
              </a:solidFill>
            </a:endParaRPr>
          </a:p>
          <a:p>
            <a:pPr marL="0" indent="0">
              <a:buNone/>
              <a:defRPr/>
            </a:pPr>
            <a:endParaRPr lang="en-US" altLang="en-US" sz="1848" dirty="0">
              <a:solidFill>
                <a:srgbClr val="002060"/>
              </a:solidFill>
            </a:endParaRPr>
          </a:p>
          <a:p>
            <a:pPr marL="0" indent="0">
              <a:buNone/>
              <a:defRPr/>
            </a:pPr>
            <a:endParaRPr lang="en-US" altLang="en-US" sz="1848" dirty="0">
              <a:solidFill>
                <a:srgbClr val="002060"/>
              </a:solidFill>
            </a:endParaRPr>
          </a:p>
        </p:txBody>
      </p:sp>
    </p:spTree>
    <p:extLst>
      <p:ext uri="{BB962C8B-B14F-4D97-AF65-F5344CB8AC3E}">
        <p14:creationId xmlns:p14="http://schemas.microsoft.com/office/powerpoint/2010/main" val="354629494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a:extLst>
              <a:ext uri="{FF2B5EF4-FFF2-40B4-BE49-F238E27FC236}">
                <a16:creationId xmlns:a16="http://schemas.microsoft.com/office/drawing/2014/main" id="{30BD3FD5-5F92-4F09-B86F-A26F30B736BB}"/>
              </a:ext>
            </a:extLst>
          </p:cNvPr>
          <p:cNvSpPr>
            <a:spLocks noGrp="1"/>
          </p:cNvSpPr>
          <p:nvPr>
            <p:ph type="title"/>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pPr>
              <a:defRPr/>
            </a:pPr>
            <a:r>
              <a:rPr lang="en-US" altLang="en-US" sz="2491" b="1" dirty="0"/>
              <a:t>LOOK – assessing the situations </a:t>
            </a:r>
            <a:r>
              <a:rPr lang="en-US" altLang="en-US" sz="2541" dirty="0">
                <a:solidFill>
                  <a:srgbClr val="231F20"/>
                </a:solidFill>
                <a:latin typeface="Zawgyi-One" panose="020B0604030504040204" pitchFamily="34" charset="0"/>
                <a:cs typeface="Zawgyi-One" panose="020B0604030504040204" pitchFamily="34" charset="0"/>
              </a:rPr>
              <a:t>႔</a:t>
            </a:r>
            <a:br>
              <a:rPr lang="en-US" altLang="en-US" sz="2541" dirty="0">
                <a:solidFill>
                  <a:srgbClr val="231F20"/>
                </a:solidFill>
                <a:latin typeface="Zawgyi-One" panose="020B0604030504040204" pitchFamily="34" charset="0"/>
                <a:cs typeface="Zawgyi-One" panose="020B0604030504040204" pitchFamily="34" charset="0"/>
              </a:rPr>
            </a:br>
            <a:r>
              <a:rPr lang="en-US" altLang="en-US" sz="2541" dirty="0">
                <a:solidFill>
                  <a:srgbClr val="231F20"/>
                </a:solidFill>
                <a:latin typeface="Zawgyi-One" panose="020B0604030504040204" pitchFamily="34" charset="0"/>
                <a:cs typeface="Zawgyi-One" panose="020B0604030504040204" pitchFamily="34" charset="0"/>
              </a:rPr>
              <a:t> ၾ</a:t>
            </a:r>
            <a:r>
              <a:rPr lang="en-US" altLang="en-US" sz="2541" dirty="0" err="1">
                <a:solidFill>
                  <a:srgbClr val="231F20"/>
                </a:solidFill>
                <a:latin typeface="Zawgyi-One" panose="020B0604030504040204" pitchFamily="34" charset="0"/>
                <a:cs typeface="Zawgyi-One" panose="020B0604030504040204" pitchFamily="34" charset="0"/>
              </a:rPr>
              <a:t>ကည</a:t>
            </a:r>
            <a:r>
              <a:rPr lang="en-US" altLang="en-US" sz="2541" dirty="0">
                <a:solidFill>
                  <a:srgbClr val="231F20"/>
                </a:solidFill>
                <a:latin typeface="Zawgyi-One" panose="020B0604030504040204" pitchFamily="34" charset="0"/>
                <a:cs typeface="Zawgyi-One" panose="020B0604030504040204" pitchFamily="34" charset="0"/>
              </a:rPr>
              <a:t>့္ပါ ။	။ </a:t>
            </a:r>
            <a:r>
              <a:rPr lang="en-US" altLang="en-US" sz="2541" dirty="0" err="1">
                <a:solidFill>
                  <a:srgbClr val="231F20"/>
                </a:solidFill>
                <a:latin typeface="Zawgyi-One" panose="020B0604030504040204" pitchFamily="34" charset="0"/>
                <a:cs typeface="Zawgyi-One" panose="020B0604030504040204" pitchFamily="34" charset="0"/>
              </a:rPr>
              <a:t>အေျခအေနကို</a:t>
            </a:r>
            <a:r>
              <a:rPr lang="en-US" altLang="en-US" sz="2541" dirty="0">
                <a:solidFill>
                  <a:srgbClr val="231F20"/>
                </a:solidFill>
                <a:latin typeface="Zawgyi-One" panose="020B0604030504040204" pitchFamily="34" charset="0"/>
                <a:cs typeface="Zawgyi-One" panose="020B0604030504040204" pitchFamily="34" charset="0"/>
              </a:rPr>
              <a:t> </a:t>
            </a:r>
            <a:r>
              <a:rPr lang="en-US" altLang="en-US" sz="2541" dirty="0" err="1">
                <a:solidFill>
                  <a:srgbClr val="231F20"/>
                </a:solidFill>
                <a:latin typeface="Zawgyi-One" panose="020B0604030504040204" pitchFamily="34" charset="0"/>
                <a:cs typeface="Zawgyi-One" panose="020B0604030504040204" pitchFamily="34" charset="0"/>
              </a:rPr>
              <a:t>ဆန္းစစ္သံုးသပ္ပ</a:t>
            </a:r>
            <a:r>
              <a:rPr lang="en-US" altLang="en-US" sz="2541" dirty="0">
                <a:solidFill>
                  <a:srgbClr val="231F20"/>
                </a:solidFill>
                <a:latin typeface="Zawgyi-One" panose="020B0604030504040204" pitchFamily="34" charset="0"/>
                <a:cs typeface="Zawgyi-One" panose="020B0604030504040204" pitchFamily="34" charset="0"/>
              </a:rPr>
              <a:t>ါ။ </a:t>
            </a:r>
            <a:r>
              <a:rPr lang="en-US" altLang="en-US" sz="2491" b="1" dirty="0"/>
              <a:t> </a:t>
            </a:r>
          </a:p>
        </p:txBody>
      </p:sp>
      <p:sp>
        <p:nvSpPr>
          <p:cNvPr id="107523" name="Content Placeholder 2">
            <a:extLst>
              <a:ext uri="{FF2B5EF4-FFF2-40B4-BE49-F238E27FC236}">
                <a16:creationId xmlns:a16="http://schemas.microsoft.com/office/drawing/2014/main" id="{86936C11-6BCF-467D-9D32-F5FD92827BCA}"/>
              </a:ext>
            </a:extLst>
          </p:cNvPr>
          <p:cNvSpPr>
            <a:spLocks noGrp="1"/>
          </p:cNvSpPr>
          <p:nvPr>
            <p:ph idx="4294967295"/>
          </p:nvPr>
        </p:nvSpPr>
        <p:spPr bwMode="auto">
          <a:xfrm>
            <a:off x="2445" y="1068125"/>
            <a:ext cx="8858556" cy="557350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lnSpcReduction="10000"/>
          </a:bodyPr>
          <a:lstStyle/>
          <a:p>
            <a:pPr marL="316324" indent="-316324">
              <a:defRPr/>
            </a:pPr>
            <a:r>
              <a:rPr lang="en-US" altLang="en-US" sz="1848" dirty="0">
                <a:solidFill>
                  <a:srgbClr val="002060"/>
                </a:solidFill>
              </a:rPr>
              <a:t>The practical and emotional support children may need; are they affected personally by worries, by violence, fear of losing their livelihood, etc.  </a:t>
            </a:r>
          </a:p>
          <a:p>
            <a:pPr marL="316324" indent="-316324">
              <a:defRPr/>
            </a:pPr>
            <a:r>
              <a:rPr lang="en-US" altLang="en-US" sz="1848" dirty="0">
                <a:solidFill>
                  <a:srgbClr val="002060"/>
                </a:solidFill>
              </a:rPr>
              <a:t>The situation children will find themselves in: are they in lockdown, in isolation, quarantined, alone or with families or others, etc. </a:t>
            </a:r>
          </a:p>
          <a:p>
            <a:pPr marL="316324" indent="-316324">
              <a:defRPr/>
            </a:pPr>
            <a:r>
              <a:rPr lang="en-US" altLang="en-US" sz="1848" dirty="0">
                <a:solidFill>
                  <a:srgbClr val="002060"/>
                </a:solidFill>
              </a:rPr>
              <a:t>The imagined or realistic risks children are experiencing; are they fearing infecting others though showing no symptoms and having followed the guidelines etc.?  </a:t>
            </a:r>
          </a:p>
          <a:p>
            <a:pPr marL="316324" indent="-316324">
              <a:defRPr/>
            </a:pPr>
            <a:endParaRPr lang="en-US" altLang="en-US" sz="1848" dirty="0">
              <a:solidFill>
                <a:srgbClr val="002060"/>
              </a:solidFill>
            </a:endParaRPr>
          </a:p>
          <a:p>
            <a:pPr marL="316324" indent="-316324">
              <a:lnSpc>
                <a:spcPct val="110000"/>
              </a:lnSpc>
              <a:defRPr/>
            </a:pPr>
            <a:r>
              <a:rPr lang="en-US" altLang="en-US" sz="1848" dirty="0" err="1">
                <a:solidFill>
                  <a:srgbClr val="231F20"/>
                </a:solidFill>
                <a:latin typeface="Zawgyi-One" panose="020B0604030504040204" pitchFamily="34" charset="0"/>
                <a:cs typeface="Zawgyi-One" panose="020B0604030504040204" pitchFamily="34" charset="0"/>
              </a:rPr>
              <a:t>အၾကမ္းဖက္မွုခံရေ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ကေလးမ်ား</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အလုပ္အကို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ဆံုးရွုံးမည္ကို</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စိုးရိမ္ေနရသူမ်ား</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ရာဂါကူးစက္ခံရမည္ကို</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စိုးရိမ္ေသာက</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ဖစ္ေနေသာကေလးမ်ားသည</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စိတ္ပိုင္းဆိုင္ရာနွ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လက္ေတ</a:t>
            </a:r>
            <a:r>
              <a:rPr lang="en-US" altLang="en-US" sz="1848" dirty="0">
                <a:solidFill>
                  <a:srgbClr val="231F20"/>
                </a:solidFill>
                <a:latin typeface="Zawgyi-One" panose="020B0604030504040204" pitchFamily="34" charset="0"/>
                <a:cs typeface="Zawgyi-One" panose="020B0604030504040204" pitchFamily="34" charset="0"/>
              </a:rPr>
              <a:t>ြ႔</a:t>
            </a:r>
            <a:r>
              <a:rPr lang="en-US" altLang="en-US" sz="1848" dirty="0" err="1">
                <a:solidFill>
                  <a:srgbClr val="231F20"/>
                </a:solidFill>
                <a:latin typeface="Zawgyi-One" panose="020B0604030504040204" pitchFamily="34" charset="0"/>
                <a:cs typeface="Zawgyi-One" panose="020B0604030504040204" pitchFamily="34" charset="0"/>
              </a:rPr>
              <a:t>က်ေ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ပံ့ပိုးကူညီမွုမ်ားကိုလိုအပ္နိုင္ပါသည</a:t>
            </a:r>
            <a:r>
              <a:rPr lang="en-US" altLang="en-US" sz="1848" dirty="0">
                <a:solidFill>
                  <a:srgbClr val="231F20"/>
                </a:solidFill>
                <a:latin typeface="Zawgyi-One" panose="020B0604030504040204" pitchFamily="34" charset="0"/>
                <a:cs typeface="Zawgyi-One" panose="020B0604030504040204" pitchFamily="34" charset="0"/>
              </a:rPr>
              <a:t>္။ </a:t>
            </a:r>
          </a:p>
          <a:p>
            <a:pPr marL="316324" indent="-316324">
              <a:lnSpc>
                <a:spcPct val="110000"/>
              </a:lnSpc>
              <a:defRPr/>
            </a:pPr>
            <a:r>
              <a:rPr lang="en-US" altLang="en-US" sz="1848" dirty="0" err="1">
                <a:solidFill>
                  <a:srgbClr val="231F20"/>
                </a:solidFill>
                <a:latin typeface="Zawgyi-One" panose="020B0604030504040204" pitchFamily="34" charset="0"/>
                <a:cs typeface="Zawgyi-One" panose="020B0604030504040204" pitchFamily="34" charset="0"/>
              </a:rPr>
              <a:t>ကေလးသည</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မိသားစုမ်ားနွ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သီးျခားေနထိုင္ေနရျခ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a:solidFill>
                  <a:srgbClr val="002060"/>
                </a:solidFill>
              </a:rPr>
              <a:t>quarantine </a:t>
            </a:r>
            <a:r>
              <a:rPr lang="en-US" altLang="en-US" sz="1848" dirty="0" err="1">
                <a:solidFill>
                  <a:srgbClr val="231F20"/>
                </a:solidFill>
                <a:latin typeface="Zawgyi-One" panose="020B0604030504040204" pitchFamily="34" charset="0"/>
                <a:cs typeface="Zawgyi-One" panose="020B0604030504040204" pitchFamily="34" charset="0"/>
              </a:rPr>
              <a:t>တြင္ေနထိုင္ေနရျခ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a:solidFill>
                  <a:srgbClr val="002060"/>
                </a:solidFill>
              </a:rPr>
              <a:t>lockdown </a:t>
            </a:r>
            <a:r>
              <a:rPr lang="en-US" altLang="en-US" sz="1848" dirty="0" err="1">
                <a:solidFill>
                  <a:srgbClr val="231F20"/>
                </a:solidFill>
                <a:latin typeface="Zawgyi-One" panose="020B0604030504040204" pitchFamily="34" charset="0"/>
                <a:cs typeface="Zawgyi-One" panose="020B0604030504040204" pitchFamily="34" charset="0"/>
              </a:rPr>
              <a:t>သပ္မွတ္ထားေ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ဒသတြင္ေနထိုင္ေနရျခ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အစရွိေ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အေျခအေနမ်ားကို</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ဆန္းစစ</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လ့လာပ</a:t>
            </a:r>
            <a:r>
              <a:rPr lang="en-US" altLang="en-US" sz="1848" dirty="0">
                <a:solidFill>
                  <a:srgbClr val="231F20"/>
                </a:solidFill>
                <a:latin typeface="Zawgyi-One" panose="020B0604030504040204" pitchFamily="34" charset="0"/>
                <a:cs typeface="Zawgyi-One" panose="020B0604030504040204" pitchFamily="34" charset="0"/>
              </a:rPr>
              <a:t>ါ။ </a:t>
            </a:r>
          </a:p>
          <a:p>
            <a:pPr marL="316324" indent="-316324">
              <a:lnSpc>
                <a:spcPct val="110000"/>
              </a:lnSpc>
              <a:defRPr/>
            </a:pPr>
            <a:r>
              <a:rPr lang="en-US" altLang="en-US" sz="1848" dirty="0" err="1">
                <a:solidFill>
                  <a:srgbClr val="231F20"/>
                </a:solidFill>
                <a:latin typeface="Zawgyi-One" panose="020B0604030504040204" pitchFamily="34" charset="0"/>
                <a:cs typeface="Zawgyi-One" panose="020B0604030504040204" pitchFamily="34" charset="0"/>
              </a:rPr>
              <a:t>လက္ေတ</a:t>
            </a:r>
            <a:r>
              <a:rPr lang="en-US" altLang="en-US" sz="1848" dirty="0">
                <a:solidFill>
                  <a:srgbClr val="231F20"/>
                </a:solidFill>
                <a:latin typeface="Zawgyi-One" panose="020B0604030504040204" pitchFamily="34" charset="0"/>
                <a:cs typeface="Zawgyi-One" panose="020B0604030504040204" pitchFamily="34" charset="0"/>
              </a:rPr>
              <a:t>ြ႕</a:t>
            </a:r>
            <a:r>
              <a:rPr lang="en-US" altLang="en-US" sz="1848" dirty="0" err="1">
                <a:solidFill>
                  <a:srgbClr val="231F20"/>
                </a:solidFill>
                <a:latin typeface="Zawgyi-One" panose="020B0604030504040204" pitchFamily="34" charset="0"/>
                <a:cs typeface="Zawgyi-One" panose="020B0604030504040204" pitchFamily="34" charset="0"/>
              </a:rPr>
              <a:t>က်ေ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သို႔မဟုတ</a:t>
            </a:r>
            <a:r>
              <a:rPr lang="en-US" altLang="en-US" sz="1848" dirty="0">
                <a:solidFill>
                  <a:srgbClr val="231F20"/>
                </a:solidFill>
                <a:latin typeface="Zawgyi-One" panose="020B0604030504040204" pitchFamily="34" charset="0"/>
                <a:cs typeface="Zawgyi-One" panose="020B0604030504040204" pitchFamily="34" charset="0"/>
              </a:rPr>
              <a:t>္ ၾ</a:t>
            </a:r>
            <a:r>
              <a:rPr lang="en-US" altLang="en-US" sz="1848" dirty="0" err="1">
                <a:solidFill>
                  <a:srgbClr val="231F20"/>
                </a:solidFill>
                <a:latin typeface="Zawgyi-One" panose="020B0604030504040204" pitchFamily="34" charset="0"/>
                <a:cs typeface="Zawgyi-One" panose="020B0604030504040204" pitchFamily="34" charset="0"/>
              </a:rPr>
              <a:t>ကံဳေတ</a:t>
            </a:r>
            <a:r>
              <a:rPr lang="en-US" altLang="en-US" sz="1848" dirty="0">
                <a:solidFill>
                  <a:srgbClr val="231F20"/>
                </a:solidFill>
                <a:latin typeface="Zawgyi-One" panose="020B0604030504040204" pitchFamily="34" charset="0"/>
                <a:cs typeface="Zawgyi-One" panose="020B0604030504040204" pitchFamily="34" charset="0"/>
              </a:rPr>
              <a:t>ြ႔</a:t>
            </a:r>
            <a:r>
              <a:rPr lang="en-US" altLang="en-US" sz="1848" dirty="0" err="1">
                <a:solidFill>
                  <a:srgbClr val="231F20"/>
                </a:solidFill>
                <a:latin typeface="Zawgyi-One" panose="020B0604030504040204" pitchFamily="34" charset="0"/>
                <a:cs typeface="Zawgyi-One" panose="020B0604030504040204" pitchFamily="34" charset="0"/>
              </a:rPr>
              <a:t>လာသည္ဟုထင</a:t>
            </a:r>
            <a:r>
              <a:rPr lang="en-US" altLang="en-US" sz="1848" dirty="0">
                <a:solidFill>
                  <a:srgbClr val="231F20"/>
                </a:solidFill>
                <a:latin typeface="Zawgyi-One" panose="020B0604030504040204" pitchFamily="34" charset="0"/>
                <a:cs typeface="Zawgyi-One" panose="020B0604030504040204" pitchFamily="34" charset="0"/>
              </a:rPr>
              <a:t>္ျ</a:t>
            </a:r>
            <a:r>
              <a:rPr lang="en-US" altLang="en-US" sz="1848" dirty="0" err="1">
                <a:solidFill>
                  <a:srgbClr val="231F20"/>
                </a:solidFill>
                <a:latin typeface="Zawgyi-One" panose="020B0604030504040204" pitchFamily="34" charset="0"/>
                <a:cs typeface="Zawgyi-One" panose="020B0604030504040204" pitchFamily="34" charset="0"/>
              </a:rPr>
              <a:t>မင္ယူဆေ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ဘးအ</a:t>
            </a:r>
            <a:r>
              <a:rPr lang="en-US" altLang="en-US" sz="1848" dirty="0">
                <a:solidFill>
                  <a:srgbClr val="231F20"/>
                </a:solidFill>
                <a:latin typeface="Zawgyi-One" panose="020B0604030504040204" pitchFamily="34" charset="0"/>
                <a:cs typeface="Zawgyi-One" panose="020B0604030504040204" pitchFamily="34" charset="0"/>
              </a:rPr>
              <a:t>ႏ</a:t>
            </a:r>
            <a:r>
              <a:rPr lang="my-MM" altLang="en-US" sz="1848" dirty="0">
                <a:solidFill>
                  <a:srgbClr val="231F20"/>
                </a:solidFill>
                <a:latin typeface="zawgyi1" panose="020B0604020202020204" pitchFamily="34" charset="0"/>
                <a:cs typeface="Zawgyi-One" panose="020B0604030504040204" pitchFamily="34" charset="0"/>
              </a:rPr>
              <a:t>ၲ</a:t>
            </a:r>
            <a:r>
              <a:rPr lang="en-US" altLang="en-US" sz="1848" dirty="0" err="1">
                <a:solidFill>
                  <a:srgbClr val="231F20"/>
                </a:solidFill>
                <a:latin typeface="zawgyi1" panose="020B0604020202020204" pitchFamily="34" charset="0"/>
                <a:cs typeface="Zawgyi-One" panose="020B0604030504040204" pitchFamily="34" charset="0"/>
              </a:rPr>
              <a:t>ရာယ</a:t>
            </a:r>
            <a:r>
              <a:rPr lang="en-US" altLang="en-US" sz="1848" dirty="0">
                <a:solidFill>
                  <a:srgbClr val="231F20"/>
                </a:solidFill>
                <a:latin typeface="zawgyi1" panose="020B0604020202020204" pitchFamily="34" charset="0"/>
                <a:cs typeface="Zawgyi-One" panose="020B0604030504040204" pitchFamily="34" charset="0"/>
              </a:rPr>
              <a:t>္ </a:t>
            </a:r>
            <a:r>
              <a:rPr lang="en-US" altLang="en-US" sz="1848" dirty="0" err="1">
                <a:solidFill>
                  <a:srgbClr val="231F20"/>
                </a:solidFill>
                <a:latin typeface="zawgyi1" panose="020B0604020202020204" pitchFamily="34" charset="0"/>
                <a:cs typeface="Zawgyi-One" panose="020B0604030504040204" pitchFamily="34" charset="0"/>
              </a:rPr>
              <a:t>မ်ားနွင</a:t>
            </a:r>
            <a:r>
              <a:rPr lang="en-US" altLang="en-US" sz="1848" dirty="0">
                <a:solidFill>
                  <a:srgbClr val="231F20"/>
                </a:solidFill>
                <a:latin typeface="zawgyi1" panose="020B0604020202020204" pitchFamily="34" charset="0"/>
                <a:cs typeface="Zawgyi-One" panose="020B0604030504040204" pitchFamily="34" charset="0"/>
              </a:rPr>
              <a:t>့္ </a:t>
            </a:r>
            <a:r>
              <a:rPr lang="en-US" altLang="en-US" sz="1848" dirty="0" err="1">
                <a:solidFill>
                  <a:srgbClr val="231F20"/>
                </a:solidFill>
                <a:latin typeface="zawgyi1" panose="020B0604020202020204" pitchFamily="34" charset="0"/>
                <a:cs typeface="Zawgyi-One" panose="020B0604030504040204" pitchFamily="34" charset="0"/>
              </a:rPr>
              <a:t>ရင္ဆိုင္ေနရပါသလား</a:t>
            </a:r>
            <a:r>
              <a:rPr lang="en-US" altLang="en-US" sz="1848" dirty="0">
                <a:solidFill>
                  <a:srgbClr val="231F20"/>
                </a:solidFill>
                <a:latin typeface="zawgyi1" panose="020B0604020202020204" pitchFamily="34" charset="0"/>
                <a:cs typeface="Zawgyi-One" panose="020B0604030504040204" pitchFamily="34" charset="0"/>
              </a:rPr>
              <a:t>။ ၄င္းတို႔သည္ </a:t>
            </a:r>
            <a:r>
              <a:rPr lang="en-US" altLang="en-US" sz="1848" dirty="0" err="1">
                <a:solidFill>
                  <a:srgbClr val="231F20"/>
                </a:solidFill>
                <a:latin typeface="zawgyi1" panose="020B0604020202020204" pitchFamily="34" charset="0"/>
                <a:cs typeface="Zawgyi-One" panose="020B0604030504040204" pitchFamily="34" charset="0"/>
              </a:rPr>
              <a:t>ေရာဂါပိုးကူးစက္မွု</a:t>
            </a:r>
            <a:r>
              <a:rPr lang="en-US" altLang="en-US" sz="1848" dirty="0">
                <a:solidFill>
                  <a:srgbClr val="231F20"/>
                </a:solidFill>
                <a:latin typeface="zawgyi1" panose="020B0604020202020204" pitchFamily="34" charset="0"/>
                <a:cs typeface="Zawgyi-One" panose="020B0604030504040204" pitchFamily="34" charset="0"/>
              </a:rPr>
              <a:t> ၾ</a:t>
            </a:r>
            <a:r>
              <a:rPr lang="en-US" altLang="en-US" sz="1848" dirty="0" err="1">
                <a:solidFill>
                  <a:srgbClr val="231F20"/>
                </a:solidFill>
                <a:latin typeface="zawgyi1" panose="020B0604020202020204" pitchFamily="34" charset="0"/>
                <a:cs typeface="Zawgyi-One" panose="020B0604030504040204" pitchFamily="34" charset="0"/>
              </a:rPr>
              <a:t>ကိဳတင္ကာကြယ</a:t>
            </a:r>
            <a:r>
              <a:rPr lang="en-US" altLang="en-US" sz="1848" dirty="0">
                <a:solidFill>
                  <a:srgbClr val="231F20"/>
                </a:solidFill>
                <a:latin typeface="zawgyi1" panose="020B0604020202020204" pitchFamily="34" charset="0"/>
                <a:cs typeface="Zawgyi-One" panose="020B0604030504040204" pitchFamily="34" charset="0"/>
              </a:rPr>
              <a:t>္ </a:t>
            </a:r>
            <a:r>
              <a:rPr lang="en-US" altLang="en-US" sz="1848" dirty="0" err="1">
                <a:solidFill>
                  <a:srgbClr val="231F20"/>
                </a:solidFill>
                <a:latin typeface="zawgyi1" panose="020B0604020202020204" pitchFamily="34" charset="0"/>
                <a:cs typeface="Zawgyi-One" panose="020B0604030504040204" pitchFamily="34" charset="0"/>
              </a:rPr>
              <a:t>ေရး</a:t>
            </a:r>
            <a:r>
              <a:rPr lang="en-US" altLang="en-US" sz="1848" dirty="0">
                <a:solidFill>
                  <a:srgbClr val="231F20"/>
                </a:solidFill>
                <a:latin typeface="zawgyi1" panose="020B0604020202020204" pitchFamily="34" charset="0"/>
                <a:cs typeface="Zawgyi-One" panose="020B0604030504040204" pitchFamily="34" charset="0"/>
              </a:rPr>
              <a:t> </a:t>
            </a:r>
            <a:r>
              <a:rPr lang="en-US" altLang="en-US" sz="1848" dirty="0" err="1">
                <a:solidFill>
                  <a:srgbClr val="231F20"/>
                </a:solidFill>
                <a:latin typeface="zawgyi1" panose="020B0604020202020204" pitchFamily="34" charset="0"/>
                <a:cs typeface="Zawgyi-One" panose="020B0604030504040204" pitchFamily="34" charset="0"/>
              </a:rPr>
              <a:t>လမ္းညြန္ခ်က္မ်ားကို</a:t>
            </a:r>
            <a:r>
              <a:rPr lang="en-US" altLang="en-US" sz="1848" dirty="0">
                <a:solidFill>
                  <a:srgbClr val="231F20"/>
                </a:solidFill>
                <a:latin typeface="zawgyi1" panose="020B0604020202020204" pitchFamily="34" charset="0"/>
                <a:cs typeface="Zawgyi-One" panose="020B0604030504040204" pitchFamily="34" charset="0"/>
              </a:rPr>
              <a:t> </a:t>
            </a:r>
            <a:r>
              <a:rPr lang="en-US" altLang="en-US" sz="1848" dirty="0" err="1">
                <a:solidFill>
                  <a:srgbClr val="231F20"/>
                </a:solidFill>
                <a:latin typeface="zawgyi1" panose="020B0604020202020204" pitchFamily="34" charset="0"/>
                <a:cs typeface="Zawgyi-One" panose="020B0604030504040204" pitchFamily="34" charset="0"/>
              </a:rPr>
              <a:t>လိုက္နာပါသလား</a:t>
            </a:r>
            <a:r>
              <a:rPr lang="en-US" altLang="en-US" sz="1848" dirty="0">
                <a:solidFill>
                  <a:srgbClr val="231F20"/>
                </a:solidFill>
                <a:latin typeface="zawgyi1" panose="020B0604020202020204" pitchFamily="34" charset="0"/>
                <a:cs typeface="Zawgyi-One" panose="020B0604030504040204" pitchFamily="34" charset="0"/>
              </a:rPr>
              <a:t>။ </a:t>
            </a:r>
            <a:r>
              <a:rPr lang="en-US" altLang="en-US" sz="1848" dirty="0" err="1">
                <a:solidFill>
                  <a:srgbClr val="231F20"/>
                </a:solidFill>
                <a:latin typeface="zawgyi1" panose="020B0604020202020204" pitchFamily="34" charset="0"/>
                <a:cs typeface="Zawgyi-One" panose="020B0604030504040204" pitchFamily="34" charset="0"/>
              </a:rPr>
              <a:t>ေရာဂါလက</a:t>
            </a:r>
            <a:r>
              <a:rPr lang="en-US" altLang="en-US" sz="1848" dirty="0" err="1">
                <a:solidFill>
                  <a:srgbClr val="231F20"/>
                </a:solidFill>
                <a:latin typeface="Pyidaungsu" panose="020B0502040204020203" pitchFamily="34" charset="0"/>
                <a:cs typeface="Pyidaungsu" panose="020B0502040204020203" pitchFamily="34" charset="0"/>
              </a:rPr>
              <a:t>ဏာ</a:t>
            </a:r>
            <a:r>
              <a:rPr lang="en-US" altLang="en-US" sz="1848" dirty="0" err="1">
                <a:solidFill>
                  <a:srgbClr val="231F20"/>
                </a:solidFill>
                <a:latin typeface="Zawgyi-One" panose="020B0604030504040204" pitchFamily="34" charset="0"/>
                <a:cs typeface="Zawgyi-One" panose="020B0604030504040204" pitchFamily="34" charset="0"/>
              </a:rPr>
              <a:t>ေတ</a:t>
            </a:r>
            <a:r>
              <a:rPr lang="en-US" altLang="en-US" sz="1848" dirty="0">
                <a:solidFill>
                  <a:srgbClr val="231F20"/>
                </a:solidFill>
                <a:latin typeface="Zawgyi-One" panose="020B0604030504040204" pitchFamily="34" charset="0"/>
                <a:cs typeface="Zawgyi-One" panose="020B0604030504040204" pitchFamily="34" charset="0"/>
              </a:rPr>
              <a:t>ြ႔</a:t>
            </a:r>
            <a:r>
              <a:rPr lang="en-US" altLang="en-US" sz="1848" dirty="0" err="1">
                <a:solidFill>
                  <a:srgbClr val="231F20"/>
                </a:solidFill>
                <a:latin typeface="Zawgyi-One" panose="020B0604030504040204" pitchFamily="34" charset="0"/>
                <a:cs typeface="Zawgyi-One" panose="020B0604030504040204" pitchFamily="34" charset="0"/>
              </a:rPr>
              <a:t>ရေသာ</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အျခားသူမ်ားထံမ</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ကူးစက္မည္ကို</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ၾကာင</a:t>
            </a:r>
            <a:r>
              <a:rPr lang="en-US" altLang="en-US" sz="1848" dirty="0">
                <a:solidFill>
                  <a:srgbClr val="231F20"/>
                </a:solidFill>
                <a:latin typeface="Zawgyi-One" panose="020B0604030504040204" pitchFamily="34" charset="0"/>
                <a:cs typeface="Zawgyi-One" panose="020B0604030504040204" pitchFamily="34" charset="0"/>
              </a:rPr>
              <a:t>့္</a:t>
            </a:r>
            <a:r>
              <a:rPr lang="en-US" altLang="en-US" sz="1848" dirty="0" err="1">
                <a:solidFill>
                  <a:srgbClr val="231F20"/>
                </a:solidFill>
                <a:latin typeface="Zawgyi-One" panose="020B0604030504040204" pitchFamily="34" charset="0"/>
                <a:cs typeface="Zawgyi-One" panose="020B0604030504040204" pitchFamily="34" charset="0"/>
              </a:rPr>
              <a:t>ရြံ႔ေနပါသလား</a:t>
            </a:r>
            <a:r>
              <a:rPr lang="en-US" altLang="en-US" sz="1848" dirty="0">
                <a:solidFill>
                  <a:srgbClr val="231F20"/>
                </a:solidFill>
                <a:latin typeface="Zawgyi-One" panose="020B0604030504040204" pitchFamily="34" charset="0"/>
                <a:cs typeface="Zawgyi-One" panose="020B0604030504040204" pitchFamily="34" charset="0"/>
              </a:rPr>
              <a:t>။ </a:t>
            </a:r>
            <a:endParaRPr lang="en-US" altLang="en-US" sz="1848" dirty="0">
              <a:solidFill>
                <a:srgbClr val="002060"/>
              </a:solidFill>
            </a:endParaRPr>
          </a:p>
        </p:txBody>
      </p:sp>
    </p:spTree>
    <p:extLst>
      <p:ext uri="{BB962C8B-B14F-4D97-AF65-F5344CB8AC3E}">
        <p14:creationId xmlns:p14="http://schemas.microsoft.com/office/powerpoint/2010/main" val="117419362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Title 1">
            <a:extLst>
              <a:ext uri="{FF2B5EF4-FFF2-40B4-BE49-F238E27FC236}">
                <a16:creationId xmlns:a16="http://schemas.microsoft.com/office/drawing/2014/main" id="{87D56BED-0B75-42E2-83B8-ADAA67E84597}"/>
              </a:ext>
            </a:extLst>
          </p:cNvPr>
          <p:cNvSpPr>
            <a:spLocks noGrp="1"/>
          </p:cNvSpPr>
          <p:nvPr>
            <p:ph type="title"/>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0000"/>
          </a:bodyPr>
          <a:lstStyle/>
          <a:p>
            <a:pPr>
              <a:defRPr/>
            </a:pPr>
            <a:r>
              <a:rPr lang="en-US" altLang="en-US" sz="2491" b="1" dirty="0"/>
              <a:t>LOOK – what needs to be prepared?</a:t>
            </a:r>
            <a:br>
              <a:rPr lang="en-US" altLang="en-US" sz="2491" b="1" dirty="0"/>
            </a:br>
            <a:r>
              <a:rPr lang="en-US" altLang="en-US" sz="2310" dirty="0">
                <a:solidFill>
                  <a:srgbClr val="231F20"/>
                </a:solidFill>
                <a:latin typeface="Zawgyi-One" panose="020B0604030504040204" pitchFamily="34" charset="0"/>
                <a:cs typeface="Zawgyi-One" panose="020B0604030504040204" pitchFamily="34" charset="0"/>
              </a:rPr>
              <a:t>ၾ</a:t>
            </a:r>
            <a:r>
              <a:rPr lang="en-US" altLang="en-US" sz="2310" dirty="0" err="1">
                <a:solidFill>
                  <a:srgbClr val="231F20"/>
                </a:solidFill>
                <a:latin typeface="Zawgyi-One" panose="020B0604030504040204" pitchFamily="34" charset="0"/>
                <a:cs typeface="Zawgyi-One" panose="020B0604030504040204" pitchFamily="34" charset="0"/>
              </a:rPr>
              <a:t>ကည</a:t>
            </a:r>
            <a:r>
              <a:rPr lang="en-US" altLang="en-US" sz="2310" dirty="0">
                <a:solidFill>
                  <a:srgbClr val="231F20"/>
                </a:solidFill>
                <a:latin typeface="Zawgyi-One" panose="020B0604030504040204" pitchFamily="34" charset="0"/>
                <a:cs typeface="Zawgyi-One" panose="020B0604030504040204" pitchFamily="34" charset="0"/>
              </a:rPr>
              <a:t>့္ပါ ။	။ </a:t>
            </a:r>
            <a:r>
              <a:rPr lang="en-US" altLang="en-US" sz="2310" dirty="0" err="1">
                <a:solidFill>
                  <a:srgbClr val="231F20"/>
                </a:solidFill>
                <a:latin typeface="Zawgyi-One" panose="020B0604030504040204" pitchFamily="34" charset="0"/>
                <a:cs typeface="Zawgyi-One" panose="020B0604030504040204" pitchFamily="34" charset="0"/>
              </a:rPr>
              <a:t>ဘာေတြကို</a:t>
            </a:r>
            <a:r>
              <a:rPr lang="en-US" altLang="en-US" sz="2310" dirty="0">
                <a:solidFill>
                  <a:srgbClr val="231F20"/>
                </a:solidFill>
                <a:latin typeface="Zawgyi-One" panose="020B0604030504040204" pitchFamily="34" charset="0"/>
                <a:cs typeface="Zawgyi-One" panose="020B0604030504040204" pitchFamily="34" charset="0"/>
              </a:rPr>
              <a:t> ၾ</a:t>
            </a:r>
            <a:r>
              <a:rPr lang="en-US" altLang="en-US" sz="2310" dirty="0" err="1">
                <a:solidFill>
                  <a:srgbClr val="231F20"/>
                </a:solidFill>
                <a:latin typeface="Zawgyi-One" panose="020B0604030504040204" pitchFamily="34" charset="0"/>
                <a:cs typeface="Zawgyi-One" panose="020B0604030504040204" pitchFamily="34" charset="0"/>
              </a:rPr>
              <a:t>ကိဳတင</a:t>
            </a:r>
            <a:r>
              <a:rPr lang="en-US" altLang="en-US" sz="2310" dirty="0">
                <a:solidFill>
                  <a:srgbClr val="231F20"/>
                </a:solidFill>
                <a:latin typeface="Zawgyi-One" panose="020B0604030504040204" pitchFamily="34" charset="0"/>
                <a:cs typeface="Zawgyi-One" panose="020B0604030504040204" pitchFamily="34" charset="0"/>
              </a:rPr>
              <a:t>္ျ</a:t>
            </a:r>
            <a:r>
              <a:rPr lang="en-US" altLang="en-US" sz="2310" dirty="0" err="1">
                <a:solidFill>
                  <a:srgbClr val="231F20"/>
                </a:solidFill>
                <a:latin typeface="Zawgyi-One" panose="020B0604030504040204" pitchFamily="34" charset="0"/>
                <a:cs typeface="Zawgyi-One" panose="020B0604030504040204" pitchFamily="34" charset="0"/>
              </a:rPr>
              <a:t>ပင္ဆင္ဖို႔လိုမလဲ</a:t>
            </a:r>
            <a:r>
              <a:rPr lang="en-US" altLang="en-US" sz="2310" dirty="0">
                <a:solidFill>
                  <a:srgbClr val="231F20"/>
                </a:solidFill>
                <a:latin typeface="Zawgyi-One" panose="020B0604030504040204" pitchFamily="34" charset="0"/>
                <a:cs typeface="Zawgyi-One" panose="020B0604030504040204" pitchFamily="34" charset="0"/>
              </a:rPr>
              <a:t>	</a:t>
            </a:r>
            <a:br>
              <a:rPr lang="en-US" altLang="en-US" sz="2491" b="1" dirty="0"/>
            </a:br>
            <a:endParaRPr lang="en-US" altLang="en-US" sz="2491" b="1" dirty="0"/>
          </a:p>
        </p:txBody>
      </p:sp>
      <p:sp>
        <p:nvSpPr>
          <p:cNvPr id="108547" name="Content Placeholder 2">
            <a:extLst>
              <a:ext uri="{FF2B5EF4-FFF2-40B4-BE49-F238E27FC236}">
                <a16:creationId xmlns:a16="http://schemas.microsoft.com/office/drawing/2014/main" id="{96CAFE63-0077-4DA3-8829-82CE431A375B}"/>
              </a:ext>
            </a:extLst>
          </p:cNvPr>
          <p:cNvSpPr>
            <a:spLocks noGrp="1"/>
          </p:cNvSpPr>
          <p:nvPr>
            <p:ph idx="4294967295"/>
          </p:nvPr>
        </p:nvSpPr>
        <p:spPr bwMode="auto">
          <a:xfrm>
            <a:off x="47371" y="1179063"/>
            <a:ext cx="9094184" cy="541855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pPr marL="316324" indent="-316324">
              <a:defRPr/>
            </a:pPr>
            <a:r>
              <a:rPr lang="en-US" altLang="en-US" sz="1848" dirty="0">
                <a:solidFill>
                  <a:srgbClr val="FF0000"/>
                </a:solidFill>
              </a:rPr>
              <a:t>Forms to record information </a:t>
            </a:r>
            <a:r>
              <a:rPr lang="en-US" altLang="en-US" sz="1848" dirty="0">
                <a:solidFill>
                  <a:srgbClr val="002060"/>
                </a:solidFill>
              </a:rPr>
              <a:t>shared, verbal </a:t>
            </a:r>
            <a:r>
              <a:rPr lang="en-US" altLang="en-US" sz="1848" dirty="0">
                <a:solidFill>
                  <a:srgbClr val="FF0000"/>
                </a:solidFill>
              </a:rPr>
              <a:t>consent </a:t>
            </a:r>
            <a:r>
              <a:rPr lang="en-US" altLang="en-US" sz="1848" dirty="0">
                <a:solidFill>
                  <a:srgbClr val="002060"/>
                </a:solidFill>
              </a:rPr>
              <a:t>must be obtained from people</a:t>
            </a:r>
          </a:p>
          <a:p>
            <a:pPr marL="316324" indent="-316324">
              <a:defRPr/>
            </a:pPr>
            <a:r>
              <a:rPr lang="en-US" altLang="en-US" sz="1848" dirty="0">
                <a:solidFill>
                  <a:srgbClr val="FF0000"/>
                </a:solidFill>
              </a:rPr>
              <a:t>Updated information on the virus, a list of available services including health and MHPSS</a:t>
            </a:r>
          </a:p>
          <a:p>
            <a:pPr marL="316324" indent="-316324">
              <a:defRPr/>
            </a:pPr>
            <a:r>
              <a:rPr lang="en-US" altLang="en-US" sz="1848" dirty="0">
                <a:solidFill>
                  <a:srgbClr val="002060"/>
                </a:solidFill>
              </a:rPr>
              <a:t>Procedures for </a:t>
            </a:r>
            <a:r>
              <a:rPr lang="en-US" altLang="en-US" sz="1848" dirty="0">
                <a:solidFill>
                  <a:srgbClr val="FF0000"/>
                </a:solidFill>
              </a:rPr>
              <a:t>when and how to refer </a:t>
            </a:r>
            <a:r>
              <a:rPr lang="en-US" altLang="en-US" sz="1848" dirty="0">
                <a:solidFill>
                  <a:srgbClr val="002060"/>
                </a:solidFill>
              </a:rPr>
              <a:t>persons with severe psychological distress</a:t>
            </a:r>
          </a:p>
          <a:p>
            <a:pPr marL="316324" indent="-316324">
              <a:defRPr/>
            </a:pPr>
            <a:r>
              <a:rPr lang="en-US" altLang="en-US" sz="1848" dirty="0">
                <a:solidFill>
                  <a:srgbClr val="FF0000"/>
                </a:solidFill>
              </a:rPr>
              <a:t>An updated list of links and other information and psychoeducational materials </a:t>
            </a:r>
            <a:r>
              <a:rPr lang="en-US" altLang="en-US" sz="1848" dirty="0">
                <a:solidFill>
                  <a:srgbClr val="002060"/>
                </a:solidFill>
              </a:rPr>
              <a:t>that can be sent to children when ending the call</a:t>
            </a:r>
          </a:p>
          <a:p>
            <a:pPr marL="316324" indent="-316324">
              <a:defRPr/>
            </a:pPr>
            <a:endParaRPr lang="en-US" altLang="en-US" sz="1848" dirty="0">
              <a:solidFill>
                <a:srgbClr val="002060"/>
              </a:solidFill>
            </a:endParaRPr>
          </a:p>
          <a:p>
            <a:pPr marL="316324" indent="-316324">
              <a:lnSpc>
                <a:spcPct val="150000"/>
              </a:lnSpc>
              <a:defRPr/>
            </a:pPr>
            <a:r>
              <a:rPr lang="en-US" altLang="en-US" sz="1848" dirty="0">
                <a:solidFill>
                  <a:srgbClr val="002060"/>
                </a:solidFill>
              </a:rPr>
              <a:t> </a:t>
            </a:r>
            <a:r>
              <a:rPr lang="en-US" altLang="en-US" sz="1848" dirty="0" err="1">
                <a:solidFill>
                  <a:srgbClr val="231F20"/>
                </a:solidFill>
                <a:latin typeface="Zawgyi-One" panose="020B0604030504040204" pitchFamily="34" charset="0"/>
                <a:cs typeface="Zawgyi-One" panose="020B0604030504040204" pitchFamily="34" charset="0"/>
              </a:rPr>
              <a:t>သေဘာတူခြင</a:t>
            </a:r>
            <a:r>
              <a:rPr lang="en-US" altLang="en-US" sz="1848" dirty="0">
                <a:solidFill>
                  <a:srgbClr val="231F20"/>
                </a:solidFill>
                <a:latin typeface="Zawgyi-One" panose="020B0604030504040204" pitchFamily="34" charset="0"/>
                <a:cs typeface="Zawgyi-One" panose="020B0604030504040204" pitchFamily="34" charset="0"/>
              </a:rPr>
              <a:t>့္ျ့</a:t>
            </a:r>
            <a:r>
              <a:rPr lang="en-US" altLang="en-US" sz="1848" dirty="0" err="1">
                <a:solidFill>
                  <a:srgbClr val="231F20"/>
                </a:solidFill>
                <a:latin typeface="Zawgyi-One" panose="020B0604030504040204" pitchFamily="34" charset="0"/>
                <a:cs typeface="Zawgyi-One" panose="020B0604030504040204" pitchFamily="34" charset="0"/>
              </a:rPr>
              <a:t>ပဳခ်က္ရယူရန</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လိုအပ္ပါသည</a:t>
            </a:r>
            <a:r>
              <a:rPr lang="en-US" altLang="en-US" sz="1848" dirty="0">
                <a:solidFill>
                  <a:srgbClr val="231F20"/>
                </a:solidFill>
                <a:latin typeface="Zawgyi-One" panose="020B0604030504040204" pitchFamily="34" charset="0"/>
                <a:cs typeface="Zawgyi-One" panose="020B0604030504040204" pitchFamily="34" charset="0"/>
              </a:rPr>
              <a:t>္။ မွ်ေ၀ေသာ </a:t>
            </a:r>
            <a:r>
              <a:rPr lang="en-US" altLang="en-US" sz="1848" dirty="0" err="1">
                <a:solidFill>
                  <a:srgbClr val="231F20"/>
                </a:solidFill>
                <a:latin typeface="Zawgyi-One" panose="020B0604030504040204" pitchFamily="34" charset="0"/>
                <a:cs typeface="Zawgyi-One" panose="020B0604030504040204" pitchFamily="34" charset="0"/>
              </a:rPr>
              <a:t>သတင္းအခ်က္အလက္မ်ားကို</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မွတ္တမ္းတင္ရန</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ပံုစံ</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သို</a:t>
            </a:r>
            <a:r>
              <a:rPr lang="en-US" altLang="en-US" sz="1848" dirty="0">
                <a:solidFill>
                  <a:srgbClr val="231F20"/>
                </a:solidFill>
                <a:latin typeface="Zawgyi-One" panose="020B0604030504040204" pitchFamily="34" charset="0"/>
                <a:cs typeface="Zawgyi-One" panose="020B0604030504040204" pitchFamily="34" charset="0"/>
              </a:rPr>
              <a:t>႔) </a:t>
            </a:r>
            <a:r>
              <a:rPr lang="en-US" altLang="en-US" sz="1848" dirty="0" err="1">
                <a:solidFill>
                  <a:srgbClr val="231F20"/>
                </a:solidFill>
                <a:latin typeface="Zawgyi-One" panose="020B0604030504040204" pitchFamily="34" charset="0"/>
                <a:cs typeface="Zawgyi-One" panose="020B0604030504040204" pitchFamily="34" charset="0"/>
              </a:rPr>
              <a:t>စာအုပ</a:t>
            </a:r>
            <a:r>
              <a:rPr lang="en-US" altLang="en-US" sz="1848" dirty="0">
                <a:solidFill>
                  <a:srgbClr val="231F20"/>
                </a:solidFill>
                <a:latin typeface="Zawgyi-One" panose="020B0604030504040204" pitchFamily="34" charset="0"/>
                <a:cs typeface="Zawgyi-One" panose="020B0604030504040204" pitchFamily="34" charset="0"/>
              </a:rPr>
              <a:t>္။ </a:t>
            </a:r>
          </a:p>
          <a:p>
            <a:pPr marL="316324" indent="-316324">
              <a:lnSpc>
                <a:spcPct val="150000"/>
              </a:lnSpc>
              <a:defRPr/>
            </a:pP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ရရွိနိုင္သည</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က်န္းမာေရး</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နွင</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စိတ္လူမွုဆိုင္ရာ</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ပံ့ပိုးမွူ</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ပးေသာ</a:t>
            </a:r>
            <a:r>
              <a:rPr lang="en-US" altLang="en-US" sz="1848" dirty="0">
                <a:solidFill>
                  <a:srgbClr val="231F20"/>
                </a:solidFill>
                <a:latin typeface="Zawgyi-One" panose="020B0604030504040204" pitchFamily="34" charset="0"/>
                <a:cs typeface="Zawgyi-One" panose="020B0604030504040204" pitchFamily="34" charset="0"/>
              </a:rPr>
              <a:t> ၀န္ေဆာင္မွုမ်ားစာရင္း။ </a:t>
            </a:r>
            <a:r>
              <a:rPr lang="en-US" altLang="en-US" sz="1848" dirty="0">
                <a:solidFill>
                  <a:srgbClr val="FF0000"/>
                </a:solidFill>
              </a:rPr>
              <a:t>virus </a:t>
            </a:r>
            <a:r>
              <a:rPr lang="en-US" altLang="en-US" sz="1848" dirty="0" err="1">
                <a:solidFill>
                  <a:srgbClr val="231F20"/>
                </a:solidFill>
                <a:latin typeface="Zawgyi-One" panose="020B0604030504040204" pitchFamily="34" charset="0"/>
                <a:cs typeface="Zawgyi-One" panose="020B0604030504040204" pitchFamily="34" charset="0"/>
              </a:rPr>
              <a:t>ပိုးနွင</a:t>
            </a:r>
            <a:r>
              <a:rPr lang="en-US" altLang="en-US" sz="1848" dirty="0">
                <a:solidFill>
                  <a:srgbClr val="231F20"/>
                </a:solidFill>
                <a:latin typeface="Zawgyi-One" panose="020B0604030504040204" pitchFamily="34" charset="0"/>
                <a:cs typeface="Zawgyi-One" panose="020B0604030504040204" pitchFamily="34" charset="0"/>
              </a:rPr>
              <a:t>့္</a:t>
            </a:r>
            <a:r>
              <a:rPr lang="en-US" altLang="en-US" sz="1848" dirty="0" err="1">
                <a:solidFill>
                  <a:srgbClr val="231F20"/>
                </a:solidFill>
                <a:latin typeface="Zawgyi-One" panose="020B0604030504040204" pitchFamily="34" charset="0"/>
                <a:cs typeface="Zawgyi-One" panose="020B0604030504040204" pitchFamily="34" charset="0"/>
              </a:rPr>
              <a:t>ပါတ္သက္သည</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နာက္ဆံုးသတင္းအခ်က္အလက္မ်ား</a:t>
            </a:r>
            <a:r>
              <a:rPr lang="en-US" altLang="en-US" sz="1848" dirty="0">
                <a:solidFill>
                  <a:srgbClr val="231F20"/>
                </a:solidFill>
                <a:latin typeface="Zawgyi-One" panose="020B0604030504040204" pitchFamily="34" charset="0"/>
                <a:cs typeface="Zawgyi-One" panose="020B0604030504040204" pitchFamily="34" charset="0"/>
              </a:rPr>
              <a:t>။ </a:t>
            </a:r>
          </a:p>
          <a:p>
            <a:pPr marL="316324" indent="-316324">
              <a:lnSpc>
                <a:spcPct val="150000"/>
              </a:lnSpc>
              <a:defRPr/>
            </a:pP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ကေလးနွင</a:t>
            </a:r>
            <a:r>
              <a:rPr lang="en-US" altLang="en-US" sz="1848" dirty="0">
                <a:solidFill>
                  <a:srgbClr val="231F20"/>
                </a:solidFill>
                <a:latin typeface="Zawgyi-One" panose="020B0604030504040204" pitchFamily="34" charset="0"/>
                <a:cs typeface="Zawgyi-One" panose="020B0604030504040204" pitchFamily="34" charset="0"/>
              </a:rPr>
              <a:t>့္</a:t>
            </a:r>
            <a:r>
              <a:rPr lang="en-US" altLang="en-US" sz="1848" dirty="0" err="1">
                <a:solidFill>
                  <a:srgbClr val="231F20"/>
                </a:solidFill>
                <a:latin typeface="Zawgyi-One" panose="020B0604030504040204" pitchFamily="34" charset="0"/>
                <a:cs typeface="Zawgyi-One" panose="020B0604030504040204" pitchFamily="34" charset="0"/>
              </a:rPr>
              <a:t>ခ်ိတ္ဆက္ေပးနိုင္မည</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သူမ်ားစာရင္း</a:t>
            </a:r>
            <a:r>
              <a:rPr lang="en-US" altLang="en-US" sz="1848" dirty="0">
                <a:solidFill>
                  <a:srgbClr val="231F20"/>
                </a:solidFill>
                <a:latin typeface="Zawgyi-One" panose="020B0604030504040204" pitchFamily="34" charset="0"/>
                <a:cs typeface="Zawgyi-One" panose="020B0604030504040204" pitchFamily="34" charset="0"/>
              </a:rPr>
              <a:t>ႏွင့္ </a:t>
            </a:r>
            <a:r>
              <a:rPr lang="en-US" altLang="en-US" sz="1848" dirty="0" err="1">
                <a:solidFill>
                  <a:srgbClr val="231F20"/>
                </a:solidFill>
                <a:latin typeface="Zawgyi-One" panose="020B0604030504040204" pitchFamily="34" charset="0"/>
                <a:cs typeface="Zawgyi-One" panose="020B0604030504040204" pitchFamily="34" charset="0"/>
              </a:rPr>
              <a:t>စိတ္လူမွုေရးရာ</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ပညာေပး</a:t>
            </a:r>
            <a:r>
              <a:rPr lang="en-US" altLang="en-US" sz="1848" dirty="0">
                <a:solidFill>
                  <a:srgbClr val="231F20"/>
                </a:solidFill>
                <a:latin typeface="Zawgyi-One" panose="020B0604030504040204" pitchFamily="34" charset="0"/>
                <a:cs typeface="Zawgyi-One" panose="020B0604030504040204" pitchFamily="34" charset="0"/>
              </a:rPr>
              <a:t> </a:t>
            </a:r>
            <a:r>
              <a:rPr lang="en-US" altLang="en-US" sz="1848" dirty="0" err="1">
                <a:solidFill>
                  <a:srgbClr val="231F20"/>
                </a:solidFill>
                <a:latin typeface="Zawgyi-One" panose="020B0604030504040204" pitchFamily="34" charset="0"/>
                <a:cs typeface="Zawgyi-One" panose="020B0604030504040204" pitchFamily="34" charset="0"/>
              </a:rPr>
              <a:t>အေထာက္အကူ</a:t>
            </a:r>
            <a:r>
              <a:rPr lang="en-US" altLang="en-US" sz="1848" dirty="0">
                <a:solidFill>
                  <a:srgbClr val="231F20"/>
                </a:solidFill>
                <a:latin typeface="Zawgyi-One" panose="020B0604030504040204" pitchFamily="34" charset="0"/>
                <a:cs typeface="Zawgyi-One" panose="020B0604030504040204" pitchFamily="34" charset="0"/>
              </a:rPr>
              <a:t> ျပဳ </a:t>
            </a:r>
            <a:r>
              <a:rPr lang="en-US" altLang="en-US" sz="1848" dirty="0" err="1">
                <a:solidFill>
                  <a:srgbClr val="231F20"/>
                </a:solidFill>
                <a:latin typeface="Zawgyi-One" panose="020B0604030504040204" pitchFamily="34" charset="0"/>
                <a:cs typeface="Zawgyi-One" panose="020B0604030504040204" pitchFamily="34" charset="0"/>
              </a:rPr>
              <a:t>ပစ</a:t>
            </a:r>
            <a:r>
              <a:rPr lang="en-US" altLang="en-US" sz="1848" dirty="0" err="1">
                <a:solidFill>
                  <a:srgbClr val="231F20"/>
                </a:solidFill>
                <a:latin typeface="Pyidaungsu" panose="020B0502040204020203" pitchFamily="34" charset="0"/>
                <a:cs typeface="Pyidaungsu" panose="020B0502040204020203" pitchFamily="34" charset="0"/>
              </a:rPr>
              <a:t></a:t>
            </a:r>
            <a:r>
              <a:rPr lang="en-US" altLang="en-US" sz="1848" dirty="0" err="1">
                <a:solidFill>
                  <a:srgbClr val="231F20"/>
                </a:solidFill>
                <a:latin typeface="Zawgyi-One" panose="020B0604030504040204" pitchFamily="34" charset="0"/>
                <a:cs typeface="Zawgyi-One" panose="020B0604030504040204" pitchFamily="34" charset="0"/>
              </a:rPr>
              <a:t>ည္းမ်ား</a:t>
            </a:r>
            <a:r>
              <a:rPr lang="en-US" altLang="en-US" sz="1848" dirty="0">
                <a:solidFill>
                  <a:srgbClr val="231F20"/>
                </a:solidFill>
                <a:latin typeface="Zawgyi-One" panose="020B0604030504040204" pitchFamily="34" charset="0"/>
                <a:cs typeface="Zawgyi-One" panose="020B0604030504040204" pitchFamily="34" charset="0"/>
              </a:rPr>
              <a:t>။</a:t>
            </a:r>
            <a:endParaRPr lang="en-US" altLang="en-US" sz="1848" dirty="0">
              <a:solidFill>
                <a:srgbClr val="002060"/>
              </a:solidFill>
            </a:endParaRPr>
          </a:p>
        </p:txBody>
      </p:sp>
    </p:spTree>
    <p:extLst>
      <p:ext uri="{BB962C8B-B14F-4D97-AF65-F5344CB8AC3E}">
        <p14:creationId xmlns:p14="http://schemas.microsoft.com/office/powerpoint/2010/main" val="251287681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3674B8C-5F0B-4236-9540-7C54495177CA}"/>
              </a:ext>
            </a:extLst>
          </p:cNvPr>
          <p:cNvSpPr>
            <a:spLocks noGrp="1"/>
          </p:cNvSpPr>
          <p:nvPr>
            <p:ph type="title"/>
          </p:nvPr>
        </p:nvSpPr>
        <p:spPr>
          <a:prstGeom prst="rect">
            <a:avLst/>
          </a:prstGeom>
        </p:spPr>
        <p:txBody>
          <a:bodyPr>
            <a:normAutofit/>
          </a:bodyPr>
          <a:lstStyle/>
          <a:p>
            <a:pPr>
              <a:defRPr/>
            </a:pPr>
            <a:r>
              <a:rPr lang="en-US" altLang="en-US" sz="2079"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LISTEN - Key psychosocial phrases conveying interest and empathy</a:t>
            </a:r>
            <a:br>
              <a:rPr lang="en-US" altLang="en-US" sz="138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br>
            <a:r>
              <a:rPr lang="en-US" altLang="en-US" sz="1617"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နားေထာင္ပ</a:t>
            </a:r>
            <a:r>
              <a:rPr lang="en-US" alt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   </a:t>
            </a:r>
            <a:r>
              <a:rPr lang="my-MM"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စိတ္၀င္တစားရွိမႈႏွင့္ ကိုယ္ခ်င္းစာမႈကို </a:t>
            </a:r>
            <a:r>
              <a:rPr lang="en-US" sz="1617"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ဖာ</a:t>
            </a:r>
            <a:r>
              <a:rPr 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sz="1617"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ပႏိုင္သည</a:t>
            </a:r>
            <a:r>
              <a:rPr 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altLang="en-US" sz="1617"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စိ</a:t>
            </a:r>
            <a:r>
              <a:rPr lang="my-MM"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တ္လူမႈပိုင္းဆိုင္ရာ</a:t>
            </a:r>
            <a:r>
              <a:rPr 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my-MM"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ပံ့ပိုးမႈ</a:t>
            </a:r>
            <a:r>
              <a:rPr 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my-MM"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ပးႏိုင္သည့္</a:t>
            </a:r>
            <a:r>
              <a:rPr 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my-MM"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စကားစုမ်ား</a:t>
            </a:r>
            <a:r>
              <a:rPr lang="en-US" sz="1617"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p>
        </p:txBody>
      </p:sp>
      <p:sp>
        <p:nvSpPr>
          <p:cNvPr id="75779" name="Content Placeholder 8">
            <a:extLst>
              <a:ext uri="{FF2B5EF4-FFF2-40B4-BE49-F238E27FC236}">
                <a16:creationId xmlns:a16="http://schemas.microsoft.com/office/drawing/2014/main" id="{66FEB069-0947-450F-BE89-B90741CF8BFE}"/>
              </a:ext>
            </a:extLst>
          </p:cNvPr>
          <p:cNvSpPr txBox="1">
            <a:spLocks/>
          </p:cNvSpPr>
          <p:nvPr/>
        </p:nvSpPr>
        <p:spPr bwMode="auto">
          <a:xfrm>
            <a:off x="95963" y="1042453"/>
            <a:ext cx="9093268" cy="2718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342900" defTabSz="685800">
              <a:defRPr>
                <a:solidFill>
                  <a:schemeClr val="tx1"/>
                </a:solidFill>
                <a:latin typeface="Gill Sans MT" panose="020B0502020104020203" pitchFamily="34" charset="0"/>
                <a:cs typeface="Arial" panose="020B0604020202020204" pitchFamily="34" charset="0"/>
              </a:defRPr>
            </a:lvl1pPr>
            <a:lvl2pPr marL="514350" indent="-171450" defTabSz="685800">
              <a:defRPr>
                <a:solidFill>
                  <a:schemeClr val="tx1"/>
                </a:solidFill>
                <a:latin typeface="Gill Sans MT" panose="020B0502020104020203" pitchFamily="34" charset="0"/>
                <a:cs typeface="Arial" panose="020B0604020202020204" pitchFamily="34" charset="0"/>
              </a:defRPr>
            </a:lvl2pPr>
            <a:lvl3pPr marL="857250" indent="-171450" defTabSz="685800">
              <a:defRPr>
                <a:solidFill>
                  <a:schemeClr val="tx1"/>
                </a:solidFill>
                <a:latin typeface="Gill Sans MT" panose="020B0502020104020203" pitchFamily="34" charset="0"/>
                <a:cs typeface="Arial" panose="020B0604020202020204" pitchFamily="34" charset="0"/>
              </a:defRPr>
            </a:lvl3pPr>
            <a:lvl4pPr marL="1200150" indent="-171450" defTabSz="685800">
              <a:defRPr>
                <a:solidFill>
                  <a:schemeClr val="tx1"/>
                </a:solidFill>
                <a:latin typeface="Gill Sans MT" panose="020B0502020104020203" pitchFamily="34" charset="0"/>
                <a:cs typeface="Arial" panose="020B0604020202020204" pitchFamily="34" charset="0"/>
              </a:defRPr>
            </a:lvl4pPr>
            <a:lvl5pPr marL="1543050" indent="-171450" defTabSz="685800">
              <a:defRPr>
                <a:solidFill>
                  <a:schemeClr val="tx1"/>
                </a:solidFill>
                <a:latin typeface="Gill Sans MT" panose="020B0502020104020203" pitchFamily="34" charset="0"/>
                <a:cs typeface="Arial" panose="020B0604020202020204" pitchFamily="34" charset="0"/>
              </a:defRPr>
            </a:lvl5pPr>
            <a:lvl6pPr marL="2000250" indent="-17145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457450" indent="-17145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2914650" indent="-17145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371850" indent="-17145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I understand your concerns and most people do think a lot about the situation ... </a:t>
            </a:r>
          </a:p>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It is very natural to be sad, angry, upset or …. </a:t>
            </a:r>
          </a:p>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I hear what you are saying, about having to ... </a:t>
            </a:r>
          </a:p>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I fully understand that you are feeling this way ...</a:t>
            </a:r>
          </a:p>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In this situation, your reaction is quite natural ...</a:t>
            </a:r>
          </a:p>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Maybe we can discuss possible solutions ...</a:t>
            </a:r>
          </a:p>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What we can offer is … </a:t>
            </a:r>
          </a:p>
          <a:p>
            <a:pPr eaLnBrk="1" hangingPunct="1">
              <a:buFont typeface="Symbol" panose="05050102010706020507" pitchFamily="18" charset="2"/>
              <a:buChar char=""/>
            </a:pPr>
            <a:r>
              <a:rPr lang="en-US" altLang="en-US" sz="1386">
                <a:latin typeface="Arial" panose="020B0604020202020204" pitchFamily="34" charset="0"/>
                <a:cs typeface="Calibri" panose="020F0502020204030204" pitchFamily="34" charset="0"/>
              </a:rPr>
              <a:t>I am concerned about you, and would like to suggest to refer you to someone who can help you </a:t>
            </a:r>
          </a:p>
        </p:txBody>
      </p:sp>
      <p:sp>
        <p:nvSpPr>
          <p:cNvPr id="75780" name="Rectangle 7">
            <a:extLst>
              <a:ext uri="{FF2B5EF4-FFF2-40B4-BE49-F238E27FC236}">
                <a16:creationId xmlns:a16="http://schemas.microsoft.com/office/drawing/2014/main" id="{5102DB61-5135-4379-AA2A-8BE297606470}"/>
              </a:ext>
            </a:extLst>
          </p:cNvPr>
          <p:cNvSpPr>
            <a:spLocks noChangeArrowheads="1"/>
          </p:cNvSpPr>
          <p:nvPr/>
        </p:nvSpPr>
        <p:spPr bwMode="auto">
          <a:xfrm>
            <a:off x="119801" y="3032923"/>
            <a:ext cx="9032756" cy="2754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defTabSz="685800">
              <a:defRPr>
                <a:solidFill>
                  <a:schemeClr val="tx1"/>
                </a:solidFill>
                <a:latin typeface="Gill Sans MT" panose="020B0502020104020203" pitchFamily="34" charset="0"/>
                <a:cs typeface="Arial" panose="020B0604020202020204" pitchFamily="34" charset="0"/>
              </a:defRPr>
            </a:lvl1pPr>
            <a:lvl2pPr marL="742950" indent="-285750" defTabSz="685800">
              <a:defRPr>
                <a:solidFill>
                  <a:schemeClr val="tx1"/>
                </a:solidFill>
                <a:latin typeface="Gill Sans MT" panose="020B0502020104020203" pitchFamily="34" charset="0"/>
                <a:cs typeface="Arial" panose="020B0604020202020204" pitchFamily="34" charset="0"/>
              </a:defRPr>
            </a:lvl2pPr>
            <a:lvl3pPr marL="1143000" indent="-228600" defTabSz="685800">
              <a:defRPr>
                <a:solidFill>
                  <a:schemeClr val="tx1"/>
                </a:solidFill>
                <a:latin typeface="Gill Sans MT" panose="020B0502020104020203" pitchFamily="34" charset="0"/>
                <a:cs typeface="Arial" panose="020B0604020202020204" pitchFamily="34" charset="0"/>
              </a:defRPr>
            </a:lvl3pPr>
            <a:lvl4pPr marL="1600200" indent="-228600" defTabSz="685800">
              <a:defRPr>
                <a:solidFill>
                  <a:schemeClr val="tx1"/>
                </a:solidFill>
                <a:latin typeface="Gill Sans MT" panose="020B0502020104020203" pitchFamily="34" charset="0"/>
                <a:cs typeface="Arial" panose="020B0604020202020204" pitchFamily="34" charset="0"/>
              </a:defRPr>
            </a:lvl4pPr>
            <a:lvl5pPr marL="2057400" indent="-228600" defTabSz="685800">
              <a:defRPr>
                <a:solidFill>
                  <a:schemeClr val="tx1"/>
                </a:solidFill>
                <a:latin typeface="Gill Sans MT" panose="020B0502020104020203"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မင္းရဲ႕စိုးရိမ္ ပူပန္မႈကို အစ္ကုိ</a:t>
            </a:r>
            <a:r>
              <a:rPr lang="en-US" altLang="en-US" sz="1386" b="1">
                <a:solidFill>
                  <a:srgbClr val="0070C0"/>
                </a:solidFill>
                <a:latin typeface="Zawgyi-One" pitchFamily="34" charset="0"/>
                <a:ea typeface="Times New Roman" panose="02020603050405020304" pitchFamily="18" charset="0"/>
                <a:cs typeface="Zawgyi-One" pitchFamily="34" charset="0"/>
              </a:rPr>
              <a:t>/</a:t>
            </a:r>
            <a:r>
              <a:rPr lang="my-MM" altLang="en-US" sz="1386" b="1">
                <a:solidFill>
                  <a:srgbClr val="0070C0"/>
                </a:solidFill>
                <a:latin typeface="Zawgyi-One" pitchFamily="34" charset="0"/>
                <a:ea typeface="Times New Roman" panose="02020603050405020304" pitchFamily="18" charset="0"/>
                <a:cs typeface="Zawgyi-One" pitchFamily="34" charset="0"/>
              </a:rPr>
              <a:t>အစ္မ နားလည္ပါတယ္။ လူအမ်ားစုဟာ ဒီလိုအေျခအေနမွာ မင္းလိုပဲ ထင္ျမင္ၾက မွာပါ</a:t>
            </a:r>
            <a:r>
              <a:rPr lang="en-US" altLang="en-US" sz="1386" b="1">
                <a:solidFill>
                  <a:srgbClr val="0070C0"/>
                </a:solidFill>
                <a:latin typeface="Zawgyi-One" pitchFamily="34" charset="0"/>
                <a:ea typeface="Times New Roman" panose="02020603050405020304" pitchFamily="18" charset="0"/>
                <a:cs typeface="Zawgyi-One" pitchFamily="34" charset="0"/>
              </a:rPr>
              <a:t>။ </a:t>
            </a:r>
          </a:p>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 ဒီလိုအေျခအေနမွာ စိတ္တိုတာ၊ ၀မ္းနည္းတာ၊စိတ္မေကာင္း ျဖစ္တတ္တာေတြဟာ ပံုမွန္ျဖစ္ေနၾက</a:t>
            </a:r>
            <a:r>
              <a:rPr lang="en-US" altLang="en-US" sz="1386" b="1">
                <a:solidFill>
                  <a:srgbClr val="0070C0"/>
                </a:solidFill>
                <a:latin typeface="Zawgyi-One" pitchFamily="34" charset="0"/>
                <a:ea typeface="Times New Roman" panose="02020603050405020304" pitchFamily="18" charset="0"/>
                <a:cs typeface="Zawgyi-One" pitchFamily="34" charset="0"/>
              </a:rPr>
              <a:t> </a:t>
            </a:r>
            <a:r>
              <a:rPr lang="my-MM" altLang="en-US" sz="1386" b="1">
                <a:solidFill>
                  <a:srgbClr val="0070C0"/>
                </a:solidFill>
                <a:latin typeface="Zawgyi-One" pitchFamily="34" charset="0"/>
                <a:ea typeface="Times New Roman" panose="02020603050405020304" pitchFamily="18" charset="0"/>
                <a:cs typeface="Zawgyi-One" pitchFamily="34" charset="0"/>
              </a:rPr>
              <a:t>သဘာ၀</a:t>
            </a:r>
            <a:r>
              <a:rPr lang="en-US" altLang="en-US" sz="1386" b="1">
                <a:solidFill>
                  <a:srgbClr val="0070C0"/>
                </a:solidFill>
                <a:latin typeface="Zawgyi-One" pitchFamily="34" charset="0"/>
                <a:ea typeface="Times New Roman" panose="02020603050405020304" pitchFamily="18" charset="0"/>
                <a:cs typeface="Zawgyi-One" pitchFamily="34" charset="0"/>
              </a:rPr>
              <a:t> </a:t>
            </a:r>
            <a:r>
              <a:rPr lang="my-MM" altLang="en-US" sz="1386" b="1">
                <a:solidFill>
                  <a:srgbClr val="0070C0"/>
                </a:solidFill>
                <a:latin typeface="Zawgyi-One" pitchFamily="34" charset="0"/>
                <a:ea typeface="Times New Roman" panose="02020603050405020304" pitchFamily="18" charset="0"/>
                <a:cs typeface="Zawgyi-One" pitchFamily="34" charset="0"/>
              </a:rPr>
              <a:t>ပါပဲ။</a:t>
            </a:r>
            <a:endParaRPr lang="en-US" altLang="en-US" sz="1386" b="1">
              <a:solidFill>
                <a:srgbClr val="0070C0"/>
              </a:solidFill>
              <a:latin typeface="Zawgyi-One" pitchFamily="34" charset="0"/>
              <a:ea typeface="Times New Roman" panose="02020603050405020304" pitchFamily="18" charset="0"/>
              <a:cs typeface="Zawgyi-One" pitchFamily="34" charset="0"/>
            </a:endParaRPr>
          </a:p>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 မင္းေျပာေနတာကို အစ္ကုိ</a:t>
            </a:r>
            <a:r>
              <a:rPr lang="en-US" altLang="en-US" sz="1386" b="1">
                <a:solidFill>
                  <a:srgbClr val="0070C0"/>
                </a:solidFill>
                <a:latin typeface="Zawgyi-One" pitchFamily="34" charset="0"/>
                <a:ea typeface="Times New Roman" panose="02020603050405020304" pitchFamily="18" charset="0"/>
                <a:cs typeface="Zawgyi-One" pitchFamily="34" charset="0"/>
              </a:rPr>
              <a:t>/</a:t>
            </a:r>
            <a:r>
              <a:rPr lang="my-MM" altLang="en-US" sz="1386" b="1">
                <a:solidFill>
                  <a:srgbClr val="0070C0"/>
                </a:solidFill>
                <a:latin typeface="Zawgyi-One" pitchFamily="34" charset="0"/>
                <a:ea typeface="Times New Roman" panose="02020603050405020304" pitchFamily="18" charset="0"/>
                <a:cs typeface="Zawgyi-One" pitchFamily="34" charset="0"/>
              </a:rPr>
              <a:t>အစ္မ ေကာင္းေကာင္း ၾကားရပါတယ္။</a:t>
            </a:r>
            <a:r>
              <a:rPr lang="en-US" altLang="en-US" sz="1386" b="1">
                <a:solidFill>
                  <a:srgbClr val="0070C0"/>
                </a:solidFill>
                <a:latin typeface="Zawgyi-One" pitchFamily="34" charset="0"/>
                <a:ea typeface="Times New Roman" panose="02020603050405020304" pitchFamily="18" charset="0"/>
                <a:cs typeface="Zawgyi-One" pitchFamily="34" charset="0"/>
              </a:rPr>
              <a:t> </a:t>
            </a:r>
          </a:p>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 မင္းဒီလို အေျခအေနမွာ ဒီလိုခံစားရတယ္ဆို တာကို အစ္ကုိ</a:t>
            </a:r>
            <a:r>
              <a:rPr lang="en-US" altLang="en-US" sz="1386" b="1">
                <a:solidFill>
                  <a:srgbClr val="0070C0"/>
                </a:solidFill>
                <a:latin typeface="Zawgyi-One" pitchFamily="34" charset="0"/>
                <a:ea typeface="Times New Roman" panose="02020603050405020304" pitchFamily="18" charset="0"/>
                <a:cs typeface="Zawgyi-One" pitchFamily="34" charset="0"/>
              </a:rPr>
              <a:t>/</a:t>
            </a:r>
            <a:r>
              <a:rPr lang="my-MM" altLang="en-US" sz="1386" b="1">
                <a:solidFill>
                  <a:srgbClr val="0070C0"/>
                </a:solidFill>
                <a:latin typeface="Zawgyi-One" pitchFamily="34" charset="0"/>
                <a:ea typeface="Times New Roman" panose="02020603050405020304" pitchFamily="18" charset="0"/>
                <a:cs typeface="Zawgyi-One" pitchFamily="34" charset="0"/>
              </a:rPr>
              <a:t>အစ္မ နားလည္ပါတယ္။</a:t>
            </a:r>
            <a:r>
              <a:rPr lang="en-US" altLang="en-US" sz="1386" b="1">
                <a:solidFill>
                  <a:srgbClr val="0070C0"/>
                </a:solidFill>
                <a:latin typeface="Zawgyi-One" pitchFamily="34" charset="0"/>
                <a:ea typeface="Times New Roman" panose="02020603050405020304" pitchFamily="18" charset="0"/>
                <a:cs typeface="Zawgyi-One" pitchFamily="34" charset="0"/>
              </a:rPr>
              <a:t>  </a:t>
            </a:r>
          </a:p>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မင္းရဲ့ခုလိုတုန္႕ျပန္မႈဟာသဘာ၀က်ပါတယ္။</a:t>
            </a:r>
            <a:endParaRPr lang="en-US" altLang="en-US" sz="1386" b="1">
              <a:solidFill>
                <a:srgbClr val="0070C0"/>
              </a:solidFill>
              <a:latin typeface="Zawgyi-One" pitchFamily="34" charset="0"/>
              <a:ea typeface="Times New Roman" panose="02020603050405020304" pitchFamily="18" charset="0"/>
              <a:cs typeface="Zawgyi-One" pitchFamily="34" charset="0"/>
            </a:endParaRPr>
          </a:p>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အစ္ကုိ</a:t>
            </a:r>
            <a:r>
              <a:rPr lang="en-US" altLang="en-US" sz="1386" b="1">
                <a:solidFill>
                  <a:srgbClr val="0070C0"/>
                </a:solidFill>
                <a:latin typeface="Zawgyi-One" pitchFamily="34" charset="0"/>
                <a:ea typeface="Times New Roman" panose="02020603050405020304" pitchFamily="18" charset="0"/>
                <a:cs typeface="Zawgyi-One" pitchFamily="34" charset="0"/>
              </a:rPr>
              <a:t>/</a:t>
            </a:r>
            <a:r>
              <a:rPr lang="my-MM" altLang="en-US" sz="1386" b="1">
                <a:solidFill>
                  <a:srgbClr val="0070C0"/>
                </a:solidFill>
                <a:latin typeface="Zawgyi-One" pitchFamily="34" charset="0"/>
                <a:ea typeface="Times New Roman" panose="02020603050405020304" pitchFamily="18" charset="0"/>
                <a:cs typeface="Zawgyi-One" pitchFamily="34" charset="0"/>
              </a:rPr>
              <a:t>အစ္မ တို႕ေတြ ျဖစ္ႏိုင္ေခ်ရွိတဲ့ အေျဖေတြကို အတူတကြ ရွာၾကည့္လို႕ ရေကာင္းရမယ္လို့ထင္ပါတယ္။</a:t>
            </a:r>
            <a:endParaRPr lang="en-US" altLang="en-US" sz="1386" b="1">
              <a:solidFill>
                <a:srgbClr val="0070C0"/>
              </a:solidFill>
              <a:latin typeface="Zawgyi-One" pitchFamily="34" charset="0"/>
              <a:ea typeface="Times New Roman" panose="02020603050405020304" pitchFamily="18" charset="0"/>
              <a:cs typeface="Zawgyi-One" pitchFamily="34" charset="0"/>
            </a:endParaRPr>
          </a:p>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 အစ္ကုိ</a:t>
            </a:r>
            <a:r>
              <a:rPr lang="en-US" altLang="en-US" sz="1386" b="1">
                <a:solidFill>
                  <a:srgbClr val="0070C0"/>
                </a:solidFill>
                <a:latin typeface="Zawgyi-One" pitchFamily="34" charset="0"/>
                <a:ea typeface="Times New Roman" panose="02020603050405020304" pitchFamily="18" charset="0"/>
                <a:cs typeface="Zawgyi-One" pitchFamily="34" charset="0"/>
              </a:rPr>
              <a:t>/</a:t>
            </a:r>
            <a:r>
              <a:rPr lang="my-MM" altLang="en-US" sz="1386" b="1">
                <a:solidFill>
                  <a:srgbClr val="0070C0"/>
                </a:solidFill>
                <a:latin typeface="Zawgyi-One" pitchFamily="34" charset="0"/>
                <a:ea typeface="Times New Roman" panose="02020603050405020304" pitchFamily="18" charset="0"/>
                <a:cs typeface="Zawgyi-One" pitchFamily="34" charset="0"/>
              </a:rPr>
              <a:t>အစ္မ အၾကံေပး</a:t>
            </a:r>
            <a:r>
              <a:rPr lang="en-US" altLang="en-US" sz="1386" b="1">
                <a:solidFill>
                  <a:srgbClr val="0070C0"/>
                </a:solidFill>
                <a:latin typeface="Zawgyi-One" pitchFamily="34" charset="0"/>
                <a:ea typeface="Times New Roman" panose="02020603050405020304" pitchFamily="18" charset="0"/>
                <a:cs typeface="Zawgyi-One" pitchFamily="34" charset="0"/>
              </a:rPr>
              <a:t>/</a:t>
            </a:r>
            <a:r>
              <a:rPr lang="my-MM" altLang="en-US" sz="1386" b="1">
                <a:solidFill>
                  <a:srgbClr val="0070C0"/>
                </a:solidFill>
                <a:latin typeface="Zawgyi-One" pitchFamily="34" charset="0"/>
                <a:ea typeface="Times New Roman" panose="02020603050405020304" pitchFamily="18" charset="0"/>
                <a:cs typeface="Zawgyi-One" pitchFamily="34" charset="0"/>
              </a:rPr>
              <a:t>လုပ္ေဆာင္ေပးနိုင္တာ ကေတာ့။</a:t>
            </a:r>
            <a:r>
              <a:rPr lang="en-US" altLang="en-US" sz="1386" b="1">
                <a:solidFill>
                  <a:srgbClr val="0070C0"/>
                </a:solidFill>
                <a:latin typeface="Zawgyi-One" pitchFamily="34" charset="0"/>
                <a:ea typeface="Times New Roman" panose="02020603050405020304" pitchFamily="18" charset="0"/>
                <a:cs typeface="Zawgyi-One" pitchFamily="34" charset="0"/>
              </a:rPr>
              <a:t> </a:t>
            </a:r>
          </a:p>
          <a:p>
            <a:pPr>
              <a:lnSpc>
                <a:spcPct val="120000"/>
              </a:lnSpc>
              <a:spcBef>
                <a:spcPts val="433"/>
              </a:spcBef>
              <a:buFont typeface="Arial" panose="020B0604020202020204" pitchFamily="34" charset="0"/>
              <a:buChar char="•"/>
            </a:pPr>
            <a:r>
              <a:rPr lang="my-MM" altLang="en-US" sz="1386" b="1">
                <a:solidFill>
                  <a:srgbClr val="0070C0"/>
                </a:solidFill>
                <a:latin typeface="Zawgyi-One" pitchFamily="34" charset="0"/>
                <a:ea typeface="Times New Roman" panose="02020603050405020304" pitchFamily="18" charset="0"/>
                <a:cs typeface="Zawgyi-One" pitchFamily="34" charset="0"/>
              </a:rPr>
              <a:t> အစ္ကုိ</a:t>
            </a:r>
            <a:r>
              <a:rPr lang="en-US" altLang="en-US" sz="1386" b="1">
                <a:solidFill>
                  <a:srgbClr val="0070C0"/>
                </a:solidFill>
                <a:latin typeface="Zawgyi-One" pitchFamily="34" charset="0"/>
                <a:ea typeface="Times New Roman" panose="02020603050405020304" pitchFamily="18" charset="0"/>
                <a:cs typeface="Zawgyi-One" pitchFamily="34" charset="0"/>
              </a:rPr>
              <a:t>/</a:t>
            </a:r>
            <a:r>
              <a:rPr lang="my-MM" altLang="en-US" sz="1386" b="1">
                <a:solidFill>
                  <a:srgbClr val="0070C0"/>
                </a:solidFill>
                <a:latin typeface="Zawgyi-One" pitchFamily="34" charset="0"/>
                <a:ea typeface="Times New Roman" panose="02020603050405020304" pitchFamily="18" charset="0"/>
                <a:cs typeface="Zawgyi-One" pitchFamily="34" charset="0"/>
              </a:rPr>
              <a:t>အစ္မ မင္အတြက္စိုးရိမ္တယ္ ျပီးေတာ့မင္းကိုအကူအညီေပးႏိုင္မယ့္ တစ္ေယာက္ေယာက္ကို ညႊန္းပို့</a:t>
            </a:r>
            <a:r>
              <a:rPr lang="en-US" altLang="en-US" sz="1386" b="1">
                <a:solidFill>
                  <a:srgbClr val="0070C0"/>
                </a:solidFill>
                <a:latin typeface="Zawgyi-One" pitchFamily="34" charset="0"/>
                <a:ea typeface="Times New Roman" panose="02020603050405020304" pitchFamily="18" charset="0"/>
                <a:cs typeface="Zawgyi-One" pitchFamily="34" charset="0"/>
              </a:rPr>
              <a:t>  </a:t>
            </a:r>
            <a:r>
              <a:rPr lang="my-MM" altLang="en-US" sz="1386" b="1">
                <a:solidFill>
                  <a:srgbClr val="0070C0"/>
                </a:solidFill>
                <a:latin typeface="Zawgyi-One" pitchFamily="34" charset="0"/>
                <a:ea typeface="Times New Roman" panose="02020603050405020304" pitchFamily="18" charset="0"/>
                <a:cs typeface="Zawgyi-One" pitchFamily="34" charset="0"/>
              </a:rPr>
              <a:t>ေပးႏိုင္ဖို့</a:t>
            </a:r>
            <a:r>
              <a:rPr lang="en-US" altLang="en-US" sz="1386" b="1">
                <a:solidFill>
                  <a:srgbClr val="0070C0"/>
                </a:solidFill>
                <a:latin typeface="Zawgyi-One" pitchFamily="34" charset="0"/>
                <a:ea typeface="Times New Roman" panose="02020603050405020304" pitchFamily="18" charset="0"/>
                <a:cs typeface="Zawgyi-One" pitchFamily="34" charset="0"/>
              </a:rPr>
              <a:t> </a:t>
            </a:r>
            <a:r>
              <a:rPr lang="my-MM" altLang="en-US" sz="1386" b="1">
                <a:solidFill>
                  <a:srgbClr val="0070C0"/>
                </a:solidFill>
                <a:latin typeface="Zawgyi-One" pitchFamily="34" charset="0"/>
                <a:ea typeface="Times New Roman" panose="02020603050405020304" pitchFamily="18" charset="0"/>
                <a:cs typeface="Zawgyi-One" pitchFamily="34" charset="0"/>
              </a:rPr>
              <a:t> အၾကံေပးခ်င္ပါတယ္။ </a:t>
            </a:r>
            <a:endParaRPr lang="en-US" altLang="en-US" sz="1386" b="1">
              <a:solidFill>
                <a:srgbClr val="0070C0"/>
              </a:solidFill>
              <a:latin typeface="Zawgyi-One" pitchFamily="34" charset="0"/>
              <a:ea typeface="Times New Roman" panose="02020603050405020304" pitchFamily="18" charset="0"/>
              <a:cs typeface="Zawgyi-One" pitchFamily="34" charset="0"/>
            </a:endParaRPr>
          </a:p>
        </p:txBody>
      </p:sp>
    </p:spTree>
    <p:extLst>
      <p:ext uri="{BB962C8B-B14F-4D97-AF65-F5344CB8AC3E}">
        <p14:creationId xmlns:p14="http://schemas.microsoft.com/office/powerpoint/2010/main" val="22425596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6C1001-D11D-4D4C-BFFA-3910A13D3176}"/>
              </a:ext>
            </a:extLst>
          </p:cNvPr>
          <p:cNvSpPr>
            <a:spLocks noGrp="1"/>
          </p:cNvSpPr>
          <p:nvPr>
            <p:ph type="title"/>
          </p:nvPr>
        </p:nvSpPr>
        <p:spPr/>
        <p:txBody>
          <a:bodyPr/>
          <a:lstStyle/>
          <a:p>
            <a:r>
              <a:rPr lang="en-US" dirty="0" err="1">
                <a:solidFill>
                  <a:schemeClr val="bg1"/>
                </a:solidFill>
                <a:latin typeface="Zawgyi-One" panose="020B0604030504040204" pitchFamily="34" charset="0"/>
                <a:cs typeface="Zawgyi-One" panose="020B0604030504040204" pitchFamily="34" charset="0"/>
              </a:rPr>
              <a:t>ေဘးအ</a:t>
            </a:r>
            <a:r>
              <a:rPr lang="en-US" dirty="0">
                <a:solidFill>
                  <a:schemeClr val="bg1"/>
                </a:solidFill>
                <a:latin typeface="Zawgyi-One" panose="020B0604030504040204" pitchFamily="34" charset="0"/>
                <a:cs typeface="Zawgyi-One" panose="020B0604030504040204" pitchFamily="34" charset="0"/>
              </a:rPr>
              <a:t>ႏၱ</a:t>
            </a:r>
            <a:r>
              <a:rPr lang="en-US" dirty="0" err="1">
                <a:solidFill>
                  <a:schemeClr val="bg1"/>
                </a:solidFill>
                <a:latin typeface="Zawgyi-One" panose="020B0604030504040204" pitchFamily="34" charset="0"/>
                <a:cs typeface="Zawgyi-One" panose="020B0604030504040204" pitchFamily="34" charset="0"/>
              </a:rPr>
              <a:t>ရာယ္ဆုိတာလဲ</a:t>
            </a:r>
            <a:endParaRPr lang="en-US" dirty="0">
              <a:solidFill>
                <a:schemeClr val="bg1"/>
              </a:solidFill>
              <a:latin typeface="Zawgyi-One" panose="020B0604030504040204" pitchFamily="34" charset="0"/>
              <a:cs typeface="Zawgyi-One" panose="020B0604030504040204" pitchFamily="34" charset="0"/>
            </a:endParaRPr>
          </a:p>
        </p:txBody>
      </p:sp>
      <p:sp>
        <p:nvSpPr>
          <p:cNvPr id="3" name="Content Placeholder 2">
            <a:extLst>
              <a:ext uri="{FF2B5EF4-FFF2-40B4-BE49-F238E27FC236}">
                <a16:creationId xmlns:a16="http://schemas.microsoft.com/office/drawing/2014/main" id="{01913AF6-C063-5E46-B578-42653E1B91C5}"/>
              </a:ext>
            </a:extLst>
          </p:cNvPr>
          <p:cNvSpPr>
            <a:spLocks noGrp="1"/>
          </p:cNvSpPr>
          <p:nvPr>
            <p:ph idx="1"/>
          </p:nvPr>
        </p:nvSpPr>
        <p:spPr>
          <a:xfrm>
            <a:off x="533400" y="1447800"/>
            <a:ext cx="8610600" cy="4145484"/>
          </a:xfrm>
        </p:spPr>
        <p:txBody>
          <a:bodyPr/>
          <a:lstStyle/>
          <a:p>
            <a:pPr>
              <a:lnSpc>
                <a:spcPct val="150000"/>
              </a:lnSpc>
            </a:pPr>
            <a:r>
              <a:rPr lang="en-US" sz="1800" dirty="0" err="1">
                <a:latin typeface="Zawgyi-One" panose="020B0604030504040204" pitchFamily="34" charset="0"/>
                <a:cs typeface="Zawgyi-One" panose="020B0604030504040204" pitchFamily="34" charset="0"/>
              </a:rPr>
              <a:t>လူအေျမာက္အမ်ားသုိ</a:t>
            </a:r>
            <a:r>
              <a:rPr lang="en-US" sz="1800" dirty="0">
                <a:latin typeface="Zawgyi-One" panose="020B0604030504040204" pitchFamily="34" charset="0"/>
                <a:cs typeface="Zawgyi-One" panose="020B0604030504040204" pitchFamily="34" charset="0"/>
              </a:rPr>
              <a:t>႔ </a:t>
            </a:r>
            <a:r>
              <a:rPr lang="en-US" sz="1800" dirty="0" err="1">
                <a:latin typeface="Zawgyi-One" panose="020B0604030504040204" pitchFamily="34" charset="0"/>
                <a:cs typeface="Zawgyi-One" panose="020B0604030504040204" pitchFamily="34" charset="0"/>
              </a:rPr>
              <a:t>သက္ေရာက္ေသာ</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ဘးအ</a:t>
            </a:r>
            <a:r>
              <a:rPr lang="en-US" sz="1800" dirty="0">
                <a:latin typeface="Zawgyi-One" panose="020B0604030504040204" pitchFamily="34" charset="0"/>
                <a:cs typeface="Zawgyi-One" panose="020B0604030504040204" pitchFamily="34" charset="0"/>
              </a:rPr>
              <a:t>ႏၱ</a:t>
            </a:r>
            <a:r>
              <a:rPr lang="en-US" sz="1800" dirty="0" err="1">
                <a:latin typeface="Zawgyi-One" panose="020B0604030504040204" pitchFamily="34" charset="0"/>
                <a:cs typeface="Zawgyi-One" panose="020B0604030504040204" pitchFamily="34" charset="0"/>
              </a:rPr>
              <a:t>ရာယ္မ်ား</a:t>
            </a:r>
            <a:endParaRPr lang="en-US" sz="1800" dirty="0">
              <a:latin typeface="Zawgyi-One" panose="020B0604030504040204" pitchFamily="34" charset="0"/>
              <a:cs typeface="Zawgyi-One" panose="020B0604030504040204" pitchFamily="34" charset="0"/>
            </a:endParaRPr>
          </a:p>
          <a:p>
            <a:pPr lvl="1">
              <a:lnSpc>
                <a:spcPct val="150000"/>
              </a:lnSpc>
            </a:pPr>
            <a:r>
              <a:rPr lang="en-US" sz="1800" dirty="0" err="1">
                <a:latin typeface="Zawgyi-One" panose="020B0604030504040204" pitchFamily="34" charset="0"/>
                <a:cs typeface="Zawgyi-One" panose="020B0604030504040204" pitchFamily="34" charset="0"/>
              </a:rPr>
              <a:t>သဘာဝေဘး</a:t>
            </a:r>
            <a:r>
              <a:rPr lang="en-US" sz="1800" dirty="0">
                <a:latin typeface="Zawgyi-One" panose="020B0604030504040204" pitchFamily="34" charset="0"/>
                <a:cs typeface="Zawgyi-One" panose="020B0604030504040204" pitchFamily="34" charset="0"/>
              </a:rPr>
              <a:t> </a:t>
            </a:r>
          </a:p>
          <a:p>
            <a:pPr lvl="2">
              <a:lnSpc>
                <a:spcPct val="150000"/>
              </a:lnSpc>
            </a:pPr>
            <a:r>
              <a:rPr lang="en-US" sz="1800" dirty="0" err="1">
                <a:latin typeface="Zawgyi-One" panose="020B0604030504040204" pitchFamily="34" charset="0"/>
                <a:cs typeface="Zawgyi-One" panose="020B0604030504040204" pitchFamily="34" charset="0"/>
              </a:rPr>
              <a:t>ေရေဘး</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ငလ</a:t>
            </a:r>
            <a:r>
              <a:rPr lang="en-US" sz="1800" dirty="0">
                <a:latin typeface="Zawgyi-One" panose="020B0604030504040204" pitchFamily="34" charset="0"/>
                <a:cs typeface="Zawgyi-One" panose="020B0604030504040204" pitchFamily="34" charset="0"/>
              </a:rPr>
              <a:t>ွ်င္၊ </a:t>
            </a:r>
            <a:r>
              <a:rPr lang="en-US" sz="1800" dirty="0" err="1">
                <a:latin typeface="Zawgyi-One" panose="020B0604030504040204" pitchFamily="34" charset="0"/>
                <a:cs typeface="Zawgyi-One" panose="020B0604030504040204" pitchFamily="34" charset="0"/>
              </a:rPr>
              <a:t>ေျမျပိဳမ</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မုန္တိုင္း</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ဆူနာမီ</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တာမီးေလာင</a:t>
            </a:r>
            <a:r>
              <a:rPr lang="en-US" sz="1800" dirty="0">
                <a:latin typeface="Zawgyi-One" panose="020B0604030504040204" pitchFamily="34" charset="0"/>
                <a:cs typeface="Zawgyi-One" panose="020B0604030504040204" pitchFamily="34" charset="0"/>
              </a:rPr>
              <a:t>္ျ</a:t>
            </a:r>
            <a:r>
              <a:rPr lang="en-US" sz="1800" dirty="0" err="1">
                <a:latin typeface="Zawgyi-One" panose="020B0604030504040204" pitchFamily="34" charset="0"/>
                <a:cs typeface="Zawgyi-One" panose="020B0604030504040204" pitchFamily="34" charset="0"/>
              </a:rPr>
              <a:t>ခင္း</a:t>
            </a:r>
            <a:endParaRPr lang="en-US" sz="1800" dirty="0">
              <a:latin typeface="Zawgyi-One" panose="020B0604030504040204" pitchFamily="34" charset="0"/>
              <a:cs typeface="Zawgyi-One" panose="020B0604030504040204" pitchFamily="34" charset="0"/>
            </a:endParaRPr>
          </a:p>
          <a:p>
            <a:pPr lvl="1">
              <a:lnSpc>
                <a:spcPct val="150000"/>
              </a:lnSpc>
            </a:pPr>
            <a:r>
              <a:rPr lang="en-US" sz="1800" dirty="0" err="1">
                <a:latin typeface="Zawgyi-One" panose="020B0604030504040204" pitchFamily="34" charset="0"/>
                <a:cs typeface="Zawgyi-One" panose="020B0604030504040204" pitchFamily="34" charset="0"/>
              </a:rPr>
              <a:t>လူလုပ္ေသာ</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ဘး</a:t>
            </a:r>
            <a:endParaRPr lang="en-US" sz="1800" dirty="0">
              <a:latin typeface="Zawgyi-One" panose="020B0604030504040204" pitchFamily="34" charset="0"/>
              <a:cs typeface="Zawgyi-One" panose="020B0604030504040204" pitchFamily="34" charset="0"/>
            </a:endParaRPr>
          </a:p>
          <a:p>
            <a:pPr lvl="2">
              <a:lnSpc>
                <a:spcPct val="150000"/>
              </a:lnSpc>
            </a:pPr>
            <a:r>
              <a:rPr lang="en-US" sz="1800" dirty="0" err="1">
                <a:latin typeface="Zawgyi-One" panose="020B0604030504040204" pitchFamily="34" charset="0"/>
                <a:cs typeface="Zawgyi-One" panose="020B0604030504040204" pitchFamily="34" charset="0"/>
              </a:rPr>
              <a:t>မီးေဘး</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စစ္ပြဲ</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ပဋိပက</a:t>
            </a:r>
            <a:r>
              <a:rPr lang="en-US" sz="1800" dirty="0">
                <a:latin typeface="Zawgyi-One" panose="020B0604030504040204" pitchFamily="34" charset="0"/>
                <a:cs typeface="Zawgyi-One" panose="020B0604030504040204" pitchFamily="34" charset="0"/>
              </a:rPr>
              <a:t>ၡ၊ </a:t>
            </a:r>
            <a:r>
              <a:rPr lang="en-US" sz="1800" dirty="0" err="1">
                <a:latin typeface="Zawgyi-One" panose="020B0604030504040204" pitchFamily="34" charset="0"/>
                <a:cs typeface="Zawgyi-One" panose="020B0604030504040204" pitchFamily="34" charset="0"/>
              </a:rPr>
              <a:t>အၾကမ္းဖက္မ</a:t>
            </a:r>
            <a:r>
              <a:rPr lang="en-US" sz="1800" dirty="0">
                <a:latin typeface="Zawgyi-One" panose="020B0604030504040204" pitchFamily="34" charset="0"/>
                <a:cs typeface="Zawgyi-One" panose="020B0604030504040204" pitchFamily="34" charset="0"/>
              </a:rPr>
              <a:t>ႈ..</a:t>
            </a:r>
          </a:p>
          <a:p>
            <a:pPr>
              <a:lnSpc>
                <a:spcPct val="150000"/>
              </a:lnSpc>
            </a:pPr>
            <a:r>
              <a:rPr lang="en-US" sz="1800" dirty="0" err="1">
                <a:latin typeface="Zawgyi-One" panose="020B0604030504040204" pitchFamily="34" charset="0"/>
                <a:cs typeface="Zawgyi-One" panose="020B0604030504040204" pitchFamily="34" charset="0"/>
              </a:rPr>
              <a:t>လူတစ္ဦး</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သုိ</a:t>
            </a:r>
            <a:r>
              <a:rPr lang="en-US" sz="1800" dirty="0">
                <a:latin typeface="Zawgyi-One" panose="020B0604030504040204" pitchFamily="34" charset="0"/>
                <a:cs typeface="Zawgyi-One" panose="020B0604030504040204" pitchFamily="34" charset="0"/>
              </a:rPr>
              <a:t>႔ </a:t>
            </a:r>
            <a:r>
              <a:rPr lang="en-US" sz="1800" dirty="0" err="1">
                <a:latin typeface="Zawgyi-One" panose="020B0604030504040204" pitchFamily="34" charset="0"/>
                <a:cs typeface="Zawgyi-One" panose="020B0604030504040204" pitchFamily="34" charset="0"/>
              </a:rPr>
              <a:t>လူနည္းစုကို</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သက္ေရာက္ေသာ</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ဘးအ</a:t>
            </a:r>
            <a:r>
              <a:rPr lang="en-US" sz="1800" dirty="0">
                <a:latin typeface="Zawgyi-One" panose="020B0604030504040204" pitchFamily="34" charset="0"/>
                <a:cs typeface="Zawgyi-One" panose="020B0604030504040204" pitchFamily="34" charset="0"/>
              </a:rPr>
              <a:t>ႏၱ</a:t>
            </a:r>
            <a:r>
              <a:rPr lang="en-US" sz="1800" dirty="0" err="1">
                <a:latin typeface="Zawgyi-One" panose="020B0604030504040204" pitchFamily="34" charset="0"/>
                <a:cs typeface="Zawgyi-One" panose="020B0604030504040204" pitchFamily="34" charset="0"/>
              </a:rPr>
              <a:t>ရာယ္မ်ား</a:t>
            </a:r>
            <a:endParaRPr lang="en-US" sz="1800" dirty="0">
              <a:latin typeface="Zawgyi-One" panose="020B0604030504040204" pitchFamily="34" charset="0"/>
              <a:cs typeface="Zawgyi-One" panose="020B0604030504040204" pitchFamily="34" charset="0"/>
            </a:endParaRPr>
          </a:p>
          <a:p>
            <a:pPr lvl="1">
              <a:lnSpc>
                <a:spcPct val="150000"/>
              </a:lnSpc>
            </a:pPr>
            <a:r>
              <a:rPr lang="en-US" sz="1800" dirty="0" err="1">
                <a:latin typeface="Zawgyi-One" panose="020B0604030504040204" pitchFamily="34" charset="0"/>
                <a:cs typeface="Zawgyi-One" panose="020B0604030504040204" pitchFamily="34" charset="0"/>
              </a:rPr>
              <a:t>ယဥ္တုိက္မ</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အၾကမ္းဖက္မ</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လုယက္မ</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ဓားျမတုိက္မ</a:t>
            </a:r>
            <a:r>
              <a:rPr lang="en-US" sz="1800" dirty="0">
                <a:latin typeface="Zawgyi-One" panose="020B0604030504040204" pitchFamily="34" charset="0"/>
                <a:cs typeface="Zawgyi-One" panose="020B0604030504040204" pitchFamily="34" charset="0"/>
              </a:rPr>
              <a:t>ႈ၊ </a:t>
            </a:r>
            <a:r>
              <a:rPr lang="en-US" sz="1800" dirty="0" err="1">
                <a:latin typeface="Zawgyi-One" panose="020B0604030504040204" pitchFamily="34" charset="0"/>
                <a:cs typeface="Zawgyi-One" panose="020B0604030504040204" pitchFamily="34" charset="0"/>
              </a:rPr>
              <a:t>အိမ္မီးေလာင္မ</a:t>
            </a:r>
            <a:r>
              <a:rPr lang="en-US" sz="1800" dirty="0">
                <a:latin typeface="Zawgyi-One" panose="020B0604030504040204" pitchFamily="34" charset="0"/>
                <a:cs typeface="Zawgyi-One" panose="020B0604030504040204" pitchFamily="34" charset="0"/>
              </a:rPr>
              <a:t>ႈ..</a:t>
            </a:r>
          </a:p>
          <a:p>
            <a:pPr>
              <a:lnSpc>
                <a:spcPct val="150000"/>
              </a:lnSpc>
            </a:pPr>
            <a:endParaRPr lang="en-US" sz="1800" dirty="0">
              <a:latin typeface="Zawgyi-One" panose="020B0604030504040204" pitchFamily="34" charset="0"/>
              <a:cs typeface="Zawgyi-One" panose="020B0604030504040204" pitchFamily="34" charset="0"/>
            </a:endParaRPr>
          </a:p>
        </p:txBody>
      </p:sp>
      <p:sp>
        <p:nvSpPr>
          <p:cNvPr id="4" name="object 6">
            <a:extLst>
              <a:ext uri="{FF2B5EF4-FFF2-40B4-BE49-F238E27FC236}">
                <a16:creationId xmlns:a16="http://schemas.microsoft.com/office/drawing/2014/main" id="{D0196DB3-B7E8-4EFC-A066-BF511144E3B5}"/>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5" name="object 7">
            <a:extLst>
              <a:ext uri="{FF2B5EF4-FFF2-40B4-BE49-F238E27FC236}">
                <a16:creationId xmlns:a16="http://schemas.microsoft.com/office/drawing/2014/main" id="{822115F9-B5CC-4B77-86E2-02B29A7A8982}"/>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7</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225015278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en-US"/>
          </a:p>
        </p:txBody>
      </p:sp>
      <p:sp>
        <p:nvSpPr>
          <p:cNvPr id="77826" name="Content Placeholder 2">
            <a:extLst>
              <a:ext uri="{FF2B5EF4-FFF2-40B4-BE49-F238E27FC236}">
                <a16:creationId xmlns:a16="http://schemas.microsoft.com/office/drawing/2014/main" id="{ACFA6F6F-AF57-461E-9F8A-87EB12AD6C05}"/>
              </a:ext>
            </a:extLst>
          </p:cNvPr>
          <p:cNvSpPr>
            <a:spLocks noGrp="1"/>
          </p:cNvSpPr>
          <p:nvPr>
            <p:ph idx="4294967295"/>
          </p:nvPr>
        </p:nvSpPr>
        <p:spPr bwMode="auto">
          <a:xfrm>
            <a:off x="2445" y="1008529"/>
            <a:ext cx="9153780" cy="536904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r>
              <a:rPr lang="en-US" altLang="en-US" sz="1617">
                <a:solidFill>
                  <a:srgbClr val="002060"/>
                </a:solidFill>
              </a:rPr>
              <a:t>If relevant, ask children what they do to keep physically and mentally safe if quarantined or self-isolated; if needed, provide further information on hygiene or other measures. </a:t>
            </a:r>
            <a:r>
              <a:rPr lang="en-US" altLang="en-US" sz="1617" i="1">
                <a:solidFill>
                  <a:srgbClr val="002060"/>
                </a:solidFill>
              </a:rPr>
              <a:t>“</a:t>
            </a:r>
            <a:r>
              <a:rPr lang="en-US" altLang="en-US" sz="1617" i="1">
                <a:solidFill>
                  <a:srgbClr val="FF0000"/>
                </a:solidFill>
              </a:rPr>
              <a:t>If you are interested I can mail you a resource on what to do </a:t>
            </a:r>
            <a:r>
              <a:rPr lang="en-US" altLang="en-US" sz="1617" i="1">
                <a:solidFill>
                  <a:srgbClr val="002060"/>
                </a:solidFill>
              </a:rPr>
              <a:t>when in isolation. You may find it useful. Should I do that?” </a:t>
            </a:r>
          </a:p>
          <a:p>
            <a:pPr>
              <a:lnSpc>
                <a:spcPct val="150000"/>
              </a:lnSpc>
            </a:pPr>
            <a:r>
              <a:rPr lang="en-US" altLang="en-US" sz="1617">
                <a:solidFill>
                  <a:srgbClr val="0070C0"/>
                </a:solidFill>
                <a:latin typeface="Zawgyi-One" pitchFamily="34" charset="0"/>
                <a:ea typeface="Times New Roman" panose="02020603050405020304" pitchFamily="18" charset="0"/>
                <a:cs typeface="Zawgyi-One" pitchFamily="34" charset="0"/>
              </a:rPr>
              <a:t>သင့္ေတာ္ပါက -တကယ္လို႔ အသြားအလာကန္႔သပ္ေစာင့္ၾကပ္ၾကည့္ရႈတာ ဒါမွမဟုတ္ သီးသန္႔ ထားရွိတာခံယူရမယ္ဆိုရင္ စိတ္ေရာ ကိုယ္ပါ လံုျခံဳမႈရွိဖို႔အတြက္ ဘာေတြလုပ္မလဲ။ လုိအပ္ပါက - တစ္ကိုယ္ရည္ သန္႔ရွင္းေရးဆိုင္ရာ ႏွင့္ အျခား ေဆာင္ရြက္ရမည့္အခ်က္မ်ားကို ေျပာျပပါ။ တစ္ကယ္လို႔ မင္း စိတ္၀င္စားမယ္ဆိုရင္ သီးသန္႔ ထားရွိတာ ခံယူရမယ့္ အခ်ိန္မွာ ဘာေတြလုပ္ေဆာင္ရမလဲဆိုတာနဲ႔ ပါတ္သက္တဲ့ အခ်က္အလက္ေတြကို မွ်ေ၀ေပးႏိုင္ပါတယ္။ </a:t>
            </a:r>
            <a:endParaRPr lang="en-US" altLang="en-US" sz="2541" i="1">
              <a:solidFill>
                <a:srgbClr val="002060"/>
              </a:solidFill>
            </a:endParaRPr>
          </a:p>
          <a:p>
            <a:r>
              <a:rPr lang="en-US" altLang="en-US" sz="1617">
                <a:solidFill>
                  <a:srgbClr val="002060"/>
                </a:solidFill>
              </a:rPr>
              <a:t>Should a child ask what to do, the helper can say: </a:t>
            </a:r>
            <a:r>
              <a:rPr lang="en-US" altLang="en-US" sz="1617" i="1">
                <a:solidFill>
                  <a:srgbClr val="002060"/>
                </a:solidFill>
              </a:rPr>
              <a:t>“I am not sure I can answer that question for you. </a:t>
            </a:r>
            <a:r>
              <a:rPr lang="en-US" altLang="en-US" sz="1617" i="1">
                <a:solidFill>
                  <a:srgbClr val="FF0000"/>
                </a:solidFill>
              </a:rPr>
              <a:t>What are you thinking about when having to make this decision?</a:t>
            </a:r>
            <a:r>
              <a:rPr lang="en-US" altLang="en-US" sz="1617" i="1">
                <a:solidFill>
                  <a:srgbClr val="002060"/>
                </a:solidFill>
              </a:rPr>
              <a:t>” </a:t>
            </a:r>
          </a:p>
          <a:p>
            <a:pPr>
              <a:lnSpc>
                <a:spcPct val="150000"/>
              </a:lnSpc>
            </a:pPr>
            <a:r>
              <a:rPr lang="en-US" altLang="en-US" sz="1617">
                <a:solidFill>
                  <a:srgbClr val="0070C0"/>
                </a:solidFill>
                <a:latin typeface="Zawgyi-One" pitchFamily="34" charset="0"/>
                <a:cs typeface="Times New Roman" panose="02020603050405020304" pitchFamily="18" charset="0"/>
              </a:rPr>
              <a:t> ကေလး/မိသားစု၀င္ အား ဘာဆက္လုပ္သင့္လဲ လို႔ ေမးျမန္းသင့္ပါသည္ - ဒီေမးခြန္းကို တိတိက်က် ေျဖႏိုင္ဖို႔ က်ြန္ေတာ္/မ သိပ္မေသခ်ာပါဘူး။ တစ္ကယ္လို႔ အဲ့ဒီလို ဆံုးျဖတ္ခ်က္မ်ိဳး ခ်ရမယ္ ဆိုရင္ မင္းအေနနဲ႔ ဘယ္လိုစဥ္းစားထားတာေတြရွိလဲ။ </a:t>
            </a:r>
          </a:p>
          <a:p>
            <a:endParaRPr lang="en-US" altLang="en-US" sz="1617" i="1">
              <a:solidFill>
                <a:srgbClr val="002060"/>
              </a:solidFill>
            </a:endParaRPr>
          </a:p>
        </p:txBody>
      </p:sp>
      <p:sp>
        <p:nvSpPr>
          <p:cNvPr id="5" name="Title 1">
            <a:extLst>
              <a:ext uri="{FF2B5EF4-FFF2-40B4-BE49-F238E27FC236}">
                <a16:creationId xmlns:a16="http://schemas.microsoft.com/office/drawing/2014/main" id="{03674B8C-5F0B-4236-9540-7C54495177CA}"/>
              </a:ext>
            </a:extLst>
          </p:cNvPr>
          <p:cNvSpPr txBox="1">
            <a:spLocks/>
          </p:cNvSpPr>
          <p:nvPr/>
        </p:nvSpPr>
        <p:spPr>
          <a:xfrm>
            <a:off x="282083" y="189787"/>
            <a:ext cx="8734781" cy="686717"/>
          </a:xfrm>
          <a:prstGeom prst="rect">
            <a:avLst/>
          </a:prstGeom>
        </p:spPr>
        <p:txBody>
          <a:bodyPr lIns="0" tIns="0" rIns="0" bIns="0" anchor="ctr">
            <a:normAutofit fontScale="90000" lnSpcReduction="20000"/>
          </a:bodyPr>
          <a:lstStyle>
            <a:lvl1pPr algn="l" defTabSz="457200" rtl="0" eaLnBrk="1" latinLnBrk="0" hangingPunct="1">
              <a:spcBef>
                <a:spcPct val="0"/>
              </a:spcBef>
              <a:buNone/>
              <a:defRPr sz="2500" b="1" i="0" kern="1200">
                <a:solidFill>
                  <a:schemeClr val="tx1"/>
                </a:solidFill>
                <a:latin typeface="Gill Sans Infant Std"/>
                <a:ea typeface="+mj-ea"/>
                <a:cs typeface="Gill Sans Infant Std"/>
              </a:defRPr>
            </a:lvl1pPr>
          </a:lstStyle>
          <a:p>
            <a:pPr>
              <a:defRPr/>
            </a:pPr>
            <a:r>
              <a:rPr lang="en-US" alt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LISTEN – Calming Techniques   </a:t>
            </a:r>
          </a:p>
          <a:p>
            <a:pPr>
              <a:defRPr/>
            </a:pPr>
            <a:endParaRPr lang="en-US" alt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endParaRPr>
          </a:p>
          <a:p>
            <a:pPr>
              <a:defRPr/>
            </a:pPr>
            <a:r>
              <a:rPr lang="en-US" altLang="en-US" sz="1906"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နားေထာင္ပ</a:t>
            </a:r>
            <a:r>
              <a:rPr lang="en-US" alt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 </a:t>
            </a:r>
            <a:r>
              <a:rPr lang="en-US" sz="1906"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တည္တည</a:t>
            </a:r>
            <a:r>
              <a:rPr 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sz="1906"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ငိမ</a:t>
            </a:r>
            <a:r>
              <a:rPr 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sz="1906"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ငိမ္ရွိေစရန</a:t>
            </a:r>
            <a:r>
              <a:rPr 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sz="1906"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ဆာင္ရြက္နိုင္သည</a:t>
            </a:r>
            <a:r>
              <a:rPr 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sz="1906"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နည္းလမ္းမ်ား</a:t>
            </a:r>
            <a:endParaRPr lang="en-US" sz="1906"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endParaRPr>
          </a:p>
          <a:p>
            <a:pPr>
              <a:defRPr/>
            </a:pPr>
            <a:endParaRPr lang="en-US" sz="1444" dirty="0"/>
          </a:p>
        </p:txBody>
      </p:sp>
    </p:spTree>
    <p:extLst>
      <p:ext uri="{BB962C8B-B14F-4D97-AF65-F5344CB8AC3E}">
        <p14:creationId xmlns:p14="http://schemas.microsoft.com/office/powerpoint/2010/main" val="413868312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a:extLst>
              <a:ext uri="{FF2B5EF4-FFF2-40B4-BE49-F238E27FC236}">
                <a16:creationId xmlns:a16="http://schemas.microsoft.com/office/drawing/2014/main" id="{0A4499B3-F452-4D0E-9582-BEC431ED11AB}"/>
              </a:ext>
            </a:extLst>
          </p:cNvPr>
          <p:cNvSpPr>
            <a:spLocks noGrp="1"/>
          </p:cNvSpPr>
          <p:nvPr>
            <p:ph type="title"/>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0000"/>
          </a:bodyPr>
          <a:lstStyle/>
          <a:p>
            <a:pPr>
              <a:lnSpc>
                <a:spcPct val="100000"/>
              </a:lnSpc>
              <a:defRPr/>
            </a:pPr>
            <a:r>
              <a:rPr lang="en-US" altLang="en-US" sz="1848" dirty="0">
                <a:solidFill>
                  <a:srgbClr val="FF0000"/>
                </a:solidFill>
              </a:rPr>
              <a:t>LISTEN – Advice for Isolated or Quarantined Persons </a:t>
            </a:r>
            <a:br>
              <a:rPr lang="en-US" altLang="en-US" sz="1848" dirty="0">
                <a:solidFill>
                  <a:srgbClr val="FF0000"/>
                </a:solidFill>
              </a:rPr>
            </a:br>
            <a:r>
              <a:rPr lang="en-US" altLang="en-US" sz="1848" dirty="0" err="1">
                <a:solidFill>
                  <a:srgbClr val="FF0000"/>
                </a:solidFill>
                <a:latin typeface="Zawgyi-One" panose="020B0604030504040204" pitchFamily="34" charset="0"/>
                <a:cs typeface="Zawgyi-One" panose="020B0604030504040204" pitchFamily="34" charset="0"/>
              </a:rPr>
              <a:t>နားေထာင္ပ</a:t>
            </a:r>
            <a:r>
              <a:rPr lang="en-US" altLang="en-US" sz="1848" dirty="0">
                <a:solidFill>
                  <a:srgbClr val="FF0000"/>
                </a:solidFill>
                <a:latin typeface="Zawgyi-One" panose="020B0604030504040204" pitchFamily="34" charset="0"/>
                <a:cs typeface="Zawgyi-One" panose="020B0604030504040204" pitchFamily="34" charset="0"/>
              </a:rPr>
              <a:t>ါ - </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သြားအလာ</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 </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ကန</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႔</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သတ္ေစာင</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ၾ</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ကပ</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ၾ</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ကည</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ရႈျ</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ခင္း</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 </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သို</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႔ </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သီးျခားထားရွိ</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 </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မႈခံယူရသူမ်ား</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 </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အတြက</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 </a:t>
            </a:r>
            <a:r>
              <a:rPr lang="en-US" sz="1848" dirty="0" err="1">
                <a:solidFill>
                  <a:srgbClr val="FF0000"/>
                </a:solidFill>
                <a:latin typeface="Zawgyi-One" panose="020B0604030504040204" pitchFamily="34" charset="0"/>
                <a:ea typeface="Times New Roman" panose="02020603050405020304" pitchFamily="18" charset="0"/>
                <a:cs typeface="Zawgyi-One" panose="020B0604030504040204" pitchFamily="34" charset="0"/>
              </a:rPr>
              <a:t>အၾကံျပဳခ်က</a:t>
            </a:r>
            <a:r>
              <a:rPr lang="en-US" sz="1848" dirty="0">
                <a:solidFill>
                  <a:srgbClr val="FF0000"/>
                </a:solidFill>
                <a:latin typeface="Zawgyi-One" panose="020B0604030504040204" pitchFamily="34" charset="0"/>
                <a:ea typeface="Times New Roman" panose="02020603050405020304" pitchFamily="18" charset="0"/>
                <a:cs typeface="Zawgyi-One" panose="020B0604030504040204" pitchFamily="34" charset="0"/>
              </a:rPr>
              <a:t>္</a:t>
            </a:r>
            <a:br>
              <a:rPr lang="en-US" dirty="0">
                <a:solidFill>
                  <a:srgbClr val="FFFF00"/>
                </a:solidFill>
                <a:latin typeface="Zawgyi-One" panose="020B0604030504040204" pitchFamily="34" charset="0"/>
                <a:ea typeface="Times New Roman" panose="02020603050405020304" pitchFamily="18" charset="0"/>
                <a:cs typeface="Zawgyi-One" panose="020B0604030504040204" pitchFamily="34" charset="0"/>
              </a:rPr>
            </a:br>
            <a:br>
              <a:rPr lang="en-US" altLang="en-US" sz="2491" dirty="0">
                <a:solidFill>
                  <a:srgbClr val="FFFF00"/>
                </a:solidFill>
              </a:rPr>
            </a:br>
            <a:endParaRPr lang="en-US" altLang="en-US" sz="2491" dirty="0">
              <a:solidFill>
                <a:srgbClr val="FFFF00"/>
              </a:solidFill>
            </a:endParaRPr>
          </a:p>
        </p:txBody>
      </p:sp>
      <p:sp>
        <p:nvSpPr>
          <p:cNvPr id="113667" name="Content Placeholder 2">
            <a:extLst>
              <a:ext uri="{FF2B5EF4-FFF2-40B4-BE49-F238E27FC236}">
                <a16:creationId xmlns:a16="http://schemas.microsoft.com/office/drawing/2014/main" id="{756A5BC6-03F7-4437-A2E3-1FCC1B3E33EA}"/>
              </a:ext>
            </a:extLst>
          </p:cNvPr>
          <p:cNvSpPr>
            <a:spLocks noGrp="1"/>
          </p:cNvSpPr>
          <p:nvPr>
            <p:ph idx="4294967295"/>
          </p:nvPr>
        </p:nvSpPr>
        <p:spPr bwMode="auto">
          <a:xfrm>
            <a:off x="127136" y="1184564"/>
            <a:ext cx="9139110" cy="5673436"/>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pPr marL="316324" indent="-316324">
              <a:defRPr/>
            </a:pPr>
            <a:r>
              <a:rPr lang="en-US" altLang="en-US" sz="1386" dirty="0"/>
              <a:t>Stay socially close even when maintaining physical distance</a:t>
            </a:r>
          </a:p>
          <a:p>
            <a:pPr marL="316324" indent="-316324">
              <a:defRPr/>
            </a:pPr>
            <a:r>
              <a:rPr lang="en-US" altLang="en-US" sz="1386" dirty="0"/>
              <a:t>Daily routine </a:t>
            </a:r>
          </a:p>
          <a:p>
            <a:pPr marL="316324" indent="-316324">
              <a:defRPr/>
            </a:pPr>
            <a:r>
              <a:rPr lang="en-US" altLang="en-US" sz="1386" dirty="0"/>
              <a:t>Set goals and keep active</a:t>
            </a:r>
          </a:p>
          <a:p>
            <a:pPr marL="316324" indent="-316324">
              <a:defRPr/>
            </a:pPr>
            <a:r>
              <a:rPr lang="en-US" altLang="en-US" sz="1386" dirty="0"/>
              <a:t>Plan time alone and time together if living with others</a:t>
            </a:r>
          </a:p>
          <a:p>
            <a:pPr marL="316324" indent="-316324">
              <a:defRPr/>
            </a:pPr>
            <a:r>
              <a:rPr lang="en-US" altLang="en-US" sz="1386" dirty="0"/>
              <a:t>Look for or inject humor into the situation if appropriate</a:t>
            </a:r>
          </a:p>
          <a:p>
            <a:pPr marL="316324" indent="-316324">
              <a:defRPr/>
            </a:pPr>
            <a:r>
              <a:rPr lang="en-US" altLang="en-US" sz="1386" dirty="0"/>
              <a:t>Maintain hope</a:t>
            </a:r>
          </a:p>
          <a:p>
            <a:pPr marL="316324" indent="-316324">
              <a:defRPr/>
            </a:pPr>
            <a:r>
              <a:rPr lang="en-US" altLang="en-US" sz="1386" dirty="0"/>
              <a:t>Use stress management techniques</a:t>
            </a:r>
          </a:p>
          <a:p>
            <a:pPr marL="316324" indent="-316324">
              <a:defRPr/>
            </a:pPr>
            <a:r>
              <a:rPr lang="en-US" altLang="en-US" sz="1386" dirty="0"/>
              <a:t>Accept feelings</a:t>
            </a:r>
          </a:p>
          <a:p>
            <a:pPr marL="316324" indent="-316324">
              <a:defRPr/>
            </a:pPr>
            <a:endParaRPr lang="en-US" altLang="en-US" sz="1386" dirty="0"/>
          </a:p>
          <a:p>
            <a:pPr marL="198025" indent="-198025">
              <a:lnSpc>
                <a:spcPct val="100000"/>
              </a:lnSpc>
              <a:buFont typeface="Symbol" panose="05050102010706020507" pitchFamily="18" charset="2"/>
              <a:buChar char=""/>
              <a:defRPr/>
            </a:pPr>
            <a:r>
              <a:rPr lang="en-US" sz="1617" dirty="0" err="1">
                <a:latin typeface="Zawgyi-One" panose="020B0604030504040204" pitchFamily="34" charset="0"/>
                <a:ea typeface="Times New Roman" panose="02020603050405020304" pitchFamily="18" charset="0"/>
                <a:cs typeface="Zawgyi-One" panose="020B0604030504040204" pitchFamily="34" charset="0"/>
              </a:rPr>
              <a:t>တစ္ဦး</a:t>
            </a:r>
            <a:r>
              <a:rPr lang="en-US" sz="1617" dirty="0">
                <a:latin typeface="Zawgyi-One" panose="020B0604030504040204" pitchFamily="34" charset="0"/>
                <a:ea typeface="Times New Roman" panose="02020603050405020304" pitchFamily="18" charset="0"/>
                <a:cs typeface="Zawgyi-One" panose="020B0604030504040204" pitchFamily="34" charset="0"/>
              </a:rPr>
              <a:t>ႏွင့္</a:t>
            </a:r>
            <a:r>
              <a:rPr lang="en-US" sz="1617" dirty="0" err="1">
                <a:latin typeface="Zawgyi-One" panose="020B0604030504040204" pitchFamily="34" charset="0"/>
                <a:ea typeface="Times New Roman" panose="02020603050405020304" pitchFamily="18" charset="0"/>
                <a:cs typeface="Zawgyi-One" panose="020B0604030504040204" pitchFamily="34" charset="0"/>
              </a:rPr>
              <a:t>တစ္ဦး</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ရုပ္ပိုင္းဆိုင္ရာအရ</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ခပ္ခ</a:t>
            </a:r>
            <a:r>
              <a:rPr lang="en-US" sz="1617" dirty="0">
                <a:latin typeface="Zawgyi-One" panose="020B0604030504040204" pitchFamily="34" charset="0"/>
                <a:ea typeface="Times New Roman" panose="02020603050405020304" pitchFamily="18" charset="0"/>
                <a:cs typeface="Zawgyi-One" panose="020B0604030504040204" pitchFamily="34" charset="0"/>
              </a:rPr>
              <a:t>ြါခြါ</a:t>
            </a:r>
            <a:r>
              <a:rPr lang="en-US" sz="1617" dirty="0" err="1">
                <a:latin typeface="Zawgyi-One" panose="020B0604030504040204" pitchFamily="34" charset="0"/>
                <a:ea typeface="Times New Roman" panose="02020603050405020304" pitchFamily="18" charset="0"/>
                <a:cs typeface="Zawgyi-One" panose="020B0604030504040204" pitchFamily="34" charset="0"/>
              </a:rPr>
              <a:t>ေနရေသာ္လည္း</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လူမႈဆက္ဆံေရးအရ</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နီးနီးစပ္စပ္ဆက္ရွိပါေစ</a:t>
            </a:r>
            <a:r>
              <a:rPr lang="en-US" sz="1617" dirty="0">
                <a:latin typeface="Zawgyi-One" panose="020B0604030504040204" pitchFamily="34" charset="0"/>
                <a:ea typeface="Times New Roman" panose="02020603050405020304" pitchFamily="18" charset="0"/>
                <a:cs typeface="Zawgyi-One" panose="020B0604030504040204" pitchFamily="34" charset="0"/>
              </a:rPr>
              <a:t>။ </a:t>
            </a:r>
          </a:p>
          <a:p>
            <a:pPr marL="198025" indent="-198025">
              <a:lnSpc>
                <a:spcPct val="100000"/>
              </a:lnSpc>
              <a:buFont typeface="Symbol" panose="05050102010706020507" pitchFamily="18" charset="2"/>
              <a:buChar char=""/>
              <a:defRPr/>
            </a:pP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နစဥ္ပံုမွန္လုပ္ရိုးလုပ္စဥ္မ်ား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လုပ္ေဆာင္ပ</a:t>
            </a:r>
            <a:r>
              <a:rPr lang="en-US" sz="1617" dirty="0">
                <a:latin typeface="Zawgyi-One" panose="020B0604030504040204" pitchFamily="34" charset="0"/>
                <a:ea typeface="Times New Roman" panose="02020603050405020304" pitchFamily="18" charset="0"/>
                <a:cs typeface="Zawgyi-One" panose="020B0604030504040204" pitchFamily="34" charset="0"/>
              </a:rPr>
              <a:t>ါ။ </a:t>
            </a:r>
          </a:p>
          <a:p>
            <a:pPr marL="198025" indent="-198025">
              <a:lnSpc>
                <a:spcPct val="100000"/>
              </a:lnSpc>
              <a:buFont typeface="Symbol" panose="05050102010706020507" pitchFamily="18" charset="2"/>
              <a:buChar char=""/>
              <a:defRPr/>
            </a:pP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ပန္းတိုင္သတ္မွတ</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ပီး</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တက္တက</a:t>
            </a:r>
            <a:r>
              <a:rPr lang="en-US" sz="1617" dirty="0">
                <a:latin typeface="Zawgyi-One" panose="020B0604030504040204" pitchFamily="34" charset="0"/>
                <a:ea typeface="Times New Roman" panose="02020603050405020304" pitchFamily="18" charset="0"/>
                <a:cs typeface="Zawgyi-One" panose="020B0604030504040204" pitchFamily="34" charset="0"/>
              </a:rPr>
              <a:t>္ၾကြၾကြ </a:t>
            </a:r>
            <a:r>
              <a:rPr lang="en-US" sz="1617" dirty="0" err="1">
                <a:latin typeface="Zawgyi-One" panose="020B0604030504040204" pitchFamily="34" charset="0"/>
                <a:ea typeface="Times New Roman" panose="02020603050405020304" pitchFamily="18" charset="0"/>
                <a:cs typeface="Zawgyi-One" panose="020B0604030504040204" pitchFamily="34" charset="0"/>
              </a:rPr>
              <a:t>ရွိပ</a:t>
            </a:r>
            <a:r>
              <a:rPr lang="en-US" sz="1617" dirty="0">
                <a:latin typeface="Zawgyi-One" panose="020B0604030504040204" pitchFamily="34" charset="0"/>
                <a:ea typeface="Times New Roman" panose="02020603050405020304" pitchFamily="18" charset="0"/>
                <a:cs typeface="Zawgyi-One" panose="020B0604030504040204" pitchFamily="34" charset="0"/>
              </a:rPr>
              <a:t>ါ။ </a:t>
            </a:r>
          </a:p>
          <a:p>
            <a:pPr marL="198025" indent="-198025">
              <a:lnSpc>
                <a:spcPct val="100000"/>
              </a:lnSpc>
              <a:buFont typeface="Symbol" panose="05050102010706020507" pitchFamily="18" charset="2"/>
              <a:buChar char=""/>
              <a:defRPr/>
            </a:pP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ခားသူမ်ား</a:t>
            </a:r>
            <a:r>
              <a:rPr lang="en-US" sz="1617" dirty="0">
                <a:latin typeface="Zawgyi-One" panose="020B0604030504040204" pitchFamily="34" charset="0"/>
                <a:ea typeface="Times New Roman" panose="02020603050405020304" pitchFamily="18" charset="0"/>
                <a:cs typeface="Zawgyi-One" panose="020B0604030504040204" pitchFamily="34" charset="0"/>
              </a:rPr>
              <a:t>ႏွင့္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တူတကြေနထိုင္ပါ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မ်ား</a:t>
            </a:r>
            <a:r>
              <a:rPr lang="en-US" sz="1617" dirty="0">
                <a:latin typeface="Zawgyi-One" panose="020B0604030504040204" pitchFamily="34" charset="0"/>
                <a:ea typeface="Times New Roman" panose="02020603050405020304" pitchFamily="18" charset="0"/>
                <a:cs typeface="Zawgyi-One" panose="020B0604030504040204" pitchFamily="34" charset="0"/>
              </a:rPr>
              <a:t>ႏွင့္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တူရွိခ်ိန</a:t>
            </a:r>
            <a:r>
              <a:rPr lang="en-US" sz="1617" dirty="0">
                <a:latin typeface="Zawgyi-One" panose="020B0604030504040204" pitchFamily="34" charset="0"/>
                <a:ea typeface="Times New Roman" panose="02020603050405020304" pitchFamily="18" charset="0"/>
                <a:cs typeface="Zawgyi-One" panose="020B0604030504040204" pitchFamily="34" charset="0"/>
              </a:rPr>
              <a:t>္ႏွင့္ </a:t>
            </a:r>
            <a:r>
              <a:rPr lang="en-US" sz="1617" dirty="0" err="1">
                <a:latin typeface="Zawgyi-One" panose="020B0604030504040204" pitchFamily="34" charset="0"/>
                <a:ea typeface="Times New Roman" panose="02020603050405020304" pitchFamily="18" charset="0"/>
                <a:cs typeface="Zawgyi-One" panose="020B0604030504040204" pitchFamily="34" charset="0"/>
              </a:rPr>
              <a:t>တစ္ဦးတည္း</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သီးသန</a:t>
            </a:r>
            <a:r>
              <a:rPr lang="en-US" sz="1617" dirty="0">
                <a:latin typeface="Zawgyi-One" panose="020B0604030504040204" pitchFamily="34" charset="0"/>
                <a:ea typeface="Times New Roman" panose="02020603050405020304" pitchFamily="18" charset="0"/>
                <a:cs typeface="Zawgyi-One" panose="020B0604030504040204" pitchFamily="34" charset="0"/>
              </a:rPr>
              <a:t>္႔ </a:t>
            </a:r>
            <a:r>
              <a:rPr lang="en-US" sz="1617" dirty="0" err="1">
                <a:latin typeface="Zawgyi-One" panose="020B0604030504040204" pitchFamily="34" charset="0"/>
                <a:ea typeface="Times New Roman" panose="02020603050405020304" pitchFamily="18" charset="0"/>
                <a:cs typeface="Zawgyi-One" panose="020B0604030504040204" pitchFamily="34" charset="0"/>
              </a:rPr>
              <a:t>ေနထိုင</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ရန</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ခ်ိန္တို</a:t>
            </a:r>
            <a:r>
              <a:rPr lang="en-US" sz="1617" dirty="0">
                <a:latin typeface="Zawgyi-One" panose="020B0604030504040204" pitchFamily="34" charset="0"/>
                <a:ea typeface="Times New Roman" panose="02020603050405020304" pitchFamily="18" charset="0"/>
                <a:cs typeface="Zawgyi-One" panose="020B0604030504040204" pitchFamily="34" charset="0"/>
              </a:rPr>
              <a:t>႔ </a:t>
            </a:r>
            <a:r>
              <a:rPr lang="en-US" sz="1617" dirty="0" err="1">
                <a:latin typeface="Zawgyi-One" panose="020B0604030504040204" pitchFamily="34" charset="0"/>
                <a:ea typeface="Times New Roman" panose="02020603050405020304" pitchFamily="18" charset="0"/>
                <a:cs typeface="Zawgyi-One" panose="020B0604030504040204" pitchFamily="34" charset="0"/>
              </a:rPr>
              <a:t>ကိုအစီအစဥ္ဆြဲပ</a:t>
            </a:r>
            <a:r>
              <a:rPr lang="en-US" sz="1617" dirty="0">
                <a:latin typeface="Zawgyi-One" panose="020B0604030504040204" pitchFamily="34" charset="0"/>
                <a:ea typeface="Times New Roman" panose="02020603050405020304" pitchFamily="18" charset="0"/>
                <a:cs typeface="Zawgyi-One" panose="020B0604030504040204" pitchFamily="34" charset="0"/>
              </a:rPr>
              <a:t>ါ။ </a:t>
            </a:r>
          </a:p>
          <a:p>
            <a:pPr marL="198025" indent="-198025">
              <a:lnSpc>
                <a:spcPct val="100000"/>
              </a:lnSpc>
              <a:buFont typeface="Symbol" panose="05050102010706020507" pitchFamily="18" charset="2"/>
              <a:buChar char=""/>
              <a:defRPr/>
            </a:pP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ဖစ</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င္ပါ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ရယ္ရႊင္ဖြယ္ဟာသ</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စီအစဥ္မ်ားကို</a:t>
            </a:r>
            <a:r>
              <a:rPr lang="en-US" sz="1617" dirty="0">
                <a:latin typeface="Zawgyi-One" panose="020B0604030504040204" pitchFamily="34" charset="0"/>
                <a:ea typeface="Times New Roman" panose="02020603050405020304" pitchFamily="18" charset="0"/>
                <a:cs typeface="Zawgyi-One" panose="020B0604030504040204" pitchFamily="34" charset="0"/>
              </a:rPr>
              <a:t> ၾ</a:t>
            </a:r>
            <a:r>
              <a:rPr lang="en-US" sz="1617" dirty="0" err="1">
                <a:latin typeface="Zawgyi-One" panose="020B0604030504040204" pitchFamily="34" charset="0"/>
                <a:ea typeface="Times New Roman" panose="02020603050405020304" pitchFamily="18" charset="0"/>
                <a:cs typeface="Zawgyi-One" panose="020B0604030504040204" pitchFamily="34" charset="0"/>
              </a:rPr>
              <a:t>ကည</a:t>
            </a:r>
            <a:r>
              <a:rPr lang="en-US" sz="1617" dirty="0">
                <a:latin typeface="Zawgyi-One" panose="020B0604030504040204" pitchFamily="34" charset="0"/>
                <a:ea typeface="Times New Roman" panose="02020603050405020304" pitchFamily="18" charset="0"/>
                <a:cs typeface="Zawgyi-One" panose="020B0604030504040204" pitchFamily="34" charset="0"/>
              </a:rPr>
              <a:t>့္ပါ။ </a:t>
            </a:r>
          </a:p>
          <a:p>
            <a:pPr marL="198025" indent="-198025">
              <a:lnSpc>
                <a:spcPct val="100000"/>
              </a:lnSpc>
              <a:buFont typeface="Symbol" panose="05050102010706020507" pitchFamily="18" charset="2"/>
              <a:buChar char=""/>
              <a:defRPr/>
            </a:pP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မ</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လင</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ခ်က္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ဆက</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ပီးထိန္းသိမ္းပ</a:t>
            </a:r>
            <a:r>
              <a:rPr lang="en-US" sz="1617" dirty="0">
                <a:latin typeface="Zawgyi-One" panose="020B0604030504040204" pitchFamily="34" charset="0"/>
                <a:ea typeface="Times New Roman" panose="02020603050405020304" pitchFamily="18" charset="0"/>
                <a:cs typeface="Zawgyi-One" panose="020B0604030504040204" pitchFamily="34" charset="0"/>
              </a:rPr>
              <a:t>ါ။</a:t>
            </a:r>
          </a:p>
          <a:p>
            <a:pPr marL="198025" indent="-198025">
              <a:lnSpc>
                <a:spcPct val="100000"/>
              </a:lnSpc>
              <a:buFont typeface="Symbol" panose="05050102010706020507" pitchFamily="18" charset="2"/>
              <a:buChar char=""/>
              <a:defRPr/>
            </a:pP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စိတ္ဖိစီးမႈေလ</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ခ်ေရးနည္းလမ္းမ်ား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သံုးျပဳပ</a:t>
            </a:r>
            <a:r>
              <a:rPr lang="en-US" sz="1617" dirty="0">
                <a:latin typeface="Zawgyi-One" panose="020B0604030504040204" pitchFamily="34" charset="0"/>
                <a:ea typeface="Times New Roman" panose="02020603050405020304" pitchFamily="18" charset="0"/>
                <a:cs typeface="Zawgyi-One" panose="020B0604030504040204" pitchFamily="34" charset="0"/>
              </a:rPr>
              <a:t>ါ။ </a:t>
            </a:r>
          </a:p>
          <a:p>
            <a:pPr marL="198025" indent="-198025">
              <a:lnSpc>
                <a:spcPct val="100000"/>
              </a:lnSpc>
              <a:buFont typeface="Symbol" panose="05050102010706020507" pitchFamily="18" charset="2"/>
              <a:buChar char=""/>
              <a:defRPr/>
            </a:pP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စိတ္ခံစားမႈမ်ား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လက္ခံပ</a:t>
            </a:r>
            <a:r>
              <a:rPr lang="en-US" sz="1617" dirty="0">
                <a:latin typeface="Zawgyi-One" panose="020B0604030504040204" pitchFamily="34" charset="0"/>
                <a:ea typeface="Times New Roman" panose="02020603050405020304" pitchFamily="18" charset="0"/>
                <a:cs typeface="Zawgyi-One" panose="020B0604030504040204" pitchFamily="34" charset="0"/>
              </a:rPr>
              <a:t>ါ။ </a:t>
            </a:r>
          </a:p>
          <a:p>
            <a:pPr marL="0" indent="0">
              <a:buNone/>
              <a:defRPr/>
            </a:pPr>
            <a:endParaRPr lang="en-US" altLang="en-US" sz="2583" dirty="0">
              <a:solidFill>
                <a:srgbClr val="002060"/>
              </a:solidFill>
            </a:endParaRPr>
          </a:p>
        </p:txBody>
      </p:sp>
    </p:spTree>
    <p:extLst>
      <p:ext uri="{BB962C8B-B14F-4D97-AF65-F5344CB8AC3E}">
        <p14:creationId xmlns:p14="http://schemas.microsoft.com/office/powerpoint/2010/main" val="11794448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a:extLst>
              <a:ext uri="{FF2B5EF4-FFF2-40B4-BE49-F238E27FC236}">
                <a16:creationId xmlns:a16="http://schemas.microsoft.com/office/drawing/2014/main" id="{A8CAF2F2-A152-4408-B668-2D71FC21EF0D}"/>
              </a:ext>
            </a:extLst>
          </p:cNvPr>
          <p:cNvSpPr>
            <a:spLocks noGrp="1"/>
          </p:cNvSpPr>
          <p:nvPr>
            <p:ph type="title"/>
          </p:nvPr>
        </p:nvSpPr>
        <p:spPr bwMode="auto">
          <a:xfrm>
            <a:off x="2446" y="0"/>
            <a:ext cx="8912954" cy="13255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0000"/>
          </a:bodyPr>
          <a:lstStyle/>
          <a:p>
            <a:pPr>
              <a:lnSpc>
                <a:spcPct val="150000"/>
              </a:lnSpc>
              <a:defRPr/>
            </a:pPr>
            <a:r>
              <a:rPr lang="en-US" altLang="en-US" sz="1848" dirty="0">
                <a:solidFill>
                  <a:srgbClr val="FF0000"/>
                </a:solidFill>
              </a:rPr>
              <a:t>LINK –  Refer to specialized psychological help if a </a:t>
            </a:r>
            <a:r>
              <a:rPr lang="en-US" altLang="en-US" sz="1848" dirty="0" err="1">
                <a:solidFill>
                  <a:srgbClr val="FF0000"/>
                </a:solidFill>
              </a:rPr>
              <a:t>chid</a:t>
            </a:r>
            <a:r>
              <a:rPr lang="en-US" altLang="en-US" sz="1848" dirty="0">
                <a:solidFill>
                  <a:srgbClr val="FF0000"/>
                </a:solidFill>
              </a:rPr>
              <a:t> </a:t>
            </a:r>
            <a:br>
              <a:rPr lang="en-US" altLang="en-US" sz="1848" dirty="0">
                <a:solidFill>
                  <a:srgbClr val="FF0000"/>
                </a:solidFill>
              </a:rPr>
            </a:br>
            <a:r>
              <a:rPr lang="en-US" altLang="en-US" sz="1848" dirty="0" err="1">
                <a:solidFill>
                  <a:srgbClr val="FF0000"/>
                </a:solidFill>
                <a:latin typeface="Zawgyi-One" panose="020B0604030504040204" pitchFamily="34" charset="0"/>
                <a:cs typeface="Zawgyi-One" panose="020B0604030504040204" pitchFamily="34" charset="0"/>
              </a:rPr>
              <a:t>ခ်ိတ္ဆက္ပ</a:t>
            </a:r>
            <a:r>
              <a:rPr lang="en-US" altLang="en-US" sz="1848" dirty="0">
                <a:solidFill>
                  <a:srgbClr val="FF0000"/>
                </a:solidFill>
                <a:latin typeface="Zawgyi-One" panose="020B0604030504040204" pitchFamily="34" charset="0"/>
                <a:cs typeface="Zawgyi-One" panose="020B0604030504040204" pitchFamily="34" charset="0"/>
              </a:rPr>
              <a:t>ါ - </a:t>
            </a:r>
            <a:r>
              <a:rPr lang="en-US" altLang="en-US" sz="1848" dirty="0" err="1">
                <a:solidFill>
                  <a:srgbClr val="FF0000"/>
                </a:solidFill>
                <a:latin typeface="Zawgyi-One" panose="020B0604030504040204" pitchFamily="34" charset="0"/>
                <a:cs typeface="Zawgyi-One" panose="020B0604030504040204" pitchFamily="34" charset="0"/>
              </a:rPr>
              <a:t>စိတ္လူမႈပံ့ပိုးမႈဆိုင္ရာ</a:t>
            </a:r>
            <a:r>
              <a:rPr lang="en-US" altLang="en-US" sz="1848" dirty="0">
                <a:solidFill>
                  <a:srgbClr val="FF0000"/>
                </a:solidFill>
                <a:latin typeface="Zawgyi-One" panose="020B0604030504040204" pitchFamily="34" charset="0"/>
                <a:cs typeface="Zawgyi-One" panose="020B0604030504040204" pitchFamily="34" charset="0"/>
              </a:rPr>
              <a:t> က်ြ</a:t>
            </a:r>
            <a:r>
              <a:rPr lang="en-US" altLang="en-US" sz="1848" dirty="0" err="1">
                <a:solidFill>
                  <a:srgbClr val="FF0000"/>
                </a:solidFill>
                <a:latin typeface="Zawgyi-One" panose="020B0604030504040204" pitchFamily="34" charset="0"/>
                <a:cs typeface="Zawgyi-One" panose="020B0604030504040204" pitchFamily="34" charset="0"/>
              </a:rPr>
              <a:t>မ္းက်င္သူအား</a:t>
            </a:r>
            <a:r>
              <a:rPr lang="en-US" altLang="en-US" sz="1848" dirty="0">
                <a:solidFill>
                  <a:srgbClr val="FF0000"/>
                </a:solidFill>
                <a:latin typeface="Zawgyi-One" panose="020B0604030504040204" pitchFamily="34" charset="0"/>
                <a:cs typeface="Zawgyi-One" panose="020B0604030504040204" pitchFamily="34" charset="0"/>
              </a:rPr>
              <a:t> </a:t>
            </a:r>
            <a:r>
              <a:rPr lang="en-US" altLang="en-US" sz="1848" dirty="0" err="1">
                <a:solidFill>
                  <a:srgbClr val="FF0000"/>
                </a:solidFill>
                <a:latin typeface="Zawgyi-One" panose="020B0604030504040204" pitchFamily="34" charset="0"/>
                <a:cs typeface="Zawgyi-One" panose="020B0604030504040204" pitchFamily="34" charset="0"/>
              </a:rPr>
              <a:t>ညႊန္းပို႔ေပးပ</a:t>
            </a:r>
            <a:r>
              <a:rPr lang="en-US" altLang="en-US" sz="1848" dirty="0">
                <a:solidFill>
                  <a:srgbClr val="FF0000"/>
                </a:solidFill>
                <a:latin typeface="Zawgyi-One" panose="020B0604030504040204" pitchFamily="34" charset="0"/>
                <a:cs typeface="Zawgyi-One" panose="020B0604030504040204" pitchFamily="34" charset="0"/>
              </a:rPr>
              <a:t>ါ။ </a:t>
            </a:r>
            <a:br>
              <a:rPr lang="en-US" altLang="en-US" sz="2491" dirty="0">
                <a:solidFill>
                  <a:srgbClr val="FF0000"/>
                </a:solidFill>
              </a:rPr>
            </a:br>
            <a:endParaRPr lang="en-US" altLang="en-US" sz="2491" dirty="0">
              <a:solidFill>
                <a:srgbClr val="FF0000"/>
              </a:solidFill>
            </a:endParaRPr>
          </a:p>
        </p:txBody>
      </p:sp>
      <p:sp>
        <p:nvSpPr>
          <p:cNvPr id="115715" name="Content Placeholder 2">
            <a:extLst>
              <a:ext uri="{FF2B5EF4-FFF2-40B4-BE49-F238E27FC236}">
                <a16:creationId xmlns:a16="http://schemas.microsoft.com/office/drawing/2014/main" id="{55378CCA-3F6B-41A4-814C-0FD0ECAB40C0}"/>
              </a:ext>
            </a:extLst>
          </p:cNvPr>
          <p:cNvSpPr>
            <a:spLocks noGrp="1"/>
          </p:cNvSpPr>
          <p:nvPr>
            <p:ph idx="4294967295"/>
          </p:nvPr>
        </p:nvSpPr>
        <p:spPr bwMode="auto">
          <a:xfrm>
            <a:off x="2445" y="920512"/>
            <a:ext cx="9094185" cy="5369044"/>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2500" lnSpcReduction="10000"/>
          </a:bodyPr>
          <a:lstStyle/>
          <a:p>
            <a:pPr marL="316324" indent="-316324">
              <a:defRPr/>
            </a:pPr>
            <a:r>
              <a:rPr lang="en-US" altLang="en-US" sz="1386" dirty="0"/>
              <a:t>has not been able to sleep for the last week and is confused and disorientated</a:t>
            </a:r>
          </a:p>
          <a:p>
            <a:pPr marL="316324" indent="-316324">
              <a:defRPr/>
            </a:pPr>
            <a:r>
              <a:rPr lang="en-US" altLang="en-US" sz="1386" dirty="0"/>
              <a:t>is so distressed that they are unable to function normally and care for themselves or their children by, for example, not eating or keeping clean</a:t>
            </a:r>
          </a:p>
          <a:p>
            <a:pPr marL="316324" indent="-316324">
              <a:defRPr/>
            </a:pPr>
            <a:r>
              <a:rPr lang="en-US" altLang="en-US" sz="1386" dirty="0"/>
              <a:t>loses control over their </a:t>
            </a:r>
            <a:r>
              <a:rPr lang="en-US" altLang="en-US" sz="1386" dirty="0" err="1"/>
              <a:t>behaviour</a:t>
            </a:r>
            <a:r>
              <a:rPr lang="en-US" altLang="en-US" sz="1386" dirty="0"/>
              <a:t> and behaves in an unpredictable or destructive manner</a:t>
            </a:r>
          </a:p>
          <a:p>
            <a:pPr marL="316324" indent="-316324">
              <a:defRPr/>
            </a:pPr>
            <a:r>
              <a:rPr lang="en-US" altLang="en-US" sz="1386" dirty="0"/>
              <a:t>threatens harm to themselves or others </a:t>
            </a:r>
          </a:p>
          <a:p>
            <a:pPr marL="316324" indent="-316324">
              <a:defRPr/>
            </a:pPr>
            <a:r>
              <a:rPr lang="en-US" altLang="en-US" sz="1386" dirty="0"/>
              <a:t>starts excessive and out-of-the-ordinary use of drugs or alcohol</a:t>
            </a:r>
          </a:p>
          <a:p>
            <a:pPr marL="316324" indent="-316324">
              <a:lnSpc>
                <a:spcPct val="150000"/>
              </a:lnSpc>
              <a:defRPr/>
            </a:pPr>
            <a:r>
              <a:rPr lang="en-US" altLang="en-US" sz="1617" dirty="0"/>
              <a:t> </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ပီးခဲ့သည</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ရက္သတ</a:t>
            </a:r>
            <a:r>
              <a:rPr lang="my-MM"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ပါတ္အတြင္း</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အိပ္မေပ်ာ</a:t>
            </a:r>
            <a:r>
              <a:rPr lang="en-US" sz="1617" dirty="0">
                <a:latin typeface="Zawgyi-One" panose="020B0604030504040204" pitchFamily="34" charset="0"/>
                <a:ea typeface="Times New Roman" panose="02020603050405020304" pitchFamily="18" charset="0"/>
                <a:cs typeface="Zawgyi-One" panose="020B0604030504040204" pitchFamily="34" charset="0"/>
              </a:rPr>
              <a:t>္ျ</a:t>
            </a:r>
            <a:r>
              <a:rPr lang="en-US" sz="1617" dirty="0" err="1">
                <a:latin typeface="Zawgyi-One" panose="020B0604030504040204" pitchFamily="34" charset="0"/>
                <a:ea typeface="Times New Roman" panose="02020603050405020304" pitchFamily="18" charset="0"/>
                <a:cs typeface="Zawgyi-One" panose="020B0604030504040204" pitchFamily="34" charset="0"/>
              </a:rPr>
              <a:t>ခင္း</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စိတ္ရႈတ္ေထြးေနျခင္း</a:t>
            </a:r>
            <a:r>
              <a:rPr lang="en-US" sz="1617" dirty="0">
                <a:latin typeface="Zawgyi-One" panose="020B0604030504040204" pitchFamily="34" charset="0"/>
                <a:ea typeface="Times New Roman" panose="02020603050405020304" pitchFamily="18" charset="0"/>
                <a:cs typeface="Zawgyi-One" panose="020B0604030504040204" pitchFamily="34" charset="0"/>
              </a:rPr>
              <a:t> ႏွင့္ </a:t>
            </a:r>
            <a:r>
              <a:rPr lang="en-US" sz="1617" dirty="0" err="1">
                <a:latin typeface="Zawgyi-One" panose="020B0604030504040204" pitchFamily="34" charset="0"/>
                <a:ea typeface="Times New Roman" panose="02020603050405020304" pitchFamily="18" charset="0"/>
                <a:cs typeface="Zawgyi-One" panose="020B0604030504040204" pitchFamily="34" charset="0"/>
              </a:rPr>
              <a:t>ဘာဆက္လုပ္မည္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မသိပဲ</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လမ္းေပ်ာက</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သလို</a:t>
            </a:r>
            <a:r>
              <a:rPr lang="en-US" sz="1617" dirty="0">
                <a:latin typeface="Zawgyi-One" panose="020B0604030504040204" pitchFamily="34" charset="0"/>
                <a:ea typeface="Times New Roman" panose="02020603050405020304" pitchFamily="18" charset="0"/>
                <a:cs typeface="Zawgyi-One" panose="020B0604030504040204" pitchFamily="34" charset="0"/>
              </a:rPr>
              <a:t> </a:t>
            </a:r>
            <a:r>
              <a:rPr lang="en-US" sz="1617" dirty="0" err="1">
                <a:latin typeface="Zawgyi-One" panose="020B0604030504040204" pitchFamily="34" charset="0"/>
                <a:ea typeface="Times New Roman" panose="02020603050405020304" pitchFamily="18" charset="0"/>
                <a:cs typeface="Zawgyi-One" panose="020B0604030504040204" pitchFamily="34" charset="0"/>
              </a:rPr>
              <a:t>ခံစားခဲ့ရျခင္း</a:t>
            </a:r>
            <a:r>
              <a:rPr lang="en-US" sz="1617" dirty="0">
                <a:latin typeface="Zawgyi-One" panose="020B0604030504040204" pitchFamily="34" charset="0"/>
                <a:ea typeface="Times New Roman" panose="02020603050405020304" pitchFamily="18" charset="0"/>
                <a:cs typeface="Zawgyi-One" panose="020B0604030504040204" pitchFamily="34" charset="0"/>
              </a:rPr>
              <a:t>။ </a:t>
            </a:r>
          </a:p>
          <a:p>
            <a:pPr marL="316324" indent="-316324">
              <a:lnSpc>
                <a:spcPct val="150000"/>
              </a:lnSpc>
              <a:defRPr/>
            </a:pP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စိတ္ဖိစီးမႈအလြန္အမင္းခံစား</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နရေသာေၾကာင</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ပံုမွန္လုပ္ေနၾက</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လုပ္ငန္းေဆာင္တာမ်ားအား</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ဆက္မလုပ္ကိုင</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င</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ခင္း</a:t>
            </a:r>
            <a:r>
              <a:rPr lang="en-US" altLang="en-US" sz="1617" dirty="0">
                <a:latin typeface="Zawgyi-One" panose="020B0604030504040204" pitchFamily="34" charset="0"/>
                <a:cs typeface="Zawgyi-One" panose="020B0604030504040204" pitchFamily="34" charset="0"/>
              </a:rPr>
              <a:t> ႏွင့္  ၄င္းတို႔ကိုယ္တိုင္ႏွင့္ ၄င္းတို႔၏ </a:t>
            </a:r>
            <a:r>
              <a:rPr lang="en-US" altLang="en-US" sz="1617" dirty="0" err="1">
                <a:latin typeface="Zawgyi-One" panose="020B0604030504040204" pitchFamily="34" charset="0"/>
                <a:cs typeface="Zawgyi-One" panose="020B0604030504040204" pitchFamily="34" charset="0"/>
              </a:rPr>
              <a:t>ကေလးမ်ားအား</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ဂရုစိုက</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င္မ</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မျပဳလုပ</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င</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ခင္း</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ဥပမာအေနျဖင</a:t>
            </a:r>
            <a:r>
              <a:rPr lang="en-US" altLang="en-US" sz="1617" dirty="0">
                <a:latin typeface="Zawgyi-One" panose="020B0604030504040204" pitchFamily="34" charset="0"/>
                <a:cs typeface="Zawgyi-One" panose="020B0604030504040204" pitchFamily="34" charset="0"/>
              </a:rPr>
              <a:t>့္ - </a:t>
            </a:r>
            <a:r>
              <a:rPr lang="en-US" altLang="en-US" sz="1617" dirty="0" err="1">
                <a:latin typeface="Zawgyi-One" panose="020B0604030504040204" pitchFamily="34" charset="0"/>
                <a:cs typeface="Zawgyi-One" panose="020B0604030504040204" pitchFamily="34" charset="0"/>
              </a:rPr>
              <a:t>တစ္ကိုယ္ရည္သန</a:t>
            </a:r>
            <a:r>
              <a:rPr lang="en-US" altLang="en-US" sz="1617" dirty="0">
                <a:latin typeface="Zawgyi-One" panose="020B0604030504040204" pitchFamily="34" charset="0"/>
                <a:cs typeface="Zawgyi-One" panose="020B0604030504040204" pitchFamily="34" charset="0"/>
              </a:rPr>
              <a:t>္႔</a:t>
            </a:r>
            <a:r>
              <a:rPr lang="en-US" altLang="en-US" sz="1617" dirty="0" err="1">
                <a:latin typeface="Zawgyi-One" panose="020B0604030504040204" pitchFamily="34" charset="0"/>
                <a:cs typeface="Zawgyi-One" panose="020B0604030504040204" pitchFamily="34" charset="0"/>
              </a:rPr>
              <a:t>ရွင္းေရး</a:t>
            </a:r>
            <a:r>
              <a:rPr lang="en-US" altLang="en-US" sz="1617" dirty="0">
                <a:latin typeface="Zawgyi-One" panose="020B0604030504040204" pitchFamily="34" charset="0"/>
                <a:cs typeface="Zawgyi-One" panose="020B0604030504040204" pitchFamily="34" charset="0"/>
              </a:rPr>
              <a:t> ႏွင့္ </a:t>
            </a:r>
            <a:r>
              <a:rPr lang="en-US" altLang="en-US" sz="1617" dirty="0" err="1">
                <a:latin typeface="Zawgyi-One" panose="020B0604030504040204" pitchFamily="34" charset="0"/>
                <a:cs typeface="Zawgyi-One" panose="020B0604030504040204" pitchFamily="34" charset="0"/>
              </a:rPr>
              <a:t>အစားအေသာက္မစားေသာက</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ခင္း</a:t>
            </a:r>
            <a:r>
              <a:rPr lang="en-US" altLang="en-US" sz="1617" dirty="0">
                <a:latin typeface="Zawgyi-One" panose="020B0604030504040204" pitchFamily="34" charset="0"/>
                <a:cs typeface="Zawgyi-One" panose="020B0604030504040204" pitchFamily="34" charset="0"/>
              </a:rPr>
              <a:t>။ </a:t>
            </a:r>
          </a:p>
          <a:p>
            <a:pPr marL="316324" indent="-316324">
              <a:lnSpc>
                <a:spcPct val="150000"/>
              </a:lnSpc>
              <a:defRPr/>
            </a:pPr>
            <a:r>
              <a:rPr lang="en-US" altLang="en-US" sz="1617" dirty="0">
                <a:latin typeface="Zawgyi-One" panose="020B0604030504040204" pitchFamily="34" charset="0"/>
                <a:cs typeface="Zawgyi-One" panose="020B0604030504040204" pitchFamily="34" charset="0"/>
              </a:rPr>
              <a:t> ၄င္းတို႔၏ </a:t>
            </a:r>
            <a:r>
              <a:rPr lang="en-US" altLang="en-US" sz="1617" dirty="0" err="1">
                <a:latin typeface="Zawgyi-One" panose="020B0604030504040204" pitchFamily="34" charset="0"/>
                <a:cs typeface="Zawgyi-One" panose="020B0604030504040204" pitchFamily="34" charset="0"/>
              </a:rPr>
              <a:t>အျပဳအမူမ်ား</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မထိန္းသိမ္းႏိုင</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ခင္း</a:t>
            </a:r>
            <a:r>
              <a:rPr lang="en-US" altLang="en-US" sz="1617" dirty="0">
                <a:latin typeface="Zawgyi-One" panose="020B0604030504040204" pitchFamily="34" charset="0"/>
                <a:cs typeface="Zawgyi-One" panose="020B0604030504040204" pitchFamily="34" charset="0"/>
              </a:rPr>
              <a:t> ႏွင့္ ၾ</a:t>
            </a:r>
            <a:r>
              <a:rPr lang="en-US" altLang="en-US" sz="1617" dirty="0" err="1">
                <a:latin typeface="Zawgyi-One" panose="020B0604030504040204" pitchFamily="34" charset="0"/>
                <a:cs typeface="Zawgyi-One" panose="020B0604030504040204" pitchFamily="34" charset="0"/>
              </a:rPr>
              <a:t>ကိဳတင္မေမ</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မွန္းထားေသာ</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အျပဳအမူ</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လုပ္ေဆာင</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ခင္း</a:t>
            </a:r>
            <a:r>
              <a:rPr lang="en-US" altLang="en-US" sz="1617" dirty="0">
                <a:latin typeface="Zawgyi-One" panose="020B0604030504040204" pitchFamily="34" charset="0"/>
                <a:cs typeface="Zawgyi-One" panose="020B0604030504040204" pitchFamily="34" charset="0"/>
              </a:rPr>
              <a:t> ႏွင့္ </a:t>
            </a:r>
            <a:r>
              <a:rPr lang="en-US" altLang="en-US" sz="1617" dirty="0" err="1">
                <a:latin typeface="Zawgyi-One" panose="020B0604030504040204" pitchFamily="34" charset="0"/>
                <a:cs typeface="Zawgyi-One" panose="020B0604030504040204" pitchFamily="34" charset="0"/>
              </a:rPr>
              <a:t>ပစ</a:t>
            </a:r>
            <a:r>
              <a:rPr lang="my-MM" altLang="en-US" sz="1617" dirty="0">
                <a:latin typeface="Zawgyi-One" panose="020B0604030504040204" pitchFamily="34" charset="0"/>
                <a:cs typeface="Zawgyi-One" panose="020B0604030504040204" pitchFamily="34" charset="0"/>
              </a:rPr>
              <a:t>ၥ</a:t>
            </a:r>
            <a:r>
              <a:rPr lang="en-US" altLang="en-US" sz="1617" dirty="0" err="1">
                <a:latin typeface="Zawgyi-One" panose="020B0604030504040204" pitchFamily="34" charset="0"/>
                <a:cs typeface="Zawgyi-One" panose="020B0604030504040204" pitchFamily="34" charset="0"/>
              </a:rPr>
              <a:t>ည္းမ်ားအား</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ဖ်က္စီးျခင္း</a:t>
            </a:r>
            <a:r>
              <a:rPr lang="en-US" altLang="en-US" sz="1617" dirty="0">
                <a:latin typeface="Zawgyi-One" panose="020B0604030504040204" pitchFamily="34" charset="0"/>
                <a:cs typeface="Zawgyi-One" panose="020B0604030504040204" pitchFamily="34" charset="0"/>
              </a:rPr>
              <a:t>။ </a:t>
            </a:r>
          </a:p>
          <a:p>
            <a:pPr marL="316324" indent="-316324">
              <a:lnSpc>
                <a:spcPct val="150000"/>
              </a:lnSpc>
              <a:defRPr/>
            </a:pP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မိမိကိုယ္ကို</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သို႔မဟုတ</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အျခားသူမ်ားအား</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ထိခိုက္ေစရန</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ခိမ္းေျခာက</a:t>
            </a:r>
            <a:r>
              <a:rPr lang="en-US" altLang="en-US" sz="1617" dirty="0">
                <a:latin typeface="Zawgyi-One" panose="020B0604030504040204" pitchFamily="34" charset="0"/>
                <a:cs typeface="Zawgyi-One" panose="020B0604030504040204" pitchFamily="34" charset="0"/>
              </a:rPr>
              <a:t>္ျ</a:t>
            </a:r>
            <a:r>
              <a:rPr lang="en-US" altLang="en-US" sz="1617" dirty="0" err="1">
                <a:latin typeface="Zawgyi-One" panose="020B0604030504040204" pitchFamily="34" charset="0"/>
                <a:cs typeface="Zawgyi-One" panose="020B0604030504040204" pitchFamily="34" charset="0"/>
              </a:rPr>
              <a:t>ခင္း</a:t>
            </a:r>
            <a:r>
              <a:rPr lang="en-US" altLang="en-US" sz="1617" dirty="0">
                <a:latin typeface="Zawgyi-One" panose="020B0604030504040204" pitchFamily="34" charset="0"/>
                <a:cs typeface="Zawgyi-One" panose="020B0604030504040204" pitchFamily="34" charset="0"/>
              </a:rPr>
              <a:t>။ </a:t>
            </a:r>
          </a:p>
          <a:p>
            <a:pPr marL="316324" indent="-316324">
              <a:lnSpc>
                <a:spcPct val="150000"/>
              </a:lnSpc>
              <a:defRPr/>
            </a:pPr>
            <a:r>
              <a:rPr lang="en-US" altLang="en-US" sz="1617" dirty="0">
                <a:latin typeface="Zawgyi-One" panose="020B0604030504040204" pitchFamily="34" charset="0"/>
                <a:cs typeface="Zawgyi-One" panose="020B0604030504040204" pitchFamily="34" charset="0"/>
              </a:rPr>
              <a:t> မူယစ္ေဆး၀ါး ႏွင့္ </a:t>
            </a:r>
            <a:r>
              <a:rPr lang="en-US" altLang="en-US" sz="1617" dirty="0" err="1">
                <a:latin typeface="Zawgyi-One" panose="020B0604030504040204" pitchFamily="34" charset="0"/>
                <a:cs typeface="Zawgyi-One" panose="020B0604030504040204" pitchFamily="34" charset="0"/>
              </a:rPr>
              <a:t>အရက</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အား</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အလြန္အက</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သို</a:t>
            </a:r>
            <a:r>
              <a:rPr lang="en-US" altLang="en-US" sz="1617" dirty="0">
                <a:latin typeface="Zawgyi-One" panose="020B0604030504040204" pitchFamily="34" charset="0"/>
                <a:cs typeface="Zawgyi-One" panose="020B0604030504040204" pitchFamily="34" charset="0"/>
              </a:rPr>
              <a:t>႔ </a:t>
            </a:r>
            <a:r>
              <a:rPr lang="en-US" altLang="en-US" sz="1617" dirty="0" err="1">
                <a:latin typeface="Zawgyi-One" panose="020B0604030504040204" pitchFamily="34" charset="0"/>
                <a:cs typeface="Zawgyi-One" panose="020B0604030504040204" pitchFamily="34" charset="0"/>
              </a:rPr>
              <a:t>သာမန္ထက္ပို</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ပီ</a:t>
            </a:r>
            <a:r>
              <a:rPr lang="en-US" altLang="en-US" sz="1617" dirty="0">
                <a:latin typeface="Zawgyi-One" panose="020B0604030504040204" pitchFamily="34" charset="0"/>
                <a:cs typeface="Zawgyi-One" panose="020B0604030504040204" pitchFamily="34" charset="0"/>
              </a:rPr>
              <a:t> </a:t>
            </a:r>
            <a:r>
              <a:rPr lang="en-US" altLang="en-US" sz="1617" dirty="0" err="1">
                <a:latin typeface="Zawgyi-One" panose="020B0604030504040204" pitchFamily="34" charset="0"/>
                <a:cs typeface="Zawgyi-One" panose="020B0604030504040204" pitchFamily="34" charset="0"/>
              </a:rPr>
              <a:t>သံုးစြဲျခင္း</a:t>
            </a:r>
            <a:r>
              <a:rPr lang="en-US" altLang="en-US" sz="1617" dirty="0">
                <a:latin typeface="Zawgyi-One" panose="020B0604030504040204" pitchFamily="34" charset="0"/>
                <a:cs typeface="Zawgyi-One" panose="020B0604030504040204" pitchFamily="34" charset="0"/>
              </a:rPr>
              <a:t>။ </a:t>
            </a:r>
          </a:p>
          <a:p>
            <a:pPr marL="0" indent="0">
              <a:lnSpc>
                <a:spcPct val="150000"/>
              </a:lnSpc>
              <a:buNone/>
              <a:defRPr/>
            </a:pPr>
            <a:r>
              <a:rPr lang="en-US" altLang="en-US" sz="1386" dirty="0">
                <a:solidFill>
                  <a:srgbClr val="FFFF00"/>
                </a:solidFill>
                <a:latin typeface="Zawgyi-One" panose="020B0604030504040204" pitchFamily="34" charset="0"/>
                <a:cs typeface="Zawgyi-One" panose="020B0604030504040204" pitchFamily="34" charset="0"/>
              </a:rPr>
              <a:t> </a:t>
            </a:r>
          </a:p>
        </p:txBody>
      </p:sp>
    </p:spTree>
    <p:extLst>
      <p:ext uri="{BB962C8B-B14F-4D97-AF65-F5344CB8AC3E}">
        <p14:creationId xmlns:p14="http://schemas.microsoft.com/office/powerpoint/2010/main" val="9132983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730BE1B-BC14-445E-8035-FA87A6657083}"/>
              </a:ext>
            </a:extLst>
          </p:cNvPr>
          <p:cNvSpPr>
            <a:spLocks noGrp="1"/>
          </p:cNvSpPr>
          <p:nvPr>
            <p:ph type="title"/>
          </p:nvPr>
        </p:nvSpPr>
        <p:spPr bwMode="auto">
          <a:xfrm>
            <a:off x="2445" y="365126"/>
            <a:ext cx="8510797" cy="132556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pPr marL="171344" indent="-171344">
              <a:lnSpc>
                <a:spcPct val="150000"/>
              </a:lnSpc>
              <a:spcBef>
                <a:spcPts val="750"/>
              </a:spcBef>
              <a:buFont typeface="Arial" panose="020B0604020202020204" pitchFamily="34" charset="0"/>
              <a:buChar char="•"/>
              <a:defRPr/>
            </a:pPr>
            <a:r>
              <a:rPr lang="en-US" altLang="en-US" sz="1675" dirty="0">
                <a:solidFill>
                  <a:srgbClr val="FF0000"/>
                </a:solidFill>
                <a:latin typeface="+mn-lt"/>
                <a:ea typeface="+mn-ea"/>
                <a:cs typeface="+mn-cs"/>
              </a:rPr>
              <a:t>LINK –  Refer to specialized psychological help if a child </a:t>
            </a:r>
            <a:br>
              <a:rPr lang="en-US" altLang="en-US" sz="1675" dirty="0">
                <a:solidFill>
                  <a:srgbClr val="FF0000"/>
                </a:solidFill>
                <a:latin typeface="+mn-lt"/>
                <a:ea typeface="+mn-ea"/>
                <a:cs typeface="+mn-cs"/>
              </a:rPr>
            </a:br>
            <a:r>
              <a:rPr lang="en-US" altLang="en-US" sz="1502" dirty="0" err="1">
                <a:solidFill>
                  <a:srgbClr val="FF0000"/>
                </a:solidFill>
                <a:latin typeface="Zawgyi-One" panose="020B0604030504040204" pitchFamily="34" charset="0"/>
                <a:ea typeface="+mn-ea"/>
                <a:cs typeface="Zawgyi-One" panose="020B0604030504040204" pitchFamily="34" charset="0"/>
              </a:rPr>
              <a:t>ခ်ိတ္ဆက္ပ</a:t>
            </a:r>
            <a:r>
              <a:rPr lang="en-US" altLang="en-US" sz="1502" dirty="0">
                <a:solidFill>
                  <a:srgbClr val="FF0000"/>
                </a:solidFill>
                <a:latin typeface="Zawgyi-One" panose="020B0604030504040204" pitchFamily="34" charset="0"/>
                <a:ea typeface="+mn-ea"/>
                <a:cs typeface="Zawgyi-One" panose="020B0604030504040204" pitchFamily="34" charset="0"/>
              </a:rPr>
              <a:t>ါ - </a:t>
            </a:r>
            <a:r>
              <a:rPr lang="en-US" altLang="en-US" sz="1502" dirty="0" err="1">
                <a:solidFill>
                  <a:srgbClr val="FF0000"/>
                </a:solidFill>
                <a:latin typeface="Zawgyi-One" panose="020B0604030504040204" pitchFamily="34" charset="0"/>
                <a:ea typeface="+mn-ea"/>
                <a:cs typeface="Zawgyi-One" panose="020B0604030504040204" pitchFamily="34" charset="0"/>
              </a:rPr>
              <a:t>စိတ္လူမႈပံ့ပိုးမႈဆိုင္ရာ</a:t>
            </a:r>
            <a:r>
              <a:rPr lang="en-US" altLang="en-US" sz="1502" dirty="0">
                <a:solidFill>
                  <a:srgbClr val="FF0000"/>
                </a:solidFill>
                <a:latin typeface="Zawgyi-One" panose="020B0604030504040204" pitchFamily="34" charset="0"/>
                <a:ea typeface="+mn-ea"/>
                <a:cs typeface="Zawgyi-One" panose="020B0604030504040204" pitchFamily="34" charset="0"/>
              </a:rPr>
              <a:t> က်ြ</a:t>
            </a:r>
            <a:r>
              <a:rPr lang="en-US" altLang="en-US" sz="1502" dirty="0" err="1">
                <a:solidFill>
                  <a:srgbClr val="FF0000"/>
                </a:solidFill>
                <a:latin typeface="Zawgyi-One" panose="020B0604030504040204" pitchFamily="34" charset="0"/>
                <a:ea typeface="+mn-ea"/>
                <a:cs typeface="Zawgyi-One" panose="020B0604030504040204" pitchFamily="34" charset="0"/>
              </a:rPr>
              <a:t>မ္းက်င္သူအား</a:t>
            </a:r>
            <a:r>
              <a:rPr lang="en-US" altLang="en-US" sz="1502" dirty="0">
                <a:solidFill>
                  <a:srgbClr val="FF0000"/>
                </a:solidFill>
                <a:latin typeface="Zawgyi-One" panose="020B0604030504040204" pitchFamily="34" charset="0"/>
                <a:ea typeface="+mn-ea"/>
                <a:cs typeface="Zawgyi-One" panose="020B0604030504040204" pitchFamily="34" charset="0"/>
              </a:rPr>
              <a:t> </a:t>
            </a:r>
            <a:r>
              <a:rPr lang="en-US" altLang="en-US" sz="1502" dirty="0" err="1">
                <a:solidFill>
                  <a:srgbClr val="FF0000"/>
                </a:solidFill>
                <a:latin typeface="Zawgyi-One" panose="020B0604030504040204" pitchFamily="34" charset="0"/>
                <a:ea typeface="+mn-ea"/>
                <a:cs typeface="Zawgyi-One" panose="020B0604030504040204" pitchFamily="34" charset="0"/>
              </a:rPr>
              <a:t>ညႊန္းပို႔ေပးပ</a:t>
            </a:r>
            <a:r>
              <a:rPr lang="en-US" altLang="en-US" sz="1502" dirty="0">
                <a:solidFill>
                  <a:srgbClr val="FF0000"/>
                </a:solidFill>
                <a:latin typeface="Zawgyi-One" panose="020B0604030504040204" pitchFamily="34" charset="0"/>
                <a:ea typeface="+mn-ea"/>
                <a:cs typeface="Zawgyi-One" panose="020B0604030504040204" pitchFamily="34" charset="0"/>
              </a:rPr>
              <a:t>ါ။ </a:t>
            </a:r>
            <a:br>
              <a:rPr lang="en-US" altLang="en-US" sz="1502" dirty="0">
                <a:solidFill>
                  <a:srgbClr val="FFFF00"/>
                </a:solidFill>
                <a:latin typeface="Zawgyi-One" panose="020B0604030504040204" pitchFamily="34" charset="0"/>
                <a:ea typeface="+mn-ea"/>
                <a:cs typeface="Zawgyi-One" panose="020B0604030504040204" pitchFamily="34" charset="0"/>
              </a:rPr>
            </a:br>
            <a:endParaRPr lang="en-US" altLang="en-US" sz="1502" dirty="0">
              <a:solidFill>
                <a:srgbClr val="FFFF00"/>
              </a:solidFill>
              <a:latin typeface="Zawgyi-One" panose="020B0604030504040204" pitchFamily="34" charset="0"/>
              <a:ea typeface="+mn-ea"/>
              <a:cs typeface="Zawgyi-One" panose="020B0604030504040204" pitchFamily="34" charset="0"/>
            </a:endParaRPr>
          </a:p>
        </p:txBody>
      </p:sp>
      <p:sp>
        <p:nvSpPr>
          <p:cNvPr id="83970" name="Content Placeholder 2">
            <a:extLst>
              <a:ext uri="{FF2B5EF4-FFF2-40B4-BE49-F238E27FC236}">
                <a16:creationId xmlns:a16="http://schemas.microsoft.com/office/drawing/2014/main" id="{B9295427-020B-4D11-A109-20A4E3960C9D}"/>
              </a:ext>
            </a:extLst>
          </p:cNvPr>
          <p:cNvSpPr>
            <a:spLocks noGrp="1"/>
          </p:cNvSpPr>
          <p:nvPr>
            <p:ph idx="4294967295"/>
          </p:nvPr>
        </p:nvSpPr>
        <p:spPr bwMode="auto">
          <a:xfrm>
            <a:off x="208736" y="1272581"/>
            <a:ext cx="8726530" cy="528102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pPr marL="316324" indent="-316324">
              <a:lnSpc>
                <a:spcPct val="80000"/>
              </a:lnSpc>
              <a:defRPr/>
            </a:pPr>
            <a:r>
              <a:rPr lang="en-US" altLang="en-US" sz="1271" dirty="0">
                <a:solidFill>
                  <a:srgbClr val="92D050"/>
                </a:solidFill>
              </a:rPr>
              <a:t>are living with a psychological disorder and/or were taking medication prior to the situation of distress may also need continued mental health support. </a:t>
            </a:r>
          </a:p>
          <a:p>
            <a:pPr marL="316324" indent="-316324">
              <a:lnSpc>
                <a:spcPct val="80000"/>
              </a:lnSpc>
              <a:defRPr/>
            </a:pPr>
            <a:r>
              <a:rPr lang="en-US" altLang="en-US" sz="1271" dirty="0">
                <a:solidFill>
                  <a:srgbClr val="92D050"/>
                </a:solidFill>
              </a:rPr>
              <a:t>presents chronic health conditions and need more supports. </a:t>
            </a:r>
          </a:p>
          <a:p>
            <a:pPr marL="316324" indent="-316324">
              <a:lnSpc>
                <a:spcPct val="80000"/>
              </a:lnSpc>
              <a:defRPr/>
            </a:pPr>
            <a:r>
              <a:rPr lang="en-US" altLang="en-US" sz="1271" dirty="0">
                <a:solidFill>
                  <a:srgbClr val="92D050"/>
                </a:solidFill>
              </a:rPr>
              <a:t>presents symptoms of severe mental health conditions</a:t>
            </a:r>
          </a:p>
          <a:p>
            <a:pPr marL="316324" indent="-316324">
              <a:lnSpc>
                <a:spcPct val="80000"/>
              </a:lnSpc>
              <a:defRPr/>
            </a:pPr>
            <a:r>
              <a:rPr lang="en-US" altLang="en-US" sz="1271" dirty="0">
                <a:solidFill>
                  <a:srgbClr val="92D050"/>
                </a:solidFill>
              </a:rPr>
              <a:t>is experiencing violence or is being sexually abused in any way. </a:t>
            </a:r>
          </a:p>
          <a:p>
            <a:pPr marL="316324" indent="-316324">
              <a:lnSpc>
                <a:spcPct val="80000"/>
              </a:lnSpc>
              <a:defRPr/>
            </a:pPr>
            <a:r>
              <a:rPr lang="en-US" altLang="en-US" sz="1271" dirty="0">
                <a:solidFill>
                  <a:srgbClr val="92D050"/>
                </a:solidFill>
              </a:rPr>
              <a:t>   *Where appropriate, work with supervisors!</a:t>
            </a:r>
          </a:p>
          <a:p>
            <a:endParaRPr lang="en-US" altLang="en-US" sz="1386" dirty="0">
              <a:solidFill>
                <a:srgbClr val="002060"/>
              </a:solidFill>
            </a:endParaRPr>
          </a:p>
          <a:p>
            <a:pPr>
              <a:lnSpc>
                <a:spcPct val="150000"/>
              </a:lnSpc>
              <a:defRPr/>
            </a:pPr>
            <a:r>
              <a:rPr lang="en-US" altLang="en-US" sz="1617" dirty="0"/>
              <a:t> </a:t>
            </a:r>
            <a:r>
              <a:rPr lang="en-US" altLang="en-US" sz="1502" dirty="0" err="1">
                <a:latin typeface="Zawgyi-One" panose="020B0604030504040204" pitchFamily="34" charset="0"/>
                <a:cs typeface="Zawgyi-One" panose="020B0604030504040204" pitchFamily="34" charset="0"/>
              </a:rPr>
              <a:t>စိတ္က်န္းမာေရး</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ပသနာရွိေနသူ</a:t>
            </a:r>
            <a:r>
              <a:rPr lang="en-US" altLang="en-US" sz="1502" dirty="0">
                <a:latin typeface="Zawgyi-One" panose="020B0604030504040204" pitchFamily="34" charset="0"/>
                <a:cs typeface="Zawgyi-One" panose="020B0604030504040204" pitchFamily="34" charset="0"/>
              </a:rPr>
              <a:t> ႏွင့္/</a:t>
            </a:r>
            <a:r>
              <a:rPr lang="en-US" altLang="en-US" sz="1502" dirty="0" err="1">
                <a:latin typeface="Zawgyi-One" panose="020B0604030504040204" pitchFamily="34" charset="0"/>
                <a:cs typeface="Zawgyi-One" panose="020B0604030504040204" pitchFamily="34" charset="0"/>
              </a:rPr>
              <a:t>သို</a:t>
            </a:r>
            <a:r>
              <a:rPr lang="en-US" altLang="en-US" sz="1502" dirty="0">
                <a:latin typeface="Zawgyi-One" panose="020B0604030504040204" pitchFamily="34" charset="0"/>
                <a:cs typeface="Zawgyi-One" panose="020B0604030504040204" pitchFamily="34" charset="0"/>
              </a:rPr>
              <a:t>႕ </a:t>
            </a:r>
            <a:r>
              <a:rPr lang="en-US" altLang="en-US" sz="1502" dirty="0" err="1">
                <a:latin typeface="Zawgyi-One" panose="020B0604030504040204" pitchFamily="34" charset="0"/>
                <a:cs typeface="Zawgyi-One" panose="020B0604030504040204" pitchFamily="34" charset="0"/>
              </a:rPr>
              <a:t>စိတ္က်န္းမာေရးပံ့ပိုးမူပံုမွန</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ခံယူေနရျပီး</a:t>
            </a:r>
            <a:r>
              <a:rPr lang="en-US" altLang="en-US" sz="1502" dirty="0">
                <a:latin typeface="Zawgyi-One" panose="020B0604030504040204" pitchFamily="34" charset="0"/>
                <a:cs typeface="Zawgyi-One" panose="020B0604030504040204" pitchFamily="34" charset="0"/>
              </a:rPr>
              <a:t> ေဆး၀ါးပံုမွန္ </a:t>
            </a:r>
            <a:r>
              <a:rPr lang="en-US" altLang="en-US" sz="1502" dirty="0" err="1">
                <a:latin typeface="Zawgyi-One" panose="020B0604030504040204" pitchFamily="34" charset="0"/>
                <a:cs typeface="Zawgyi-One" panose="020B0604030504040204" pitchFamily="34" charset="0"/>
              </a:rPr>
              <a:t>ေသာက္သံုးေနရ</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သူ</a:t>
            </a:r>
            <a:r>
              <a:rPr lang="en-US" altLang="en-US" sz="1502" dirty="0">
                <a:latin typeface="Zawgyi-One" panose="020B0604030504040204" pitchFamily="34" charset="0"/>
                <a:cs typeface="Zawgyi-One" panose="020B0604030504040204" pitchFamily="34" charset="0"/>
              </a:rPr>
              <a:t> ႏွင့္ </a:t>
            </a:r>
            <a:r>
              <a:rPr lang="en-US" altLang="en-US" sz="1502" dirty="0" err="1">
                <a:latin typeface="Zawgyi-One" panose="020B0604030504040204" pitchFamily="34" charset="0"/>
                <a:cs typeface="Zawgyi-One" panose="020B0604030504040204" pitchFamily="34" charset="0"/>
              </a:rPr>
              <a:t>အတူတက</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နထိုင္ေနရျခင္း</a:t>
            </a:r>
            <a:r>
              <a:rPr lang="en-US" altLang="en-US" sz="1502" dirty="0">
                <a:latin typeface="Zawgyi-One" panose="020B0604030504040204" pitchFamily="34" charset="0"/>
                <a:cs typeface="Zawgyi-One" panose="020B0604030504040204" pitchFamily="34" charset="0"/>
              </a:rPr>
              <a:t>။</a:t>
            </a:r>
          </a:p>
          <a:p>
            <a:pPr>
              <a:lnSpc>
                <a:spcPct val="150000"/>
              </a:lnSpc>
              <a:defRPr/>
            </a:pP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နာတာရွည္ေရာဂ</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တစ္မ်ိဳးမ်ိဳးခံစားေနရျပီး</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ပံ့ပိုးကူညီမႈမ်ား</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ပိုမိုလိုအပ္ေနျခင္း</a:t>
            </a:r>
            <a:r>
              <a:rPr lang="en-US" altLang="en-US" sz="1502" dirty="0">
                <a:latin typeface="Zawgyi-One" panose="020B0604030504040204" pitchFamily="34" charset="0"/>
                <a:cs typeface="Zawgyi-One" panose="020B0604030504040204" pitchFamily="34" charset="0"/>
              </a:rPr>
              <a:t>။ </a:t>
            </a:r>
          </a:p>
          <a:p>
            <a:pPr>
              <a:lnSpc>
                <a:spcPct val="150000"/>
              </a:lnSpc>
              <a:defRPr/>
            </a:pP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ပင္းထန္ေသာ</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စိတ္ပိုင္းဆိုင္ရာ</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လက</a:t>
            </a:r>
            <a:r>
              <a:rPr lang="my-MM" altLang="en-US" sz="1502" dirty="0">
                <a:latin typeface="Zawgyi-One" panose="020B0604030504040204" pitchFamily="34" charset="0"/>
                <a:cs typeface="Zawgyi-One" panose="020B0604030504040204" pitchFamily="34" charset="0"/>
              </a:rPr>
              <a:t>ၡ</a:t>
            </a:r>
            <a:r>
              <a:rPr lang="en-US" altLang="en-US" sz="1502" dirty="0" err="1">
                <a:latin typeface="Zawgyi-One" panose="020B0604030504040204" pitchFamily="34" charset="0"/>
                <a:cs typeface="Zawgyi-One" panose="020B0604030504040204" pitchFamily="34" charset="0"/>
              </a:rPr>
              <a:t>ဏာမ်ား</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ပသေနျခင္း</a:t>
            </a:r>
            <a:r>
              <a:rPr lang="en-US" altLang="en-US" sz="1502" dirty="0">
                <a:latin typeface="Zawgyi-One" panose="020B0604030504040204" pitchFamily="34" charset="0"/>
                <a:cs typeface="Zawgyi-One" panose="020B0604030504040204" pitchFamily="34" charset="0"/>
              </a:rPr>
              <a:t>။ </a:t>
            </a:r>
          </a:p>
          <a:p>
            <a:pPr>
              <a:lnSpc>
                <a:spcPct val="150000"/>
              </a:lnSpc>
              <a:defRPr/>
            </a:pP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အၾကမ္းဖက္ခံမ</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သို</a:t>
            </a:r>
            <a:r>
              <a:rPr lang="en-US" altLang="en-US" sz="1502" dirty="0">
                <a:latin typeface="Zawgyi-One" panose="020B0604030504040204" pitchFamily="34" charset="0"/>
                <a:cs typeface="Zawgyi-One" panose="020B0604030504040204" pitchFamily="34" charset="0"/>
              </a:rPr>
              <a:t>႔ </a:t>
            </a:r>
            <a:r>
              <a:rPr lang="en-US" altLang="en-US" sz="1502" dirty="0" err="1">
                <a:latin typeface="Zawgyi-One" panose="020B0604030504040204" pitchFamily="34" charset="0"/>
                <a:cs typeface="Zawgyi-One" panose="020B0604030504040204" pitchFamily="34" charset="0"/>
              </a:rPr>
              <a:t>လိင္ပိုင္းဆိုင္ရာ</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မေတာ္မတရားျပဳက်င</a:t>
            </a:r>
            <a:r>
              <a:rPr lang="en-US" altLang="en-US" sz="1502" dirty="0">
                <a:latin typeface="Zawgyi-One" panose="020B0604030504040204" pitchFamily="34" charset="0"/>
                <a:cs typeface="Zawgyi-One" panose="020B0604030504040204" pitchFamily="34" charset="0"/>
              </a:rPr>
              <a:t>့္</a:t>
            </a:r>
            <a:r>
              <a:rPr lang="en-US" altLang="en-US" sz="1502" dirty="0" err="1">
                <a:latin typeface="Zawgyi-One" panose="020B0604030504040204" pitchFamily="34" charset="0"/>
                <a:cs typeface="Zawgyi-One" panose="020B0604030504040204" pitchFamily="34" charset="0"/>
              </a:rPr>
              <a:t>ခံရျခင္း</a:t>
            </a:r>
            <a:r>
              <a:rPr lang="en-US" altLang="en-US" sz="1502" dirty="0">
                <a:latin typeface="Zawgyi-One" panose="020B0604030504040204" pitchFamily="34" charset="0"/>
                <a:cs typeface="Zawgyi-One" panose="020B0604030504040204" pitchFamily="34" charset="0"/>
              </a:rPr>
              <a:t>။ </a:t>
            </a:r>
          </a:p>
          <a:p>
            <a:pPr>
              <a:lnSpc>
                <a:spcPct val="150000"/>
              </a:lnSpc>
              <a:defRPr/>
            </a:pP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သင</a:t>
            </a:r>
            <a:r>
              <a:rPr lang="en-US" altLang="en-US" sz="1502" dirty="0">
                <a:latin typeface="Zawgyi-One" panose="020B0604030504040204" pitchFamily="34" charset="0"/>
                <a:cs typeface="Zawgyi-One" panose="020B0604030504040204" pitchFamily="34" charset="0"/>
              </a:rPr>
              <a:t>့္</a:t>
            </a:r>
            <a:r>
              <a:rPr lang="en-US" altLang="en-US" sz="1502" dirty="0" err="1">
                <a:latin typeface="Zawgyi-One" panose="020B0604030504040204" pitchFamily="34" charset="0"/>
                <a:cs typeface="Zawgyi-One" panose="020B0604030504040204" pitchFamily="34" charset="0"/>
              </a:rPr>
              <a:t>ေတာ္မႈရွိပါက</a:t>
            </a:r>
            <a:r>
              <a:rPr lang="en-US" altLang="en-US" sz="1502" dirty="0">
                <a:latin typeface="Zawgyi-One" panose="020B0604030504040204" pitchFamily="34" charset="0"/>
                <a:cs typeface="Zawgyi-One" panose="020B0604030504040204" pitchFamily="34" charset="0"/>
              </a:rPr>
              <a:t> ႀ</a:t>
            </a:r>
            <a:r>
              <a:rPr lang="en-US" altLang="en-US" sz="1502" dirty="0" err="1">
                <a:latin typeface="Zawgyi-One" panose="020B0604030504040204" pitchFamily="34" charset="0"/>
                <a:cs typeface="Zawgyi-One" panose="020B0604030504040204" pitchFamily="34" charset="0"/>
              </a:rPr>
              <a:t>ကီးၾကပ္ပံ့ပိုးသူ</a:t>
            </a:r>
            <a:r>
              <a:rPr lang="en-US" altLang="en-US" sz="1502" dirty="0">
                <a:latin typeface="Zawgyi-One" panose="020B0604030504040204" pitchFamily="34" charset="0"/>
                <a:cs typeface="Zawgyi-One" panose="020B0604030504040204" pitchFamily="34" charset="0"/>
              </a:rPr>
              <a:t>ႏွင့္ </a:t>
            </a:r>
            <a:r>
              <a:rPr lang="en-US" altLang="en-US" sz="1502" dirty="0" err="1">
                <a:latin typeface="Zawgyi-One" panose="020B0604030504040204" pitchFamily="34" charset="0"/>
                <a:cs typeface="Zawgyi-One" panose="020B0604030504040204" pitchFamily="34" charset="0"/>
              </a:rPr>
              <a:t>အတူ</a:t>
            </a:r>
            <a:r>
              <a:rPr lang="en-US" altLang="en-US" sz="1502" dirty="0">
                <a:latin typeface="Zawgyi-One" panose="020B0604030504040204" pitchFamily="34" charset="0"/>
                <a:cs typeface="Zawgyi-One" panose="020B0604030504040204" pitchFamily="34" charset="0"/>
              </a:rPr>
              <a:t> </a:t>
            </a:r>
            <a:r>
              <a:rPr lang="en-US" altLang="en-US" sz="1502" dirty="0" err="1">
                <a:latin typeface="Zawgyi-One" panose="020B0604030504040204" pitchFamily="34" charset="0"/>
                <a:cs typeface="Zawgyi-One" panose="020B0604030504040204" pitchFamily="34" charset="0"/>
              </a:rPr>
              <a:t>ေဆာင္ရြက္ပ</a:t>
            </a:r>
            <a:r>
              <a:rPr lang="en-US" altLang="en-US" sz="1502" dirty="0">
                <a:latin typeface="Zawgyi-One" panose="020B0604030504040204" pitchFamily="34" charset="0"/>
                <a:cs typeface="Zawgyi-One" panose="020B0604030504040204" pitchFamily="34" charset="0"/>
              </a:rPr>
              <a:t>ါ။ </a:t>
            </a:r>
          </a:p>
        </p:txBody>
      </p:sp>
    </p:spTree>
    <p:extLst>
      <p:ext uri="{BB962C8B-B14F-4D97-AF65-F5344CB8AC3E}">
        <p14:creationId xmlns:p14="http://schemas.microsoft.com/office/powerpoint/2010/main" val="366182466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Title 1">
            <a:extLst>
              <a:ext uri="{FF2B5EF4-FFF2-40B4-BE49-F238E27FC236}">
                <a16:creationId xmlns:a16="http://schemas.microsoft.com/office/drawing/2014/main" id="{F5483801-5088-4440-A16E-FB5888F11C58}"/>
              </a:ext>
            </a:extLst>
          </p:cNvPr>
          <p:cNvSpPr>
            <a:spLocks noGrp="1"/>
          </p:cNvSpPr>
          <p:nvPr>
            <p:ph type="title"/>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fontScale="90000"/>
          </a:bodyPr>
          <a:lstStyle/>
          <a:p>
            <a:pPr>
              <a:defRPr/>
            </a:pPr>
            <a:r>
              <a:rPr lang="en-US" altLang="en-US" sz="2491" dirty="0"/>
              <a:t>Ending Conversations </a:t>
            </a:r>
            <a:br>
              <a:rPr lang="en-US" altLang="en-US" sz="2491" dirty="0"/>
            </a:br>
            <a:r>
              <a:rPr lang="en-US" sz="1848"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ပာဆိုေဆြးေ</a:t>
            </a:r>
            <a:r>
              <a:rPr lang="en-US" sz="1848"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sz="1848"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မႈကို</a:t>
            </a:r>
            <a:r>
              <a:rPr lang="en-US" sz="1848"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 </a:t>
            </a:r>
            <a:r>
              <a:rPr lang="en-US" sz="1848"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အဆံုးသပ</a:t>
            </a:r>
            <a:r>
              <a:rPr lang="en-US" sz="1848"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a:t>
            </a:r>
            <a:r>
              <a:rPr lang="en-US" sz="1848" dirty="0" err="1">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t>ခင္း</a:t>
            </a:r>
            <a:br>
              <a:rPr lang="en-US" dirty="0">
                <a:ln w="0"/>
                <a:effectLst>
                  <a:outerShdw blurRad="38100" dist="25400" dir="5400000" algn="ctr" rotWithShape="0">
                    <a:srgbClr val="6E747A">
                      <a:alpha val="43000"/>
                    </a:srgbClr>
                  </a:outerShdw>
                </a:effectLst>
                <a:latin typeface="Zawgyi-One" panose="020B0604030504040204" pitchFamily="34" charset="0"/>
                <a:cs typeface="Zawgyi-One" panose="020B0604030504040204" pitchFamily="34" charset="0"/>
              </a:rPr>
            </a:br>
            <a:endParaRPr lang="en-US" altLang="en-US" sz="2491" dirty="0"/>
          </a:p>
        </p:txBody>
      </p:sp>
      <p:sp>
        <p:nvSpPr>
          <p:cNvPr id="86019" name="Content Placeholder 2">
            <a:extLst>
              <a:ext uri="{FF2B5EF4-FFF2-40B4-BE49-F238E27FC236}">
                <a16:creationId xmlns:a16="http://schemas.microsoft.com/office/drawing/2014/main" id="{31E8224D-25F0-40B1-BA00-CF30185DAFA6}"/>
              </a:ext>
            </a:extLst>
          </p:cNvPr>
          <p:cNvSpPr>
            <a:spLocks noGrp="1"/>
          </p:cNvSpPr>
          <p:nvPr>
            <p:ph idx="4294967295"/>
          </p:nvPr>
        </p:nvSpPr>
        <p:spPr bwMode="auto">
          <a:xfrm>
            <a:off x="-68153" y="1179063"/>
            <a:ext cx="9209708" cy="442836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361" tIns="42181" rIns="84361" bIns="42181" numCol="1" rtlCol="0" anchor="t" anchorCtr="0" compatLnSpc="1">
            <a:prstTxWarp prst="textNoShape">
              <a:avLst/>
            </a:prstTxWarp>
            <a:normAutofit/>
          </a:bodyPr>
          <a:lstStyle/>
          <a:p>
            <a:r>
              <a:rPr lang="en-US" altLang="en-US" sz="1617" dirty="0">
                <a:solidFill>
                  <a:srgbClr val="002060"/>
                </a:solidFill>
              </a:rPr>
              <a:t>Summarize the conversation by highlighting key issues discussed and action points. </a:t>
            </a:r>
            <a:r>
              <a:rPr lang="en-US" altLang="en-US" sz="1617" i="1" dirty="0">
                <a:solidFill>
                  <a:srgbClr val="002060"/>
                </a:solidFill>
              </a:rPr>
              <a:t>“</a:t>
            </a:r>
            <a:r>
              <a:rPr lang="en-US" altLang="en-US" sz="1617" i="1" dirty="0">
                <a:solidFill>
                  <a:srgbClr val="FF0000"/>
                </a:solidFill>
              </a:rPr>
              <a:t>We talked about how you can stay in touch with your loved ones even though living alone and having food delivered.” </a:t>
            </a:r>
            <a:r>
              <a:rPr lang="en-US" altLang="en-US" sz="1617" i="1" dirty="0">
                <a:solidFill>
                  <a:srgbClr val="002060"/>
                </a:solidFill>
              </a:rPr>
              <a:t>“I will say goodbye and wish you a pleasant day.”  </a:t>
            </a:r>
          </a:p>
          <a:p>
            <a:r>
              <a:rPr lang="en-US" altLang="en-US" sz="1617" dirty="0">
                <a:solidFill>
                  <a:srgbClr val="002060"/>
                </a:solidFill>
              </a:rPr>
              <a:t> </a:t>
            </a:r>
            <a:r>
              <a:rPr lang="en-US" altLang="en-US" sz="1617" dirty="0">
                <a:solidFill>
                  <a:srgbClr val="FF0000"/>
                </a:solidFill>
              </a:rPr>
              <a:t>Agree if a follow up conversation </a:t>
            </a:r>
            <a:r>
              <a:rPr lang="en-US" altLang="en-US" sz="1617" dirty="0">
                <a:solidFill>
                  <a:srgbClr val="002060"/>
                </a:solidFill>
              </a:rPr>
              <a:t>is needed, and if so, find a suitable time.  </a:t>
            </a:r>
            <a:r>
              <a:rPr lang="en-US" altLang="en-US" sz="1617" i="1" dirty="0">
                <a:solidFill>
                  <a:srgbClr val="002060"/>
                </a:solidFill>
              </a:rPr>
              <a:t>“If you would like to talk another time, let’s do so. When would you be available?” </a:t>
            </a:r>
          </a:p>
          <a:p>
            <a:r>
              <a:rPr lang="en-US" altLang="en-US" sz="1617" dirty="0">
                <a:solidFill>
                  <a:srgbClr val="002060"/>
                </a:solidFill>
              </a:rPr>
              <a:t> End the call by </a:t>
            </a:r>
            <a:r>
              <a:rPr lang="en-US" altLang="en-US" sz="1617" dirty="0">
                <a:solidFill>
                  <a:srgbClr val="FF0000"/>
                </a:solidFill>
              </a:rPr>
              <a:t>thanking </a:t>
            </a:r>
            <a:r>
              <a:rPr lang="en-US" altLang="en-US" sz="1617" dirty="0">
                <a:solidFill>
                  <a:srgbClr val="002060"/>
                </a:solidFill>
              </a:rPr>
              <a:t>for the conversation.  </a:t>
            </a:r>
          </a:p>
        </p:txBody>
      </p:sp>
      <p:sp>
        <p:nvSpPr>
          <p:cNvPr id="86020" name="Rectangle 2">
            <a:extLst>
              <a:ext uri="{FF2B5EF4-FFF2-40B4-BE49-F238E27FC236}">
                <a16:creationId xmlns:a16="http://schemas.microsoft.com/office/drawing/2014/main" id="{227631A7-9CB7-4244-BC06-2DCE005A6458}"/>
              </a:ext>
            </a:extLst>
          </p:cNvPr>
          <p:cNvSpPr>
            <a:spLocks noChangeArrowheads="1"/>
          </p:cNvSpPr>
          <p:nvPr/>
        </p:nvSpPr>
        <p:spPr bwMode="auto">
          <a:xfrm>
            <a:off x="29034" y="3164948"/>
            <a:ext cx="9014419" cy="2674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a:lnSpc>
                <a:spcPct val="150000"/>
              </a:lnSpc>
              <a:buFont typeface="Arial" panose="020B0604020202020204" pitchFamily="34" charset="0"/>
              <a:buChar char="•"/>
            </a:pPr>
            <a:r>
              <a:rPr lang="en-US" altLang="en-US" sz="1617" b="1" dirty="0" err="1">
                <a:solidFill>
                  <a:srgbClr val="0070C0"/>
                </a:solidFill>
                <a:latin typeface="Zawgyi-One" pitchFamily="34" charset="0"/>
                <a:ea typeface="Times New Roman" panose="02020603050405020304" pitchFamily="18" charset="0"/>
                <a:cs typeface="Zawgyi-One" pitchFamily="34" charset="0"/>
              </a:rPr>
              <a:t>အဓိကေဆြးေ</a:t>
            </a:r>
            <a:r>
              <a:rPr lang="en-US" altLang="en-US" sz="1617" b="1" dirty="0">
                <a:solidFill>
                  <a:srgbClr val="0070C0"/>
                </a:solidFill>
                <a:latin typeface="Zawgyi-One" pitchFamily="34" charset="0"/>
                <a:ea typeface="Times New Roman" panose="02020603050405020304" pitchFamily="18" charset="0"/>
                <a:cs typeface="Zawgyi-One" pitchFamily="34" charset="0"/>
              </a:rPr>
              <a:t>ႏြ</a:t>
            </a:r>
            <a:r>
              <a:rPr lang="en-US" altLang="en-US" sz="1617" b="1" dirty="0" err="1">
                <a:solidFill>
                  <a:srgbClr val="0070C0"/>
                </a:solidFill>
                <a:latin typeface="Zawgyi-One" pitchFamily="34" charset="0"/>
                <a:ea typeface="Times New Roman" panose="02020603050405020304" pitchFamily="18" charset="0"/>
                <a:cs typeface="Zawgyi-One" pitchFamily="34" charset="0"/>
              </a:rPr>
              <a:t>းခဲ့သည</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အေၾကာင္းအရာမ်ား</a:t>
            </a:r>
            <a:r>
              <a:rPr lang="en-US" altLang="en-US" sz="1617" b="1" dirty="0">
                <a:solidFill>
                  <a:srgbClr val="0070C0"/>
                </a:solidFill>
                <a:latin typeface="Zawgyi-One" pitchFamily="34" charset="0"/>
                <a:ea typeface="Times New Roman" panose="02020603050405020304" pitchFamily="18" charset="0"/>
                <a:cs typeface="Zawgyi-One" pitchFamily="34" charset="0"/>
              </a:rPr>
              <a:t>ႏွင့္ </a:t>
            </a:r>
            <a:r>
              <a:rPr lang="en-US" altLang="en-US" sz="1617" b="1" dirty="0" err="1">
                <a:solidFill>
                  <a:srgbClr val="0070C0"/>
                </a:solidFill>
                <a:latin typeface="Zawgyi-One" pitchFamily="34" charset="0"/>
                <a:ea typeface="Times New Roman" panose="02020603050405020304" pitchFamily="18" charset="0"/>
                <a:cs typeface="Zawgyi-One" pitchFamily="34" charset="0"/>
              </a:rPr>
              <a:t>ေရ</a:t>
            </a:r>
            <a:r>
              <a:rPr lang="en-US" altLang="en-US" sz="1617" b="1" dirty="0">
                <a:solidFill>
                  <a:srgbClr val="0070C0"/>
                </a:solidFill>
                <a:latin typeface="Zawgyi-One" pitchFamily="34" charset="0"/>
                <a:ea typeface="Times New Roman" panose="02020603050405020304" pitchFamily="18" charset="0"/>
                <a:cs typeface="Zawgyi-One" pitchFamily="34" charset="0"/>
              </a:rPr>
              <a:t>ွ႕</a:t>
            </a:r>
            <a:r>
              <a:rPr lang="en-US" altLang="en-US" sz="1617" b="1" dirty="0" err="1">
                <a:solidFill>
                  <a:srgbClr val="0070C0"/>
                </a:solidFill>
                <a:latin typeface="Zawgyi-One" pitchFamily="34" charset="0"/>
                <a:ea typeface="Times New Roman" panose="02020603050405020304" pitchFamily="18" charset="0"/>
                <a:cs typeface="Zawgyi-One" pitchFamily="34" charset="0"/>
              </a:rPr>
              <a:t>ဆက္လုပ္ေဆာင္မည</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အခ်က္မ်ားကို</a:t>
            </a:r>
            <a:r>
              <a:rPr lang="en-US" altLang="en-US" sz="1617" b="1" dirty="0">
                <a:solidFill>
                  <a:srgbClr val="0070C0"/>
                </a:solidFill>
                <a:latin typeface="Zawgyi-One" pitchFamily="34" charset="0"/>
                <a:ea typeface="Times New Roman" panose="02020603050405020304" pitchFamily="18" charset="0"/>
                <a:cs typeface="Zawgyi-One" pitchFamily="34" charset="0"/>
              </a:rPr>
              <a:t> အႏွ</a:t>
            </a:r>
            <a:r>
              <a:rPr lang="en-US" altLang="en-US" sz="1617" b="1" dirty="0" err="1">
                <a:solidFill>
                  <a:srgbClr val="0070C0"/>
                </a:solidFill>
                <a:latin typeface="Zawgyi-One" pitchFamily="34" charset="0"/>
                <a:ea typeface="Times New Roman" panose="02020603050405020304" pitchFamily="18" charset="0"/>
                <a:cs typeface="Zawgyi-One" pitchFamily="34" charset="0"/>
              </a:rPr>
              <a:t>စ္ခ</a:t>
            </a:r>
            <a:r>
              <a:rPr lang="en-US" altLang="en-US" sz="1617" b="1" dirty="0">
                <a:solidFill>
                  <a:srgbClr val="0070C0"/>
                </a:solidFill>
                <a:latin typeface="Zawgyi-One" pitchFamily="34" charset="0"/>
                <a:ea typeface="Times New Roman" panose="02020603050405020304" pitchFamily="18" charset="0"/>
                <a:cs typeface="Zawgyi-One" pitchFamily="34" charset="0"/>
              </a:rPr>
              <a:t>်ဳ</a:t>
            </a:r>
            <a:r>
              <a:rPr lang="en-US" altLang="en-US" sz="1617" b="1" dirty="0" err="1">
                <a:solidFill>
                  <a:srgbClr val="0070C0"/>
                </a:solidFill>
                <a:latin typeface="Zawgyi-One" pitchFamily="34" charset="0"/>
                <a:ea typeface="Times New Roman" panose="02020603050405020304" pitchFamily="18" charset="0"/>
                <a:cs typeface="Zawgyi-One" pitchFamily="34" charset="0"/>
              </a:rPr>
              <a:t>ပ္ပ</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တကယ္လို</a:t>
            </a:r>
            <a:r>
              <a:rPr lang="en-US" altLang="en-US" sz="1617" b="1" dirty="0">
                <a:solidFill>
                  <a:srgbClr val="FF0000"/>
                </a:solidFill>
                <a:latin typeface="Zawgyi-One" pitchFamily="34" charset="0"/>
                <a:ea typeface="Times New Roman" panose="02020603050405020304" pitchFamily="18" charset="0"/>
                <a:cs typeface="Zawgyi-One" pitchFamily="34" charset="0"/>
              </a:rPr>
              <a:t>႔ </a:t>
            </a:r>
            <a:r>
              <a:rPr lang="en-US" altLang="en-US" sz="1617" b="1" dirty="0" err="1">
                <a:solidFill>
                  <a:srgbClr val="FF0000"/>
                </a:solidFill>
                <a:latin typeface="Zawgyi-One" pitchFamily="34" charset="0"/>
                <a:ea typeface="Times New Roman" panose="02020603050405020304" pitchFamily="18" charset="0"/>
                <a:cs typeface="Zawgyi-One" pitchFamily="34" charset="0"/>
              </a:rPr>
              <a:t>တစ္ေယာက္တည္းေနရျပီး</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တစ</a:t>
            </a:r>
            <a:r>
              <a:rPr lang="en-US" altLang="en-US" sz="1617" b="1" dirty="0">
                <a:solidFill>
                  <a:srgbClr val="FF0000"/>
                </a:solidFill>
                <a:latin typeface="Zawgyi-One" pitchFamily="34" charset="0"/>
                <a:ea typeface="Times New Roman" panose="02020603050405020304" pitchFamily="18" charset="0"/>
                <a:cs typeface="Zawgyi-One" pitchFamily="34" charset="0"/>
              </a:rPr>
              <a:t>္ျ</a:t>
            </a:r>
            <a:r>
              <a:rPr lang="en-US" altLang="en-US" sz="1617" b="1" dirty="0" err="1">
                <a:solidFill>
                  <a:srgbClr val="FF0000"/>
                </a:solidFill>
                <a:latin typeface="Zawgyi-One" pitchFamily="34" charset="0"/>
                <a:ea typeface="Times New Roman" panose="02020603050405020304" pitchFamily="18" charset="0"/>
                <a:cs typeface="Zawgyi-One" pitchFamily="34" charset="0"/>
              </a:rPr>
              <a:t>ခားသူပို႔လာတဲ</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အစားအေသာက္ေတြကို</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စားေနရတယ္ဆိုရင္ေတာင္မ</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မင္းခ်စ္တဲ့သူေတြနဲ</a:t>
            </a:r>
            <a:r>
              <a:rPr lang="en-US" altLang="en-US" sz="1617" b="1" dirty="0">
                <a:solidFill>
                  <a:srgbClr val="FF0000"/>
                </a:solidFill>
                <a:latin typeface="Zawgyi-One" pitchFamily="34" charset="0"/>
                <a:ea typeface="Times New Roman" panose="02020603050405020304" pitchFamily="18" charset="0"/>
                <a:cs typeface="Zawgyi-One" pitchFamily="34" charset="0"/>
              </a:rPr>
              <a:t>႔ </a:t>
            </a:r>
            <a:r>
              <a:rPr lang="en-US" altLang="en-US" sz="1617" b="1" dirty="0" err="1">
                <a:solidFill>
                  <a:srgbClr val="FF0000"/>
                </a:solidFill>
                <a:latin typeface="Zawgyi-One" pitchFamily="34" charset="0"/>
                <a:ea typeface="Times New Roman" panose="02020603050405020304" pitchFamily="18" charset="0"/>
                <a:cs typeface="Zawgyi-One" pitchFamily="34" charset="0"/>
              </a:rPr>
              <a:t>ပံုမွန္အဆက္အသြယ္လုပ္ပ</a:t>
            </a:r>
            <a:r>
              <a:rPr lang="en-US" altLang="en-US" sz="1617" b="1" dirty="0">
                <a:solidFill>
                  <a:srgbClr val="FF0000"/>
                </a:solidFill>
                <a:latin typeface="Zawgyi-One" pitchFamily="34" charset="0"/>
                <a:ea typeface="Times New Roman" panose="02020603050405020304" pitchFamily="18" charset="0"/>
                <a:cs typeface="Zawgyi-One" pitchFamily="34" charset="0"/>
              </a:rPr>
              <a:t>ါ</a:t>
            </a:r>
            <a:r>
              <a:rPr lang="en-US" altLang="en-US" sz="1617"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မင္းအတြက</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ကာင္းတဲ</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န</a:t>
            </a:r>
            <a:r>
              <a:rPr lang="en-US" altLang="en-US" sz="1617" b="1" dirty="0">
                <a:solidFill>
                  <a:srgbClr val="0070C0"/>
                </a:solidFill>
                <a:latin typeface="Zawgyi-One" pitchFamily="34" charset="0"/>
                <a:ea typeface="Times New Roman" panose="02020603050405020304" pitchFamily="18" charset="0"/>
                <a:cs typeface="Zawgyi-One" pitchFamily="34" charset="0"/>
              </a:rPr>
              <a:t>႔ျ</a:t>
            </a:r>
            <a:r>
              <a:rPr lang="en-US" altLang="en-US" sz="1617" b="1" dirty="0" err="1">
                <a:solidFill>
                  <a:srgbClr val="0070C0"/>
                </a:solidFill>
                <a:latin typeface="Zawgyi-One" pitchFamily="34" charset="0"/>
                <a:ea typeface="Times New Roman" panose="02020603050405020304" pitchFamily="18" charset="0"/>
                <a:cs typeface="Zawgyi-One" pitchFamily="34" charset="0"/>
              </a:rPr>
              <a:t>ဖစ္ဖို</a:t>
            </a:r>
            <a:r>
              <a:rPr lang="en-US" altLang="en-US" sz="1617" b="1" dirty="0">
                <a:solidFill>
                  <a:srgbClr val="0070C0"/>
                </a:solidFill>
                <a:latin typeface="Zawgyi-One" pitchFamily="34" charset="0"/>
                <a:ea typeface="Times New Roman" panose="02020603050405020304" pitchFamily="18" charset="0"/>
                <a:cs typeface="Zawgyi-One" pitchFamily="34" charset="0"/>
              </a:rPr>
              <a:t>႔ </a:t>
            </a:r>
            <a:r>
              <a:rPr lang="en-US" altLang="en-US" sz="1617" b="1" dirty="0" err="1">
                <a:solidFill>
                  <a:srgbClr val="0070C0"/>
                </a:solidFill>
                <a:latin typeface="Zawgyi-One" pitchFamily="34" charset="0"/>
                <a:ea typeface="Times New Roman" panose="02020603050405020304" pitchFamily="18" charset="0"/>
                <a:cs typeface="Zawgyi-One" pitchFamily="34" charset="0"/>
              </a:rPr>
              <a:t>ဆုေတာင္းေပးျပီး</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တ္ဆက္ပါတယ</a:t>
            </a:r>
            <a:r>
              <a:rPr lang="en-US" altLang="en-US" sz="1617" b="1" dirty="0">
                <a:solidFill>
                  <a:srgbClr val="0070C0"/>
                </a:solidFill>
                <a:latin typeface="Zawgyi-One" pitchFamily="34" charset="0"/>
                <a:ea typeface="Times New Roman" panose="02020603050405020304" pitchFamily="18" charset="0"/>
                <a:cs typeface="Zawgyi-One" pitchFamily="34" charset="0"/>
              </a:rPr>
              <a:t>္။ </a:t>
            </a:r>
          </a:p>
          <a:p>
            <a:pPr>
              <a:lnSpc>
                <a:spcPct val="150000"/>
              </a:lnSpc>
              <a:buFont typeface="Arial" panose="020B0604020202020204" pitchFamily="34" charset="0"/>
              <a:buChar char="•"/>
            </a:pPr>
            <a:r>
              <a:rPr lang="en-US" altLang="en-US" sz="1617"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လိုအပ္ပါကေနာက္ထပ္ေဆြးေ</a:t>
            </a:r>
            <a:r>
              <a:rPr lang="en-US" altLang="en-US" sz="1617" b="1" dirty="0">
                <a:solidFill>
                  <a:srgbClr val="FF0000"/>
                </a:solidFill>
                <a:latin typeface="Zawgyi-One" pitchFamily="34" charset="0"/>
                <a:ea typeface="Times New Roman" panose="02020603050405020304" pitchFamily="18" charset="0"/>
                <a:cs typeface="Zawgyi-One" pitchFamily="34" charset="0"/>
              </a:rPr>
              <a:t>ႏြ</a:t>
            </a:r>
            <a:r>
              <a:rPr lang="en-US" altLang="en-US" sz="1617" b="1" dirty="0" err="1">
                <a:solidFill>
                  <a:srgbClr val="FF0000"/>
                </a:solidFill>
                <a:latin typeface="Zawgyi-One" pitchFamily="34" charset="0"/>
                <a:ea typeface="Times New Roman" panose="02020603050405020304" pitchFamily="18" charset="0"/>
                <a:cs typeface="Zawgyi-One" pitchFamily="34" charset="0"/>
              </a:rPr>
              <a:t>းဖို</a:t>
            </a:r>
            <a:r>
              <a:rPr lang="en-US" altLang="en-US" sz="1617" b="1" dirty="0">
                <a:solidFill>
                  <a:srgbClr val="FF0000"/>
                </a:solidFill>
                <a:latin typeface="Zawgyi-One" pitchFamily="34" charset="0"/>
                <a:ea typeface="Times New Roman" panose="02020603050405020304" pitchFamily="18" charset="0"/>
                <a:cs typeface="Zawgyi-One" pitchFamily="34" charset="0"/>
              </a:rPr>
              <a:t>႔ </a:t>
            </a:r>
            <a:r>
              <a:rPr lang="en-US" altLang="en-US" sz="1617" b="1" dirty="0" err="1">
                <a:solidFill>
                  <a:srgbClr val="FF0000"/>
                </a:solidFill>
                <a:latin typeface="Zawgyi-One" pitchFamily="34" charset="0"/>
                <a:ea typeface="Times New Roman" panose="02020603050405020304" pitchFamily="18" charset="0"/>
                <a:cs typeface="Zawgyi-One" pitchFamily="34" charset="0"/>
              </a:rPr>
              <a:t>အတြက</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သင</a:t>
            </a:r>
            <a:r>
              <a:rPr lang="en-US" altLang="en-US" sz="1617" b="1" dirty="0">
                <a:solidFill>
                  <a:srgbClr val="FF0000"/>
                </a:solidFill>
                <a:latin typeface="Zawgyi-One" pitchFamily="34" charset="0"/>
                <a:ea typeface="Times New Roman" panose="02020603050405020304" pitchFamily="18" charset="0"/>
                <a:cs typeface="Zawgyi-One" pitchFamily="34" charset="0"/>
              </a:rPr>
              <a:t>့္</a:t>
            </a:r>
            <a:r>
              <a:rPr lang="en-US" altLang="en-US" sz="1617" b="1" dirty="0" err="1">
                <a:solidFill>
                  <a:srgbClr val="FF0000"/>
                </a:solidFill>
                <a:latin typeface="Zawgyi-One" pitchFamily="34" charset="0"/>
                <a:ea typeface="Times New Roman" panose="02020603050405020304" pitchFamily="18" charset="0"/>
                <a:cs typeface="Zawgyi-One" pitchFamily="34" charset="0"/>
              </a:rPr>
              <a:t>ေတာ္တဲ</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အခ်ိန္ကိုရွာျပီး</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သေဘာတူညီမႈယူပ</a:t>
            </a:r>
            <a:r>
              <a:rPr lang="en-US" altLang="en-US" sz="1617" b="1" dirty="0">
                <a:solidFill>
                  <a:srgbClr val="FF0000"/>
                </a:solidFill>
                <a:latin typeface="Zawgyi-One" pitchFamily="34" charset="0"/>
                <a:ea typeface="Times New Roman" panose="02020603050405020304" pitchFamily="18" charset="0"/>
                <a:cs typeface="Zawgyi-One" pitchFamily="34" charset="0"/>
              </a:rPr>
              <a:t>ါ။</a:t>
            </a:r>
            <a:r>
              <a:rPr lang="en-US" altLang="en-US" sz="1617"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မင္းစကားေျပာခ်င္တယ္ဆိုရင</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အခ်ိန္မေရြး</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ဖုန္းဆက္လုိ႔ရပါတယ</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ဘယ္ေတာ့ေလာက</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မင္းအားမလဲ</a:t>
            </a:r>
            <a:r>
              <a:rPr lang="en-US" altLang="en-US" sz="1617" b="1" dirty="0">
                <a:solidFill>
                  <a:srgbClr val="0070C0"/>
                </a:solidFill>
                <a:latin typeface="Zawgyi-One" pitchFamily="34" charset="0"/>
                <a:ea typeface="Times New Roman" panose="02020603050405020304" pitchFamily="18" charset="0"/>
                <a:cs typeface="Zawgyi-One" pitchFamily="34" charset="0"/>
              </a:rPr>
              <a:t>။ </a:t>
            </a:r>
          </a:p>
          <a:p>
            <a:pPr>
              <a:lnSpc>
                <a:spcPct val="150000"/>
              </a:lnSpc>
              <a:buFont typeface="Arial" panose="020B0604020202020204" pitchFamily="34" charset="0"/>
              <a:buChar char="•"/>
            </a:pPr>
            <a:r>
              <a:rPr lang="en-US" altLang="en-US" sz="1617"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FF0000"/>
                </a:solidFill>
                <a:latin typeface="Zawgyi-One" pitchFamily="34" charset="0"/>
                <a:ea typeface="Times New Roman" panose="02020603050405020304" pitchFamily="18" charset="0"/>
                <a:cs typeface="Zawgyi-One" pitchFamily="34" charset="0"/>
              </a:rPr>
              <a:t>စကားေျပာဆုိ</a:t>
            </a:r>
            <a:r>
              <a:rPr lang="en-US" altLang="en-US" sz="1617" b="1" dirty="0">
                <a:solidFill>
                  <a:srgbClr val="FF0000"/>
                </a:solidFill>
                <a:latin typeface="Zawgyi-One" pitchFamily="34" charset="0"/>
                <a:ea typeface="Times New Roman" panose="02020603050405020304" pitchFamily="18" charset="0"/>
                <a:cs typeface="Zawgyi-One" pitchFamily="34" charset="0"/>
              </a:rPr>
              <a:t>ႏႈ</a:t>
            </a:r>
            <a:r>
              <a:rPr lang="en-US" altLang="en-US" sz="1617" b="1" dirty="0" err="1">
                <a:solidFill>
                  <a:srgbClr val="FF0000"/>
                </a:solidFill>
                <a:latin typeface="Zawgyi-One" pitchFamily="34" charset="0"/>
                <a:ea typeface="Times New Roman" panose="02020603050405020304" pitchFamily="18" charset="0"/>
                <a:cs typeface="Zawgyi-One" pitchFamily="34" charset="0"/>
              </a:rPr>
              <a:t>တ္ဆက</a:t>
            </a:r>
            <a:r>
              <a:rPr lang="en-US" altLang="en-US" sz="1617" b="1" dirty="0">
                <a:solidFill>
                  <a:srgbClr val="FF0000"/>
                </a:solidFill>
                <a:latin typeface="Zawgyi-One" pitchFamily="34" charset="0"/>
                <a:ea typeface="Times New Roman" panose="02020603050405020304" pitchFamily="18" charset="0"/>
                <a:cs typeface="Zawgyi-One" pitchFamily="34" charset="0"/>
              </a:rPr>
              <a:t>္ျ</a:t>
            </a:r>
            <a:r>
              <a:rPr lang="en-US" altLang="en-US" sz="1617" b="1" dirty="0" err="1">
                <a:solidFill>
                  <a:srgbClr val="FF0000"/>
                </a:solidFill>
                <a:latin typeface="Zawgyi-One" pitchFamily="34" charset="0"/>
                <a:ea typeface="Times New Roman" panose="02020603050405020304" pitchFamily="18" charset="0"/>
                <a:cs typeface="Zawgyi-One" pitchFamily="34" charset="0"/>
              </a:rPr>
              <a:t>ပီး</a:t>
            </a:r>
            <a:r>
              <a:rPr lang="en-US" altLang="en-US" sz="1617" b="1" dirty="0">
                <a:solidFill>
                  <a:srgbClr val="FF000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ဖုန္းေခ</a:t>
            </a:r>
            <a:r>
              <a:rPr lang="en-US" altLang="en-US" sz="1617" b="1" dirty="0">
                <a:solidFill>
                  <a:srgbClr val="0070C0"/>
                </a:solidFill>
                <a:latin typeface="Zawgyi-One" pitchFamily="34" charset="0"/>
                <a:ea typeface="Times New Roman" panose="02020603050405020304" pitchFamily="18" charset="0"/>
                <a:cs typeface="Zawgyi-One" pitchFamily="34" charset="0"/>
              </a:rPr>
              <a:t>ၚ </a:t>
            </a:r>
            <a:r>
              <a:rPr lang="en-US" altLang="en-US" sz="1617" b="1" dirty="0" err="1">
                <a:solidFill>
                  <a:srgbClr val="0070C0"/>
                </a:solidFill>
                <a:latin typeface="Zawgyi-One" pitchFamily="34" charset="0"/>
                <a:ea typeface="Times New Roman" panose="02020603050405020304" pitchFamily="18" charset="0"/>
                <a:cs typeface="Zawgyi-One" pitchFamily="34" charset="0"/>
              </a:rPr>
              <a:t>ဆိုမႈအား</a:t>
            </a:r>
            <a:r>
              <a:rPr lang="en-US" altLang="en-US" sz="1617" b="1" dirty="0">
                <a:solidFill>
                  <a:srgbClr val="0070C0"/>
                </a:solidFill>
                <a:latin typeface="Zawgyi-One" pitchFamily="34" charset="0"/>
                <a:ea typeface="Times New Roman" panose="02020603050405020304" pitchFamily="18" charset="0"/>
                <a:cs typeface="Zawgyi-One" pitchFamily="34" charset="0"/>
              </a:rPr>
              <a:t> </a:t>
            </a:r>
            <a:r>
              <a:rPr lang="en-US" altLang="en-US" sz="1617" b="1" dirty="0" err="1">
                <a:solidFill>
                  <a:srgbClr val="0070C0"/>
                </a:solidFill>
                <a:latin typeface="Zawgyi-One" pitchFamily="34" charset="0"/>
                <a:ea typeface="Times New Roman" panose="02020603050405020304" pitchFamily="18" charset="0"/>
                <a:cs typeface="Zawgyi-One" pitchFamily="34" charset="0"/>
              </a:rPr>
              <a:t>အဆံုးသတ္ပ</a:t>
            </a:r>
            <a:r>
              <a:rPr lang="en-US" altLang="en-US" sz="1617" b="1" dirty="0">
                <a:solidFill>
                  <a:srgbClr val="0070C0"/>
                </a:solidFill>
                <a:latin typeface="Zawgyi-One" pitchFamily="34" charset="0"/>
                <a:ea typeface="Times New Roman" panose="02020603050405020304" pitchFamily="18" charset="0"/>
                <a:cs typeface="Zawgyi-One" pitchFamily="34" charset="0"/>
              </a:rPr>
              <a:t>ါ။ </a:t>
            </a:r>
          </a:p>
        </p:txBody>
      </p:sp>
    </p:spTree>
    <p:extLst>
      <p:ext uri="{BB962C8B-B14F-4D97-AF65-F5344CB8AC3E}">
        <p14:creationId xmlns:p14="http://schemas.microsoft.com/office/powerpoint/2010/main" val="3912306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6" name="Title 1"/>
          <p:cNvSpPr txBox="1">
            <a:spLocks/>
          </p:cNvSpPr>
          <p:nvPr/>
        </p:nvSpPr>
        <p:spPr bwMode="auto">
          <a:xfrm>
            <a:off x="474528" y="3162300"/>
            <a:ext cx="844488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36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What are the key considerations in making referrals? </a:t>
            </a:r>
          </a:p>
        </p:txBody>
      </p:sp>
      <p:sp>
        <p:nvSpPr>
          <p:cNvPr id="5" name="TextBox 4">
            <a:extLst>
              <a:ext uri="{FF2B5EF4-FFF2-40B4-BE49-F238E27FC236}">
                <a16:creationId xmlns:a16="http://schemas.microsoft.com/office/drawing/2014/main" id="{386373D3-CD76-4DB7-B9DB-994D50E8E895}"/>
              </a:ext>
            </a:extLst>
          </p:cNvPr>
          <p:cNvSpPr txBox="1"/>
          <p:nvPr/>
        </p:nvSpPr>
        <p:spPr>
          <a:xfrm>
            <a:off x="216052" y="1612853"/>
            <a:ext cx="8201119" cy="796372"/>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kumimoji="0" lang="en-US"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ဘယ္ေၾကာင</a:t>
            </a:r>
            <a:r>
              <a:rPr kumimoji="0" lang="en-US"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ည</a:t>
            </a:r>
            <a:r>
              <a:rPr lang="en-US" dirty="0">
                <a:latin typeface="Zawgyi-One" panose="020B0604030504040204" pitchFamily="34" charset="0"/>
                <a:cs typeface="Zawgyi-One" panose="020B0604030504040204" pitchFamily="34" charset="0"/>
              </a:rPr>
              <a:t>ႊ</a:t>
            </a:r>
            <a:r>
              <a:rPr lang="en-US" dirty="0" err="1">
                <a:latin typeface="Zawgyi-One" panose="020B0604030504040204" pitchFamily="34" charset="0"/>
                <a:cs typeface="Zawgyi-One" panose="020B0604030504040204" pitchFamily="34" charset="0"/>
              </a:rPr>
              <a:t>န္းပုိ႔မ</a:t>
            </a:r>
            <a:r>
              <a:rPr lang="en-US" dirty="0">
                <a:latin typeface="Zawgyi-One" panose="020B0604030504040204" pitchFamily="34" charset="0"/>
                <a:cs typeface="Zawgyi-One" panose="020B0604030504040204" pitchFamily="34" charset="0"/>
              </a:rPr>
              <a:t>ႈျ</a:t>
            </a:r>
            <a:r>
              <a:rPr lang="en-US" dirty="0" err="1">
                <a:latin typeface="Zawgyi-One" panose="020B0604030504040204" pitchFamily="34" charset="0"/>
                <a:cs typeface="Zawgyi-One" panose="020B0604030504040204" pitchFamily="34" charset="0"/>
              </a:rPr>
              <a:t>ပဳလုပ္သည</a:t>
            </a:r>
            <a:r>
              <a:rPr lang="en-US" dirty="0">
                <a:latin typeface="Zawgyi-One" panose="020B0604030504040204" pitchFamily="34" charset="0"/>
                <a:cs typeface="Zawgyi-One" panose="020B0604030504040204" pitchFamily="34" charset="0"/>
              </a:rPr>
              <a:t>့္</a:t>
            </a:r>
            <a:r>
              <a:rPr lang="en-US" dirty="0" err="1">
                <a:latin typeface="Zawgyi-One" panose="020B0604030504040204" pitchFamily="34" charset="0"/>
                <a:cs typeface="Zawgyi-One" panose="020B0604030504040204" pitchFamily="34" charset="0"/>
              </a:rPr>
              <a:t>အခ</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အဓိကအခ်က္မ်ားကုိ</a:t>
            </a:r>
            <a:r>
              <a:rPr lang="en-US" dirty="0">
                <a:latin typeface="Zawgyi-One" panose="020B0604030504040204" pitchFamily="34" charset="0"/>
                <a:cs typeface="Zawgyi-One" panose="020B0604030504040204" pitchFamily="34" charset="0"/>
              </a:rPr>
              <a:t> </a:t>
            </a:r>
            <a:r>
              <a:rPr lang="en-US" dirty="0" err="1">
                <a:latin typeface="Zawgyi-One" panose="020B0604030504040204" pitchFamily="34" charset="0"/>
                <a:cs typeface="Zawgyi-One" panose="020B0604030504040204" pitchFamily="34" charset="0"/>
              </a:rPr>
              <a:t>ထည</a:t>
            </a:r>
            <a:r>
              <a:rPr lang="en-US" dirty="0">
                <a:latin typeface="Zawgyi-One" panose="020B0604030504040204" pitchFamily="34" charset="0"/>
                <a:cs typeface="Zawgyi-One" panose="020B0604030504040204" pitchFamily="34" charset="0"/>
              </a:rPr>
              <a:t>့္</a:t>
            </a:r>
            <a:r>
              <a:rPr lang="en-US" dirty="0" err="1">
                <a:latin typeface="Zawgyi-One" panose="020B0604030504040204" pitchFamily="34" charset="0"/>
                <a:cs typeface="Zawgyi-One" panose="020B0604030504040204" pitchFamily="34" charset="0"/>
              </a:rPr>
              <a:t>သြင္းစဥ္းစားသင</a:t>
            </a:r>
            <a:r>
              <a:rPr lang="en-US" dirty="0">
                <a:latin typeface="Zawgyi-One" panose="020B0604030504040204" pitchFamily="34" charset="0"/>
                <a:cs typeface="Zawgyi-One" panose="020B0604030504040204" pitchFamily="34" charset="0"/>
              </a:rPr>
              <a:t>့္</a:t>
            </a:r>
            <a:r>
              <a:rPr lang="en-US" dirty="0" err="1">
                <a:latin typeface="Zawgyi-One" panose="020B0604030504040204" pitchFamily="34" charset="0"/>
                <a:cs typeface="Zawgyi-One" panose="020B0604030504040204" pitchFamily="34" charset="0"/>
              </a:rPr>
              <a:t>သလဲ</a:t>
            </a:r>
            <a:r>
              <a:rPr lang="en-US" dirty="0">
                <a:latin typeface="Zawgyi-One" panose="020B0604030504040204" pitchFamily="34" charset="0"/>
                <a:cs typeface="Zawgyi-One" panose="020B0604030504040204" pitchFamily="34" charset="0"/>
              </a:rPr>
              <a:t>။ </a:t>
            </a:r>
            <a:endParaRPr kumimoji="0" lang="en-GB"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209484222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6" name="Title 1"/>
          <p:cNvSpPr txBox="1">
            <a:spLocks/>
          </p:cNvSpPr>
          <p:nvPr/>
        </p:nvSpPr>
        <p:spPr bwMode="auto">
          <a:xfrm>
            <a:off x="-41444" y="567534"/>
            <a:ext cx="948983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4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Key Considerations</a:t>
            </a:r>
          </a:p>
        </p:txBody>
      </p:sp>
      <p:sp>
        <p:nvSpPr>
          <p:cNvPr id="22" name="Rectangle 10"/>
          <p:cNvSpPr/>
          <p:nvPr/>
        </p:nvSpPr>
        <p:spPr>
          <a:xfrm>
            <a:off x="383933" y="4105398"/>
            <a:ext cx="8915400" cy="230832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Referrals should be made in a way that  </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Is safe for children</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Is timely</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Is gender sensitive and inclusive</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Keeps confidentiality of the child</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Is based on the child’s informed consent/decision </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Respects the child’s opinions</a:t>
            </a:r>
          </a:p>
          <a:p>
            <a:pPr marL="571500" marR="0" lvl="0" indent="-57150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tab pos="0" algn="l"/>
                <a:tab pos="810260" algn="l"/>
              </a:tabLst>
              <a:defRPr/>
            </a:pPr>
            <a:r>
              <a:rPr kumimoji="0" lang="en-US" i="0" u="none" strike="noStrike" kern="1200" cap="none" spc="0" normalizeH="0" baseline="0" noProof="0" dirty="0">
                <a:ln>
                  <a:noFill/>
                </a:ln>
                <a:solidFill>
                  <a:srgbClr val="222221"/>
                </a:solidFill>
                <a:effectLst/>
                <a:uLnTx/>
                <a:uFillTx/>
                <a:latin typeface="Calibri" panose="020F0502020204030204" pitchFamily="34" charset="0"/>
                <a:ea typeface="+mn-ea"/>
                <a:cs typeface="+mn-cs"/>
              </a:rPr>
              <a:t>Does no harm to the child</a:t>
            </a:r>
          </a:p>
        </p:txBody>
      </p:sp>
      <p:sp>
        <p:nvSpPr>
          <p:cNvPr id="7" name="TextBox 6">
            <a:extLst>
              <a:ext uri="{FF2B5EF4-FFF2-40B4-BE49-F238E27FC236}">
                <a16:creationId xmlns:a16="http://schemas.microsoft.com/office/drawing/2014/main" id="{3821B578-273F-4A50-917E-D4B25EC362C8}"/>
              </a:ext>
            </a:extLst>
          </p:cNvPr>
          <p:cNvSpPr txBox="1"/>
          <p:nvPr/>
        </p:nvSpPr>
        <p:spPr>
          <a:xfrm>
            <a:off x="602914" y="159364"/>
            <a:ext cx="8201119" cy="380873"/>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kumimoji="0" lang="en-US"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ဓိက</a:t>
            </a:r>
            <a:r>
              <a:rPr kumimoji="0" lang="en-US"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ထည</a:t>
            </a:r>
            <a:r>
              <a:rPr kumimoji="0" lang="en-US"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င္းစဥ္းစားရမည</a:t>
            </a:r>
            <a:r>
              <a:rPr kumimoji="0" lang="en-US"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ရာမ်ား</a:t>
            </a:r>
            <a:endParaRPr kumimoji="0" lang="en-GB"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
        <p:nvSpPr>
          <p:cNvPr id="8" name="TextBox 7">
            <a:extLst>
              <a:ext uri="{FF2B5EF4-FFF2-40B4-BE49-F238E27FC236}">
                <a16:creationId xmlns:a16="http://schemas.microsoft.com/office/drawing/2014/main" id="{021EC7B5-606B-4892-AC62-4CC24E9A9AA0}"/>
              </a:ext>
            </a:extLst>
          </p:cNvPr>
          <p:cNvSpPr txBox="1"/>
          <p:nvPr/>
        </p:nvSpPr>
        <p:spPr>
          <a:xfrm>
            <a:off x="383933" y="1348049"/>
            <a:ext cx="8201119" cy="2596865"/>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တြက</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ခံဳမ</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ရွိရဲ႕လား</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dirty="0" err="1">
                <a:latin typeface="Zawgyi-One" panose="020B0604030504040204" pitchFamily="34" charset="0"/>
                <a:cs typeface="Zawgyi-One" panose="020B0604030504040204" pitchFamily="34" charset="0"/>
              </a:rPr>
              <a:t>အခ်ိန္မွီ</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မ</a:t>
            </a:r>
            <a:r>
              <a:rPr lang="en-US" sz="1600" dirty="0" err="1">
                <a:latin typeface="Zawgyi-One" panose="020B0604030504040204" pitchFamily="34" charset="0"/>
                <a:cs typeface="Zawgyi-One" panose="020B0604030504040204" pitchFamily="34" charset="0"/>
              </a:rPr>
              <a:t>ေရးရာ</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ထိလြယ္မ</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က်ား</a:t>
            </a:r>
            <a:r>
              <a:rPr lang="en-US" sz="1600" dirty="0">
                <a:latin typeface="Zawgyi-One" panose="020B0604030504040204" pitchFamily="34" charset="0"/>
                <a:cs typeface="Zawgyi-One" panose="020B0604030504040204" pitchFamily="34" charset="0"/>
              </a:rPr>
              <a:t>/မ ပါ၀င္မႈ။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က</a:t>
            </a:r>
            <a:r>
              <a:rPr lang="en-US" sz="1600" dirty="0" err="1">
                <a:latin typeface="Zawgyi-One" panose="020B0604030504040204" pitchFamily="34" charset="0"/>
                <a:cs typeface="Zawgyi-One" panose="020B0604030504040204" pitchFamily="34" charset="0"/>
              </a:rPr>
              <a:t>ေလးရဲ</a:t>
            </a:r>
            <a:r>
              <a:rPr lang="en-US" sz="1600" dirty="0">
                <a:latin typeface="Zawgyi-One" panose="020B0604030504040204" pitchFamily="34" charset="0"/>
                <a:cs typeface="Zawgyi-One" panose="020B0604030504040204" pitchFamily="34" charset="0"/>
              </a:rPr>
              <a:t>႕ လွ်ိဳ ႔</a:t>
            </a:r>
            <a:r>
              <a:rPr lang="en-US" sz="1600" dirty="0" err="1">
                <a:latin typeface="Zawgyi-One" panose="020B0604030504040204" pitchFamily="34" charset="0"/>
                <a:cs typeface="Zawgyi-One" panose="020B0604030504040204" pitchFamily="34" charset="0"/>
              </a:rPr>
              <a:t>ဝွက္ထိန္းသိမ္း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ထားရွိျခင္း</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ဆံုးျဖတ္ခ်က</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သိေပးသေဘာတူညီမ</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ခခံသလာ</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အျမင္ကုိ</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စားျခင္း</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dirty="0" err="1">
                <a:latin typeface="Zawgyi-One" panose="020B0604030504040204" pitchFamily="34" charset="0"/>
                <a:cs typeface="Zawgyi-One" panose="020B0604030504040204" pitchFamily="34" charset="0"/>
              </a:rPr>
              <a:t>ကေလး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ထိခိုက္နစ္နာ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င္းရဲ႕လား</a:t>
            </a:r>
            <a:r>
              <a:rPr lang="en-US" sz="1600" dirty="0">
                <a:latin typeface="Zawgyi-One" panose="020B0604030504040204" pitchFamily="34" charset="0"/>
                <a:cs typeface="Zawgyi-One" panose="020B0604030504040204" pitchFamily="34" charset="0"/>
              </a:rPr>
              <a:t>။ </a:t>
            </a:r>
            <a:endParaRPr kumimoji="0" lang="en-GB"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3361880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6" name="Title 1"/>
          <p:cNvSpPr txBox="1">
            <a:spLocks/>
          </p:cNvSpPr>
          <p:nvPr/>
        </p:nvSpPr>
        <p:spPr bwMode="auto">
          <a:xfrm>
            <a:off x="394317" y="2286000"/>
            <a:ext cx="844488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44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What do they mean? </a:t>
            </a:r>
          </a:p>
        </p:txBody>
      </p:sp>
      <p:sp>
        <p:nvSpPr>
          <p:cNvPr id="5" name="TextBox 4">
            <a:extLst>
              <a:ext uri="{FF2B5EF4-FFF2-40B4-BE49-F238E27FC236}">
                <a16:creationId xmlns:a16="http://schemas.microsoft.com/office/drawing/2014/main" id="{FC1C70B8-1B32-4B81-8553-1A0A233C3B8F}"/>
              </a:ext>
            </a:extLst>
          </p:cNvPr>
          <p:cNvSpPr txBox="1"/>
          <p:nvPr/>
        </p:nvSpPr>
        <p:spPr>
          <a:xfrm>
            <a:off x="352874" y="1726150"/>
            <a:ext cx="8201119" cy="423193"/>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kumimoji="0" lang="en-US" sz="2000" b="1"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ဒါ</a:t>
            </a:r>
            <a:r>
              <a:rPr lang="en-US" sz="2000" b="1" dirty="0" err="1">
                <a:latin typeface="Zawgyi-One" panose="020B0604030504040204" pitchFamily="34" charset="0"/>
                <a:cs typeface="Zawgyi-One" panose="020B0604030504040204" pitchFamily="34" charset="0"/>
              </a:rPr>
              <a:t>ေတြက</a:t>
            </a:r>
            <a:r>
              <a:rPr lang="en-US" sz="2000" b="1" dirty="0">
                <a:latin typeface="Zawgyi-One" panose="020B0604030504040204" pitchFamily="34" charset="0"/>
                <a:cs typeface="Zawgyi-One" panose="020B0604030504040204" pitchFamily="34" charset="0"/>
              </a:rPr>
              <a:t> </a:t>
            </a:r>
            <a:r>
              <a:rPr lang="en-US" sz="2000" b="1" dirty="0" err="1">
                <a:latin typeface="Zawgyi-One" panose="020B0604030504040204" pitchFamily="34" charset="0"/>
                <a:cs typeface="Zawgyi-One" panose="020B0604030504040204" pitchFamily="34" charset="0"/>
              </a:rPr>
              <a:t>ဘာကုိ</a:t>
            </a:r>
            <a:r>
              <a:rPr lang="en-US" sz="2000" b="1" dirty="0">
                <a:latin typeface="Zawgyi-One" panose="020B0604030504040204" pitchFamily="34" charset="0"/>
                <a:cs typeface="Zawgyi-One" panose="020B0604030504040204" pitchFamily="34" charset="0"/>
              </a:rPr>
              <a:t> </a:t>
            </a:r>
            <a:r>
              <a:rPr lang="en-US" sz="2000" b="1" dirty="0" err="1">
                <a:latin typeface="Zawgyi-One" panose="020B0604030504040204" pitchFamily="34" charset="0"/>
                <a:cs typeface="Zawgyi-One" panose="020B0604030504040204" pitchFamily="34" charset="0"/>
              </a:rPr>
              <a:t>ဆုိလုိတာလဲ</a:t>
            </a:r>
            <a:r>
              <a:rPr lang="en-US" sz="2000" b="1" dirty="0">
                <a:latin typeface="Zawgyi-One" panose="020B0604030504040204" pitchFamily="34" charset="0"/>
                <a:cs typeface="Zawgyi-One" panose="020B0604030504040204" pitchFamily="34" charset="0"/>
              </a:rPr>
              <a:t>။ </a:t>
            </a:r>
            <a:endParaRPr kumimoji="0" lang="en-GB" sz="2000" b="1"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98526494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t>Safe - Child Safeguarding</a:t>
            </a:r>
            <a:endParaRPr lang="en-GB" sz="3600" dirty="0"/>
          </a:p>
        </p:txBody>
      </p:sp>
      <p:sp>
        <p:nvSpPr>
          <p:cNvPr id="3" name="Content Placeholder 2"/>
          <p:cNvSpPr>
            <a:spLocks noGrp="1"/>
          </p:cNvSpPr>
          <p:nvPr>
            <p:ph idx="1"/>
          </p:nvPr>
        </p:nvSpPr>
        <p:spPr>
          <a:xfrm>
            <a:off x="611035" y="4853364"/>
            <a:ext cx="8229600" cy="1598277"/>
          </a:xfrm>
        </p:spPr>
        <p:txBody>
          <a:bodyPr>
            <a:noAutofit/>
          </a:bodyPr>
          <a:lstStyle/>
          <a:p>
            <a:pPr marL="0" indent="0">
              <a:buNone/>
            </a:pPr>
            <a:r>
              <a:rPr lang="en-AU" sz="1600" dirty="0"/>
              <a:t>Child safeguarding is a term used for </a:t>
            </a:r>
          </a:p>
          <a:p>
            <a:pPr>
              <a:buFont typeface="Wingdings" panose="05000000000000000000" pitchFamily="2" charset="2"/>
              <a:buChar char="ü"/>
            </a:pPr>
            <a:r>
              <a:rPr lang="en-AU" sz="1600" dirty="0"/>
              <a:t>Your organisation and service and whether it’s safe for children  </a:t>
            </a:r>
          </a:p>
          <a:p>
            <a:pPr>
              <a:buFont typeface="Wingdings" panose="05000000000000000000" pitchFamily="2" charset="2"/>
              <a:buChar char="ü"/>
            </a:pPr>
            <a:r>
              <a:rPr lang="en-AU" sz="1600" dirty="0"/>
              <a:t>Staff, volunteers, consultants, suppliers, etc. – staff and representatives of your organization</a:t>
            </a:r>
          </a:p>
          <a:p>
            <a:pPr marL="0" indent="0">
              <a:buNone/>
            </a:pPr>
            <a:r>
              <a:rPr lang="en-AU" sz="1600" dirty="0"/>
              <a:t>Policies, procedures and practices that are employed to ensure that an organisation itself (local or international NGO, a school, religious institution, UN agency, etc.) is a child safe organisation.</a:t>
            </a:r>
            <a:endParaRPr lang="en-GB" sz="1600" dirty="0"/>
          </a:p>
        </p:txBody>
      </p:sp>
      <p:sp>
        <p:nvSpPr>
          <p:cNvPr id="4" name="TextBox 3">
            <a:extLst>
              <a:ext uri="{FF2B5EF4-FFF2-40B4-BE49-F238E27FC236}">
                <a16:creationId xmlns:a16="http://schemas.microsoft.com/office/drawing/2014/main" id="{3DD7EC50-6DAC-4714-97E6-1EED1D4555BD}"/>
              </a:ext>
            </a:extLst>
          </p:cNvPr>
          <p:cNvSpPr txBox="1"/>
          <p:nvPr/>
        </p:nvSpPr>
        <p:spPr>
          <a:xfrm>
            <a:off x="2576093" y="406359"/>
            <a:ext cx="8201119" cy="423193"/>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kumimoji="0" lang="en-US" sz="20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လံုျခံဳမ</a:t>
            </a:r>
            <a:r>
              <a:rPr kumimoji="0" lang="en-US" sz="20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 - </a:t>
            </a:r>
            <a:r>
              <a:rPr kumimoji="0" lang="en-US" sz="2000" i="0" u="none" strike="noStrike" kern="1200" cap="none" spc="0" normalizeH="0" baseline="0" noProof="0" dirty="0" err="1">
                <a:ln>
                  <a:noFill/>
                </a:ln>
                <a:solidFill>
                  <a:schemeClr val="bg1"/>
                </a:solidFill>
                <a:effectLst/>
                <a:uLnTx/>
                <a:uFillTx/>
                <a:latin typeface="Zawgyi-One" panose="020B0604030504040204" pitchFamily="34" charset="0"/>
                <a:cs typeface="Zawgyi-One" panose="020B0604030504040204" pitchFamily="34" charset="0"/>
              </a:rPr>
              <a:t>ကေလးေဘးကင္းလံုျခံဳမ</a:t>
            </a:r>
            <a:r>
              <a:rPr kumimoji="0" lang="en-US" sz="20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rPr>
              <a:t>ႈ</a:t>
            </a:r>
            <a:endParaRPr kumimoji="0" lang="en-GB" sz="20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endParaRPr>
          </a:p>
        </p:txBody>
      </p:sp>
      <p:sp>
        <p:nvSpPr>
          <p:cNvPr id="5" name="TextBox 4">
            <a:extLst>
              <a:ext uri="{FF2B5EF4-FFF2-40B4-BE49-F238E27FC236}">
                <a16:creationId xmlns:a16="http://schemas.microsoft.com/office/drawing/2014/main" id="{0A51092D-9B52-475D-95A5-B3B487E77A4B}"/>
              </a:ext>
            </a:extLst>
          </p:cNvPr>
          <p:cNvSpPr txBox="1"/>
          <p:nvPr/>
        </p:nvSpPr>
        <p:spPr>
          <a:xfrm>
            <a:off x="465394" y="1419726"/>
            <a:ext cx="8201119" cy="2554545"/>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သူငယ္ေဘးကင္းမႈသည</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p>
          <a:p>
            <a:pPr marL="742950" lvl="1" indent="-285750">
              <a:lnSpc>
                <a:spcPct val="150000"/>
              </a:lnSpc>
              <a:buFont typeface="Arial" panose="020B0604020202020204" pitchFamily="34" charset="0"/>
              <a:buChar char="•"/>
              <a:defRPr/>
            </a:pPr>
            <a:r>
              <a:rPr lang="en-US" sz="1600" dirty="0" err="1">
                <a:latin typeface="Zawgyi-One" panose="020B0604030504040204" pitchFamily="34" charset="0"/>
                <a:cs typeface="Zawgyi-One" panose="020B0604030504040204" pitchFamily="34" charset="0"/>
              </a:rPr>
              <a:t>သ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အဖြဲ႔အစည္း</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ဝန္ေဆာင္မႈမ်ားသည</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မ်ားအတြ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ခံဳ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ရွိ</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မရွိျခင္း</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ဖစ္သည</a:t>
            </a:r>
            <a:r>
              <a:rPr lang="en-US" sz="1600" dirty="0">
                <a:latin typeface="Zawgyi-One" panose="020B0604030504040204" pitchFamily="34" charset="0"/>
                <a:cs typeface="Zawgyi-One" panose="020B0604030504040204" pitchFamily="34" charset="0"/>
              </a:rPr>
              <a:t>္။ </a:t>
            </a:r>
            <a:endParaRPr lang="en-GB" sz="1600" dirty="0">
              <a:latin typeface="Zawgyi-One" panose="020B0604030504040204" pitchFamily="34" charset="0"/>
              <a:cs typeface="Zawgyi-One" panose="020B0604030504040204" pitchFamily="34" charset="0"/>
            </a:endParaRPr>
          </a:p>
          <a:p>
            <a:pPr marL="742950" lvl="1" indent="-285750">
              <a:lnSpc>
                <a:spcPct val="150000"/>
              </a:lnSpc>
              <a:buFont typeface="Arial" panose="020B0604020202020204" pitchFamily="34" charset="0"/>
              <a:buChar char="•"/>
              <a:defRPr/>
            </a:pPr>
            <a:r>
              <a:rPr lang="en-GB" sz="1600" dirty="0" err="1">
                <a:latin typeface="Zawgyi-One" panose="020B0604030504040204" pitchFamily="34" charset="0"/>
                <a:cs typeface="Zawgyi-One" panose="020B0604030504040204" pitchFamily="34" charset="0"/>
              </a:rPr>
              <a:t>ဝန္ထမ္းမ်ား</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စတနာ့ဝန္ထမ္းမ်ား</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အတိုင္ပင္ခံမ်ား</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ကုန္ေပးသြင္းသူမ်ား</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စသည</a:t>
            </a:r>
            <a:r>
              <a:rPr lang="en-GB" sz="1600" dirty="0">
                <a:latin typeface="Zawgyi-One" panose="020B0604030504040204" pitchFamily="34" charset="0"/>
                <a:cs typeface="Zawgyi-One" panose="020B0604030504040204" pitchFamily="34" charset="0"/>
              </a:rPr>
              <a:t>္ျ</a:t>
            </a:r>
            <a:r>
              <a:rPr lang="en-GB" sz="1600" dirty="0" err="1">
                <a:latin typeface="Zawgyi-One" panose="020B0604030504040204" pitchFamily="34" charset="0"/>
                <a:cs typeface="Zawgyi-One" panose="020B0604030504040204" pitchFamily="34" charset="0"/>
              </a:rPr>
              <a:t>ဖင</a:t>
            </a:r>
            <a:r>
              <a:rPr lang="en-GB" sz="1600" dirty="0">
                <a:latin typeface="Zawgyi-One" panose="020B0604030504040204" pitchFamily="34" charset="0"/>
                <a:cs typeface="Zawgyi-One" panose="020B0604030504040204" pitchFamily="34" charset="0"/>
              </a:rPr>
              <a:t>့္ -  </a:t>
            </a:r>
            <a:r>
              <a:rPr lang="en-GB" sz="1600" dirty="0" err="1">
                <a:latin typeface="Zawgyi-One" panose="020B0604030504040204" pitchFamily="34" charset="0"/>
                <a:cs typeface="Zawgyi-One" panose="020B0604030504040204" pitchFamily="34" charset="0"/>
              </a:rPr>
              <a:t>သင</a:t>
            </a:r>
            <a:r>
              <a:rPr lang="en-GB" sz="1600" dirty="0">
                <a:latin typeface="Zawgyi-One" panose="020B0604030504040204" pitchFamily="34" charset="0"/>
                <a:cs typeface="Zawgyi-One" panose="020B0604030504040204" pitchFamily="34" charset="0"/>
              </a:rPr>
              <a:t>့္</a:t>
            </a:r>
            <a:r>
              <a:rPr lang="en-GB" sz="1600" dirty="0" err="1">
                <a:latin typeface="Zawgyi-One" panose="020B0604030504040204" pitchFamily="34" charset="0"/>
                <a:cs typeface="Zawgyi-One" panose="020B0604030504040204" pitchFamily="34" charset="0"/>
              </a:rPr>
              <a:t>အဖြဲ႔အစည္း</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မူဝါဒ</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လုပ္ထံုးလုပ္နည္း</a:t>
            </a:r>
            <a:r>
              <a:rPr lang="en-GB" sz="1600" dirty="0">
                <a:latin typeface="Zawgyi-One" panose="020B0604030504040204" pitchFamily="34" charset="0"/>
                <a:cs typeface="Zawgyi-One" panose="020B0604030504040204" pitchFamily="34" charset="0"/>
              </a:rPr>
              <a:t>ႏွင့္ </a:t>
            </a:r>
            <a:r>
              <a:rPr lang="en-GB" sz="1600" dirty="0" err="1">
                <a:latin typeface="Zawgyi-One" panose="020B0604030504040204" pitchFamily="34" charset="0"/>
                <a:cs typeface="Zawgyi-One" panose="020B0604030504040204" pitchFamily="34" charset="0"/>
              </a:rPr>
              <a:t>က်င</a:t>
            </a:r>
            <a:r>
              <a:rPr lang="en-GB" sz="1600" dirty="0">
                <a:latin typeface="Zawgyi-One" panose="020B0604030504040204" pitchFamily="34" charset="0"/>
                <a:cs typeface="Zawgyi-One" panose="020B0604030504040204" pitchFamily="34" charset="0"/>
              </a:rPr>
              <a:t>့္</a:t>
            </a:r>
            <a:r>
              <a:rPr lang="en-GB" sz="1600" dirty="0" err="1">
                <a:latin typeface="Zawgyi-One" panose="020B0604030504040204" pitchFamily="34" charset="0"/>
                <a:cs typeface="Zawgyi-One" panose="020B0604030504040204" pitchFamily="34" charset="0"/>
              </a:rPr>
              <a:t>သံုးမႈမ်ားသည</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အဖြဲ႔စည္းကုိယ္တုိင</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ကေလးမ်ားအတြက</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လံုျခံဳေသာ</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အဖြဲ႔အစည္းတစ္ခုျဖစ္ေၾကာင</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သခ်ာေစရန</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ဖစ္သည</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ပည္တြင္း</a:t>
            </a:r>
            <a:r>
              <a:rPr lang="en-GB" sz="1600" dirty="0">
                <a:latin typeface="Zawgyi-One" panose="020B0604030504040204" pitchFamily="34" charset="0"/>
                <a:cs typeface="Zawgyi-One" panose="020B0604030504040204" pitchFamily="34" charset="0"/>
              </a:rPr>
              <a:t>/ျ</a:t>
            </a:r>
            <a:r>
              <a:rPr lang="en-GB" sz="1600" dirty="0" err="1">
                <a:latin typeface="Zawgyi-One" panose="020B0604030504040204" pitchFamily="34" charset="0"/>
                <a:cs typeface="Zawgyi-One" panose="020B0604030504040204" pitchFamily="34" charset="0"/>
              </a:rPr>
              <a:t>ပည္ပ</a:t>
            </a:r>
            <a:r>
              <a:rPr lang="en-GB" sz="1600" dirty="0">
                <a:latin typeface="Zawgyi-One" panose="020B0604030504040204" pitchFamily="34" charset="0"/>
                <a:cs typeface="Zawgyi-One" panose="020B0604030504040204" pitchFamily="34" charset="0"/>
              </a:rPr>
              <a:t> ႏ</a:t>
            </a:r>
            <a:r>
              <a:rPr lang="en-GB" sz="1600" dirty="0" err="1">
                <a:latin typeface="Zawgyi-One" panose="020B0604030504040204" pitchFamily="34" charset="0"/>
                <a:cs typeface="Zawgyi-One" panose="020B0604030504040204" pitchFamily="34" charset="0"/>
              </a:rPr>
              <a:t>ုိင္ငံတကာ</a:t>
            </a:r>
            <a:r>
              <a:rPr lang="en-GB" sz="1600" dirty="0">
                <a:latin typeface="Zawgyi-One" panose="020B0604030504040204" pitchFamily="34" charset="0"/>
                <a:cs typeface="Zawgyi-One" panose="020B0604030504040204" pitchFamily="34" charset="0"/>
              </a:rPr>
              <a:t> </a:t>
            </a:r>
            <a:r>
              <a:rPr lang="en-US" sz="1600" dirty="0">
                <a:latin typeface="Zawgyi-One" panose="020B0604030504040204" pitchFamily="34" charset="0"/>
                <a:cs typeface="Zawgyi-One" panose="020B0604030504040204" pitchFamily="34" charset="0"/>
              </a:rPr>
              <a:t>NGO, </a:t>
            </a:r>
            <a:r>
              <a:rPr lang="en-US" sz="1600" dirty="0" err="1">
                <a:latin typeface="Zawgyi-One" panose="020B0604030504040204" pitchFamily="34" charset="0"/>
                <a:cs typeface="Zawgyi-One" panose="020B0604030504040204" pitchFamily="34" charset="0"/>
              </a:rPr>
              <a:t>ေက်ာင္း</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ဘာသာေရး</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ဖြဲ႔အစည္းမ်ား</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ကုလသမဂၢ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ဂ်င္စီ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စသည</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ဖင</a:t>
            </a:r>
            <a:r>
              <a:rPr lang="en-US" sz="1600" dirty="0">
                <a:latin typeface="Zawgyi-One" panose="020B0604030504040204" pitchFamily="34" charset="0"/>
                <a:cs typeface="Zawgyi-One" panose="020B0604030504040204" pitchFamily="34" charset="0"/>
              </a:rPr>
              <a:t>့္)</a:t>
            </a:r>
          </a:p>
        </p:txBody>
      </p:sp>
    </p:spTree>
    <p:custDataLst>
      <p:tags r:id="rId1"/>
    </p:custDataLst>
    <p:extLst>
      <p:ext uri="{BB962C8B-B14F-4D97-AF65-F5344CB8AC3E}">
        <p14:creationId xmlns:p14="http://schemas.microsoft.com/office/powerpoint/2010/main" val="23754457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heel(1)">
                                      <p:cBhvr>
                                        <p:cTn id="7" dur="20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88640"/>
            <a:ext cx="7596554" cy="792088"/>
          </a:xfrm>
        </p:spPr>
        <p:txBody>
          <a:bodyPr/>
          <a:lstStyle/>
          <a:p>
            <a:r>
              <a:rPr lang="en-US" sz="2800" dirty="0"/>
              <a:t>SC’s Child Safeguarding Policy</a:t>
            </a:r>
            <a:endParaRPr lang="en-GB" sz="2800" dirty="0"/>
          </a:p>
        </p:txBody>
      </p:sp>
      <p:sp>
        <p:nvSpPr>
          <p:cNvPr id="3" name="Content Placeholder 2"/>
          <p:cNvSpPr>
            <a:spLocks noGrp="1"/>
          </p:cNvSpPr>
          <p:nvPr>
            <p:ph idx="1"/>
          </p:nvPr>
        </p:nvSpPr>
        <p:spPr>
          <a:xfrm>
            <a:off x="367283" y="4229708"/>
            <a:ext cx="8441553" cy="5256584"/>
          </a:xfrm>
        </p:spPr>
        <p:txBody>
          <a:bodyPr>
            <a:normAutofit/>
          </a:bodyPr>
          <a:lstStyle/>
          <a:p>
            <a:pPr marL="0" indent="0">
              <a:buNone/>
            </a:pPr>
            <a:r>
              <a:rPr lang="en-US" sz="1400" b="1" dirty="0"/>
              <a:t>Save the Children’s Child Safeguarding Policy requires:</a:t>
            </a:r>
            <a:endParaRPr lang="en-US" sz="1100" dirty="0"/>
          </a:p>
          <a:p>
            <a:pPr marL="685800" indent="-685800">
              <a:buFont typeface="Arial" panose="020B0604020202020204" pitchFamily="34" charset="0"/>
              <a:buChar char="•"/>
            </a:pPr>
            <a:r>
              <a:rPr lang="en-US" sz="1400" dirty="0"/>
              <a:t>That everyone associated with the </a:t>
            </a:r>
            <a:r>
              <a:rPr lang="en-US" sz="1400" dirty="0" err="1"/>
              <a:t>organisation</a:t>
            </a:r>
            <a:r>
              <a:rPr lang="en-US" sz="1400" dirty="0"/>
              <a:t> is aware of their obligations and responds appropriately to issues of child abuse and the sexual exploitation of children. </a:t>
            </a:r>
          </a:p>
          <a:p>
            <a:pPr marL="685800" indent="-685800">
              <a:buFont typeface="Arial" panose="020B0604020202020204" pitchFamily="34" charset="0"/>
              <a:buChar char="•"/>
            </a:pPr>
            <a:r>
              <a:rPr lang="en-US" sz="1400" dirty="0"/>
              <a:t>That anyone who represents our </a:t>
            </a:r>
            <a:r>
              <a:rPr lang="en-US" sz="1400" dirty="0" err="1"/>
              <a:t>organisation</a:t>
            </a:r>
            <a:r>
              <a:rPr lang="en-US" sz="1400" dirty="0"/>
              <a:t> behaves appropriately towards children and never abuses the position of trust that comes with being a member of the Save the Children family </a:t>
            </a:r>
          </a:p>
          <a:p>
            <a:pPr marL="685800" indent="-685800">
              <a:buFont typeface="Arial" panose="020B0604020202020204" pitchFamily="34" charset="0"/>
              <a:buChar char="•"/>
            </a:pPr>
            <a:r>
              <a:rPr lang="en-US" sz="1400" dirty="0"/>
              <a:t>That everyone who represents the </a:t>
            </a:r>
            <a:r>
              <a:rPr lang="en-US" sz="1400" dirty="0" err="1"/>
              <a:t>organisation</a:t>
            </a:r>
            <a:r>
              <a:rPr lang="en-US" sz="1400" dirty="0"/>
              <a:t> must actively create a safe environment for children who come into contact with the organization</a:t>
            </a:r>
          </a:p>
          <a:p>
            <a:r>
              <a:rPr lang="en-US" sz="1400" dirty="0"/>
              <a:t>These apply to </a:t>
            </a:r>
            <a:r>
              <a:rPr lang="en-US" sz="1400" b="1" dirty="0">
                <a:solidFill>
                  <a:srgbClr val="FF0000"/>
                </a:solidFill>
              </a:rPr>
              <a:t>safe</a:t>
            </a:r>
            <a:r>
              <a:rPr lang="en-US" sz="1400" dirty="0"/>
              <a:t> identification and referral! </a:t>
            </a:r>
            <a:endParaRPr lang="en-GB" sz="400" dirty="0"/>
          </a:p>
        </p:txBody>
      </p:sp>
      <p:sp>
        <p:nvSpPr>
          <p:cNvPr id="4" name="TextBox 3">
            <a:extLst>
              <a:ext uri="{FF2B5EF4-FFF2-40B4-BE49-F238E27FC236}">
                <a16:creationId xmlns:a16="http://schemas.microsoft.com/office/drawing/2014/main" id="{3290AFBA-E4F2-474E-8AF8-9252B5ED2556}"/>
              </a:ext>
            </a:extLst>
          </p:cNvPr>
          <p:cNvSpPr txBox="1"/>
          <p:nvPr/>
        </p:nvSpPr>
        <p:spPr>
          <a:xfrm>
            <a:off x="4260515" y="404664"/>
            <a:ext cx="4559957" cy="423193"/>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lang="en-US" sz="2000" dirty="0">
                <a:solidFill>
                  <a:schemeClr val="bg1"/>
                </a:solidFill>
                <a:latin typeface="Zawgyi-One" panose="020B0604030504040204" pitchFamily="34" charset="0"/>
                <a:cs typeface="Zawgyi-One" panose="020B0604030504040204" pitchFamily="34" charset="0"/>
              </a:rPr>
              <a:t>SC ၏ </a:t>
            </a:r>
            <a:r>
              <a:rPr lang="en-US" sz="2000" dirty="0" err="1">
                <a:solidFill>
                  <a:schemeClr val="bg1"/>
                </a:solidFill>
                <a:latin typeface="Zawgyi-One" panose="020B0604030504040204" pitchFamily="34" charset="0"/>
                <a:cs typeface="Zawgyi-One" panose="020B0604030504040204" pitchFamily="34" charset="0"/>
              </a:rPr>
              <a:t>ကေလးသူငယ္ေဘးကင္းလံုျခံဳမ</a:t>
            </a:r>
            <a:r>
              <a:rPr lang="en-US" sz="2000" dirty="0">
                <a:solidFill>
                  <a:schemeClr val="bg1"/>
                </a:solidFill>
                <a:latin typeface="Zawgyi-One" panose="020B0604030504040204" pitchFamily="34" charset="0"/>
                <a:cs typeface="Zawgyi-One" panose="020B0604030504040204" pitchFamily="34" charset="0"/>
              </a:rPr>
              <a:t>ႈ </a:t>
            </a:r>
            <a:r>
              <a:rPr lang="en-US" sz="2000" dirty="0" err="1">
                <a:solidFill>
                  <a:schemeClr val="bg1"/>
                </a:solidFill>
                <a:latin typeface="Zawgyi-One" panose="020B0604030504040204" pitchFamily="34" charset="0"/>
                <a:cs typeface="Zawgyi-One" panose="020B0604030504040204" pitchFamily="34" charset="0"/>
              </a:rPr>
              <a:t>မူ</a:t>
            </a:r>
            <a:r>
              <a:rPr lang="en-US" sz="2000" dirty="0">
                <a:solidFill>
                  <a:schemeClr val="bg1"/>
                </a:solidFill>
                <a:latin typeface="Zawgyi-One" panose="020B0604030504040204" pitchFamily="34" charset="0"/>
                <a:cs typeface="Zawgyi-One" panose="020B0604030504040204" pitchFamily="34" charset="0"/>
              </a:rPr>
              <a:t>​</a:t>
            </a:r>
            <a:r>
              <a:rPr lang="en-US" sz="2000" dirty="0" err="1">
                <a:solidFill>
                  <a:schemeClr val="bg1"/>
                </a:solidFill>
                <a:latin typeface="Zawgyi-One" panose="020B0604030504040204" pitchFamily="34" charset="0"/>
                <a:cs typeface="Zawgyi-One" panose="020B0604030504040204" pitchFamily="34" charset="0"/>
              </a:rPr>
              <a:t>ဝါဒ</a:t>
            </a:r>
            <a:endParaRPr kumimoji="0" lang="en-GB" sz="20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endParaRPr>
          </a:p>
        </p:txBody>
      </p:sp>
      <p:sp>
        <p:nvSpPr>
          <p:cNvPr id="5" name="TextBox 4">
            <a:extLst>
              <a:ext uri="{FF2B5EF4-FFF2-40B4-BE49-F238E27FC236}">
                <a16:creationId xmlns:a16="http://schemas.microsoft.com/office/drawing/2014/main" id="{4232BC1F-CAAF-4C29-9DB4-07F28F03037F}"/>
              </a:ext>
            </a:extLst>
          </p:cNvPr>
          <p:cNvSpPr txBox="1"/>
          <p:nvPr/>
        </p:nvSpPr>
        <p:spPr>
          <a:xfrm>
            <a:off x="351223" y="1423338"/>
            <a:ext cx="8441553" cy="2558393"/>
          </a:xfrm>
          <a:prstGeom prst="rect">
            <a:avLst/>
          </a:prstGeom>
          <a:noFill/>
        </p:spPr>
        <p:txBody>
          <a:bodyPr wrap="square" lIns="0" tIns="0" rIns="0" bIns="0" rtlCol="0" anchor="t">
            <a:spAutoFit/>
          </a:bodyPr>
          <a:lstStyle/>
          <a:p>
            <a:pPr marL="342900" marR="0" lvl="0" indent="-34290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Save the Children ၏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ဘးသူငယ္ေဘးကင္းလ</a:t>
            </a:r>
            <a:r>
              <a:rPr lang="en-US" sz="1400" dirty="0" err="1">
                <a:latin typeface="Zawgyi-One" panose="020B0604030504040204" pitchFamily="34" charset="0"/>
                <a:cs typeface="Zawgyi-One" panose="020B0604030504040204" pitchFamily="34" charset="0"/>
              </a:rPr>
              <a:t>ံုျခံဳမ</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မူဝါဒ</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လိုအပ္ခ်က္မ်ား</a:t>
            </a:r>
            <a:endParaRPr lang="en-US" sz="1400" dirty="0">
              <a:latin typeface="Zawgyi-One" panose="020B0604030504040204" pitchFamily="34" charset="0"/>
              <a:cs typeface="Zawgyi-One" panose="020B0604030504040204" pitchFamily="34" charset="0"/>
            </a:endParaRPr>
          </a:p>
          <a:p>
            <a:pPr marL="342900" marR="0" lvl="0" indent="-34290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ဖြဲ႕အစည္း</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ဆက</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ယ္သူတုိင္းသည</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၄င္းတုိ႔၏</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တာဝန္ဝတၱရားမ်ားကုိ</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ရွိၿပီး</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သူငယ</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င္မႈဆုိင္ရာ</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ပံုျဖတ္အျမတ္ထ</a:t>
            </a:r>
            <a:r>
              <a:rPr lang="en-GB" sz="1400" dirty="0" err="1">
                <a:latin typeface="Zawgyi-One" panose="020B0604030504040204" pitchFamily="34" charset="0"/>
                <a:cs typeface="Zawgyi-One" panose="020B0604030504040204" pitchFamily="34" charset="0"/>
              </a:rPr>
              <a:t>ုတ္မ</a:t>
            </a:r>
            <a:r>
              <a:rPr lang="en-GB" sz="1400" dirty="0">
                <a:latin typeface="Zawgyi-One" panose="020B0604030504040204" pitchFamily="34" charset="0"/>
                <a:cs typeface="Zawgyi-One" panose="020B0604030504040204" pitchFamily="34" charset="0"/>
              </a:rPr>
              <a:t>ႈႏွင့္ </a:t>
            </a:r>
            <a:r>
              <a:rPr lang="en-GB" sz="1400" dirty="0" err="1">
                <a:latin typeface="Zawgyi-One" panose="020B0604030504040204" pitchFamily="34" charset="0"/>
                <a:cs typeface="Zawgyi-One" panose="020B0604030504040204" pitchFamily="34" charset="0"/>
              </a:rPr>
              <a:t>မေတာ္မတရားျပဳမူျခင္းဆိုင္ရာကိစၥရပ္မ်ားကုိ</a:t>
            </a:r>
            <a:r>
              <a:rPr lang="en-GB" sz="1400" dirty="0">
                <a:latin typeface="Zawgyi-One" panose="020B0604030504040204" pitchFamily="34" charset="0"/>
                <a:cs typeface="Zawgyi-One" panose="020B0604030504040204" pitchFamily="34" charset="0"/>
              </a:rPr>
              <a:t> </a:t>
            </a:r>
            <a:r>
              <a:rPr lang="en-GB" sz="1400" dirty="0" err="1">
                <a:latin typeface="Zawgyi-One" panose="020B0604030504040204" pitchFamily="34" charset="0"/>
                <a:cs typeface="Zawgyi-One" panose="020B0604030504040204" pitchFamily="34" charset="0"/>
              </a:rPr>
              <a:t>သင</a:t>
            </a:r>
            <a:r>
              <a:rPr lang="en-GB" sz="1400" dirty="0">
                <a:latin typeface="Zawgyi-One" panose="020B0604030504040204" pitchFamily="34" charset="0"/>
                <a:cs typeface="Zawgyi-One" panose="020B0604030504040204" pitchFamily="34" charset="0"/>
              </a:rPr>
              <a:t>့္</a:t>
            </a:r>
            <a:r>
              <a:rPr lang="en-GB" sz="1400" dirty="0" err="1">
                <a:latin typeface="Zawgyi-One" panose="020B0604030504040204" pitchFamily="34" charset="0"/>
                <a:cs typeface="Zawgyi-One" panose="020B0604030504040204" pitchFamily="34" charset="0"/>
              </a:rPr>
              <a:t>ေလ်ာ္စြာ</a:t>
            </a:r>
            <a:r>
              <a:rPr lang="en-GB" sz="1400" dirty="0">
                <a:latin typeface="Zawgyi-One" panose="020B0604030504040204" pitchFamily="34" charset="0"/>
                <a:cs typeface="Zawgyi-One" panose="020B0604030504040204" pitchFamily="34" charset="0"/>
              </a:rPr>
              <a:t> </a:t>
            </a:r>
            <a:r>
              <a:rPr lang="en-GB" sz="1400" dirty="0" err="1">
                <a:latin typeface="Zawgyi-One" panose="020B0604030504040204" pitchFamily="34" charset="0"/>
                <a:cs typeface="Zawgyi-One" panose="020B0604030504040204" pitchFamily="34" charset="0"/>
              </a:rPr>
              <a:t>တံု</a:t>
            </a:r>
            <a:r>
              <a:rPr lang="en-GB" sz="1400" dirty="0">
                <a:latin typeface="Zawgyi-One" panose="020B0604030504040204" pitchFamily="34" charset="0"/>
                <a:cs typeface="Zawgyi-One" panose="020B0604030504040204" pitchFamily="34" charset="0"/>
              </a:rPr>
              <a:t>႕ျ</a:t>
            </a:r>
            <a:r>
              <a:rPr lang="en-GB" sz="1400" dirty="0" err="1">
                <a:latin typeface="Zawgyi-One" panose="020B0604030504040204" pitchFamily="34" charset="0"/>
                <a:cs typeface="Zawgyi-One" panose="020B0604030504040204" pitchFamily="34" charset="0"/>
              </a:rPr>
              <a:t>ပန</a:t>
            </a:r>
            <a:r>
              <a:rPr lang="en-GB" sz="1400" dirty="0">
                <a:latin typeface="Zawgyi-One" panose="020B0604030504040204" pitchFamily="34" charset="0"/>
                <a:cs typeface="Zawgyi-One" panose="020B0604030504040204" pitchFamily="34" charset="0"/>
              </a:rPr>
              <a:t>္ျ</a:t>
            </a:r>
            <a:r>
              <a:rPr lang="en-GB" sz="1400" dirty="0" err="1">
                <a:latin typeface="Zawgyi-One" panose="020B0604030504040204" pitchFamily="34" charset="0"/>
                <a:cs typeface="Zawgyi-One" panose="020B0604030504040204" pitchFamily="34" charset="0"/>
              </a:rPr>
              <a:t>ခင္းျဖစ္သည</a:t>
            </a:r>
            <a:r>
              <a:rPr lang="en-GB" sz="1400" dirty="0">
                <a:latin typeface="Zawgyi-One" panose="020B0604030504040204" pitchFamily="34" charset="0"/>
                <a:cs typeface="Zawgyi-One" panose="020B0604030504040204" pitchFamily="34" charset="0"/>
              </a:rPr>
              <a:t>္။ </a:t>
            </a:r>
          </a:p>
          <a:p>
            <a:pPr marL="342900" marR="0" lvl="0" indent="-34290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ကၽြ</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န္ပ္တုိ</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ဖြဲ႔အစည္းကုိယ္စားျပဳသူ</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ည္သူမဆုိ</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မ်ားအေပ</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ၚ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င</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စြာျပဳမူရန</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 </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Save the Children ၏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သားစုတစ္ဦး</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ဖစ္သည</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ညီ</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ယံုၾကည္မႈရာထူးကုိ</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ဘယ္ေတာ့ခါမ</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ခ်ိဳးေဖာက္ပ</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p>
          <a:p>
            <a:pPr marL="342900" marR="0" lvl="0" indent="-34290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dirty="0" err="1">
                <a:latin typeface="Zawgyi-One" panose="020B0604030504040204" pitchFamily="34" charset="0"/>
                <a:cs typeface="Zawgyi-One" panose="020B0604030504040204" pitchFamily="34" charset="0"/>
              </a:rPr>
              <a:t>အဖြဲ႔အစည္းကုိယ္စားျပဳသူတုိင္းသည</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အဖြဲ႔အစည္း</a:t>
            </a:r>
            <a:r>
              <a:rPr lang="en-US" sz="1400" dirty="0">
                <a:latin typeface="Zawgyi-One" panose="020B0604030504040204" pitchFamily="34" charset="0"/>
                <a:cs typeface="Zawgyi-One" panose="020B0604030504040204" pitchFamily="34" charset="0"/>
              </a:rPr>
              <a:t>ႏွင့္</a:t>
            </a:r>
            <a:r>
              <a:rPr lang="en-US" sz="1400" dirty="0" err="1">
                <a:latin typeface="Zawgyi-One" panose="020B0604030504040204" pitchFamily="34" charset="0"/>
                <a:cs typeface="Zawgyi-One" panose="020B0604030504040204" pitchFamily="34" charset="0"/>
              </a:rPr>
              <a:t>ဆက</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ယ္ပက္သက္သည</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ကေလးမ်ားအတြက</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လံုျခံဳေသာ</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ပတ္ဝန္းက်င္ကုိ</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ဖန္တီးရမည</a:t>
            </a:r>
            <a:r>
              <a:rPr lang="en-US" sz="1400" dirty="0">
                <a:latin typeface="Zawgyi-One" panose="020B0604030504040204" pitchFamily="34" charset="0"/>
                <a:cs typeface="Zawgyi-One" panose="020B0604030504040204" pitchFamily="34" charset="0"/>
              </a:rPr>
              <a:t>္။ </a:t>
            </a:r>
          </a:p>
          <a:p>
            <a:pPr marR="0" lvl="0" defTabSz="457200" rtl="0" eaLnBrk="1" fontAlgn="auto" latinLnBrk="0" hangingPunct="1">
              <a:lnSpc>
                <a:spcPct val="150000"/>
              </a:lnSpc>
              <a:spcBef>
                <a:spcPts val="0"/>
              </a:spcBef>
              <a:spcAft>
                <a:spcPts val="0"/>
              </a:spcAft>
              <a:buClrTx/>
              <a:buSzTx/>
              <a:tabLst/>
              <a:defRPr/>
            </a:pP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၄င္းသည္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ခံဳေသာ</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ညႊန္းပုိ</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a:t>
            </a:r>
            <a:r>
              <a:rPr lang="en-GB" sz="1400" dirty="0">
                <a:latin typeface="Zawgyi-One" panose="020B0604030504040204" pitchFamily="34" charset="0"/>
                <a:cs typeface="Zawgyi-One" panose="020B0604030504040204" pitchFamily="34" charset="0"/>
              </a:rPr>
              <a:t> </a:t>
            </a:r>
            <a:r>
              <a:rPr lang="en-GB" sz="1400" dirty="0" err="1">
                <a:latin typeface="Zawgyi-One" panose="020B0604030504040204" pitchFamily="34" charset="0"/>
                <a:cs typeface="Zawgyi-One" panose="020B0604030504040204" pitchFamily="34" charset="0"/>
              </a:rPr>
              <a:t>ေဖာ္ထုတ</a:t>
            </a:r>
            <a:r>
              <a:rPr lang="en-GB" sz="1400" dirty="0">
                <a:latin typeface="Zawgyi-One" panose="020B0604030504040204" pitchFamily="34" charset="0"/>
                <a:cs typeface="Zawgyi-One" panose="020B0604030504040204" pitchFamily="34" charset="0"/>
              </a:rPr>
              <a:t>္ျ</a:t>
            </a:r>
            <a:r>
              <a:rPr lang="en-GB" sz="1400" dirty="0" err="1">
                <a:latin typeface="Zawgyi-One" panose="020B0604030504040204" pitchFamily="34" charset="0"/>
                <a:cs typeface="Zawgyi-One" panose="020B0604030504040204" pitchFamily="34" charset="0"/>
              </a:rPr>
              <a:t>ခင္း</a:t>
            </a:r>
            <a:r>
              <a:rPr lang="en-GB" sz="1400" dirty="0">
                <a:latin typeface="Zawgyi-One" panose="020B0604030504040204" pitchFamily="34" charset="0"/>
                <a:cs typeface="Zawgyi-One" panose="020B0604030504040204" pitchFamily="34" charset="0"/>
              </a:rPr>
              <a:t>၌ </a:t>
            </a:r>
            <a:r>
              <a:rPr lang="en-GB" sz="1400" dirty="0" err="1">
                <a:latin typeface="Zawgyi-One" panose="020B0604030504040204" pitchFamily="34" charset="0"/>
                <a:cs typeface="Zawgyi-One" panose="020B0604030504040204" pitchFamily="34" charset="0"/>
              </a:rPr>
              <a:t>က်င</a:t>
            </a:r>
            <a:r>
              <a:rPr lang="en-GB" sz="1400" dirty="0">
                <a:latin typeface="Zawgyi-One" panose="020B0604030504040204" pitchFamily="34" charset="0"/>
                <a:cs typeface="Zawgyi-One" panose="020B0604030504040204" pitchFamily="34" charset="0"/>
              </a:rPr>
              <a:t>့္</a:t>
            </a:r>
            <a:r>
              <a:rPr lang="en-GB" sz="1400" dirty="0" err="1">
                <a:latin typeface="Zawgyi-One" panose="020B0604030504040204" pitchFamily="34" charset="0"/>
                <a:cs typeface="Zawgyi-One" panose="020B0604030504040204" pitchFamily="34" charset="0"/>
              </a:rPr>
              <a:t>သံုးသည</a:t>
            </a:r>
            <a:r>
              <a:rPr lang="en-GB" sz="1400" dirty="0">
                <a:latin typeface="Zawgyi-One" panose="020B0604030504040204" pitchFamily="34" charset="0"/>
                <a:cs typeface="Zawgyi-One" panose="020B0604030504040204" pitchFamily="34" charset="0"/>
              </a:rPr>
              <a:t>္။ </a:t>
            </a:r>
            <a:endPar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custDataLst>
      <p:tags r:id="rId1"/>
    </p:custDataLst>
    <p:extLst>
      <p:ext uri="{BB962C8B-B14F-4D97-AF65-F5344CB8AC3E}">
        <p14:creationId xmlns:p14="http://schemas.microsoft.com/office/powerpoint/2010/main" val="768375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9EBF2F-640A-CD42-96B0-38F46AE8D438}"/>
              </a:ext>
            </a:extLst>
          </p:cNvPr>
          <p:cNvSpPr>
            <a:spLocks noGrp="1"/>
          </p:cNvSpPr>
          <p:nvPr>
            <p:ph type="title"/>
          </p:nvPr>
        </p:nvSpPr>
        <p:spPr>
          <a:xfrm>
            <a:off x="532211" y="186532"/>
            <a:ext cx="5882637" cy="766244"/>
          </a:xfrm>
        </p:spPr>
        <p:txBody>
          <a:bodyPr>
            <a:normAutofit/>
          </a:bodyPr>
          <a:lstStyle/>
          <a:p>
            <a:pPr>
              <a:defRPr/>
            </a:pPr>
            <a:r>
              <a:rPr lang="en-AU" dirty="0"/>
              <a:t>IASC intervention pyramid</a:t>
            </a:r>
            <a:endParaRPr lang="en-US" dirty="0"/>
          </a:p>
        </p:txBody>
      </p:sp>
      <p:sp>
        <p:nvSpPr>
          <p:cNvPr id="9" name="Freeform 8">
            <a:extLst>
              <a:ext uri="{FF2B5EF4-FFF2-40B4-BE49-F238E27FC236}">
                <a16:creationId xmlns:a16="http://schemas.microsoft.com/office/drawing/2014/main" id="{3AC51757-4BAA-B74E-A85D-004E5DE59867}"/>
              </a:ext>
            </a:extLst>
          </p:cNvPr>
          <p:cNvSpPr/>
          <p:nvPr/>
        </p:nvSpPr>
        <p:spPr>
          <a:xfrm>
            <a:off x="5721460" y="1036864"/>
            <a:ext cx="1198266" cy="1389184"/>
          </a:xfrm>
          <a:custGeom>
            <a:avLst/>
            <a:gdLst>
              <a:gd name="connsiteX0" fmla="*/ 0 w 1597688"/>
              <a:gd name="connsiteY0" fmla="*/ 1389184 h 1389184"/>
              <a:gd name="connsiteX1" fmla="*/ 798844 w 1597688"/>
              <a:gd name="connsiteY1" fmla="*/ 0 h 1389184"/>
              <a:gd name="connsiteX2" fmla="*/ 798844 w 1597688"/>
              <a:gd name="connsiteY2" fmla="*/ 0 h 1389184"/>
              <a:gd name="connsiteX3" fmla="*/ 1597688 w 1597688"/>
              <a:gd name="connsiteY3" fmla="*/ 1389184 h 1389184"/>
              <a:gd name="connsiteX4" fmla="*/ 0 w 1597688"/>
              <a:gd name="connsiteY4" fmla="*/ 1389184 h 1389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7688" h="1389184">
                <a:moveTo>
                  <a:pt x="0" y="1389184"/>
                </a:moveTo>
                <a:lnTo>
                  <a:pt x="798844" y="0"/>
                </a:lnTo>
                <a:lnTo>
                  <a:pt x="798844" y="0"/>
                </a:lnTo>
                <a:lnTo>
                  <a:pt x="1597688" y="1389184"/>
                </a:lnTo>
                <a:lnTo>
                  <a:pt x="0" y="1389184"/>
                </a:ln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txBody>
          <a:bodyPr spcFirstLastPara="0" vert="horz" wrap="square" lIns="17780" tIns="17780" rIns="17780" bIns="17780" numCol="1" spcCol="1270" anchor="b" anchorCtr="0">
            <a:noAutofit/>
          </a:bodyPr>
          <a:lstStyle/>
          <a:p>
            <a:pPr algn="ctr" defTabSz="622300">
              <a:lnSpc>
                <a:spcPct val="90000"/>
              </a:lnSpc>
              <a:spcBef>
                <a:spcPct val="0"/>
              </a:spcBef>
              <a:spcAft>
                <a:spcPct val="35000"/>
              </a:spcAft>
            </a:pPr>
            <a:r>
              <a:rPr lang="en-US" sz="1400" dirty="0" err="1">
                <a:solidFill>
                  <a:srgbClr val="000000"/>
                </a:solidFill>
                <a:latin typeface="Zawgyi-One" panose="020B0604030504040204" pitchFamily="34" charset="0"/>
                <a:cs typeface="Zawgyi-One" panose="020B0604030504040204" pitchFamily="34" charset="0"/>
              </a:rPr>
              <a:t>ကုသေရး</a:t>
            </a:r>
            <a:endParaRPr lang="en-US" sz="1400" dirty="0">
              <a:solidFill>
                <a:srgbClr val="000000"/>
              </a:solidFill>
              <a:latin typeface="Zawgyi-One" panose="020B0604030504040204" pitchFamily="34" charset="0"/>
              <a:cs typeface="Zawgyi-One" panose="020B0604030504040204" pitchFamily="34" charset="0"/>
            </a:endParaRPr>
          </a:p>
          <a:p>
            <a:pPr algn="ctr" defTabSz="622300">
              <a:lnSpc>
                <a:spcPct val="90000"/>
              </a:lnSpc>
              <a:spcBef>
                <a:spcPct val="0"/>
              </a:spcBef>
              <a:spcAft>
                <a:spcPct val="35000"/>
              </a:spcAft>
            </a:pPr>
            <a:r>
              <a:rPr lang="en-US" sz="1400" dirty="0" err="1">
                <a:solidFill>
                  <a:srgbClr val="000000"/>
                </a:solidFill>
                <a:latin typeface="Zawgyi-One" panose="020B0604030504040204" pitchFamily="34" charset="0"/>
                <a:cs typeface="Zawgyi-One" panose="020B0604030504040204" pitchFamily="34" charset="0"/>
              </a:rPr>
              <a:t>ဆုိင္ရာ</a:t>
            </a:r>
            <a:r>
              <a:rPr lang="en-US" sz="1400" dirty="0">
                <a:solidFill>
                  <a:srgbClr val="000000"/>
                </a:solidFill>
                <a:latin typeface="Zawgyi-One" panose="020B0604030504040204" pitchFamily="34" charset="0"/>
                <a:cs typeface="Zawgyi-One" panose="020B0604030504040204" pitchFamily="34" charset="0"/>
              </a:rPr>
              <a:t> </a:t>
            </a:r>
            <a:r>
              <a:rPr lang="en-US" sz="1400" dirty="0" err="1">
                <a:solidFill>
                  <a:srgbClr val="000000"/>
                </a:solidFill>
                <a:latin typeface="Zawgyi-One" panose="020B0604030504040204" pitchFamily="34" charset="0"/>
                <a:cs typeface="Zawgyi-One" panose="020B0604030504040204" pitchFamily="34" charset="0"/>
              </a:rPr>
              <a:t>ဝန္ေဆာင္မႈမ်ား</a:t>
            </a:r>
            <a:endParaRPr lang="en-US" sz="1400" dirty="0">
              <a:solidFill>
                <a:srgbClr val="000000"/>
              </a:solidFill>
              <a:latin typeface="Zawgyi-One" panose="020B0604030504040204" pitchFamily="34" charset="0"/>
              <a:ea typeface="Zawgyi-One" charset="0"/>
              <a:cs typeface="Zawgyi-One" panose="020B0604030504040204" pitchFamily="34" charset="0"/>
            </a:endParaRPr>
          </a:p>
        </p:txBody>
      </p:sp>
      <p:sp>
        <p:nvSpPr>
          <p:cNvPr id="10" name="Freeform 9">
            <a:extLst>
              <a:ext uri="{FF2B5EF4-FFF2-40B4-BE49-F238E27FC236}">
                <a16:creationId xmlns:a16="http://schemas.microsoft.com/office/drawing/2014/main" id="{D4A7E36A-39EC-EC42-9DFC-894C199AE763}"/>
              </a:ext>
            </a:extLst>
          </p:cNvPr>
          <p:cNvSpPr/>
          <p:nvPr/>
        </p:nvSpPr>
        <p:spPr>
          <a:xfrm>
            <a:off x="5122327" y="2426048"/>
            <a:ext cx="2396532" cy="1389184"/>
          </a:xfrm>
          <a:custGeom>
            <a:avLst/>
            <a:gdLst>
              <a:gd name="connsiteX0" fmla="*/ 0 w 3195376"/>
              <a:gd name="connsiteY0" fmla="*/ 1389184 h 1389184"/>
              <a:gd name="connsiteX1" fmla="*/ 798850 w 3195376"/>
              <a:gd name="connsiteY1" fmla="*/ 0 h 1389184"/>
              <a:gd name="connsiteX2" fmla="*/ 2396526 w 3195376"/>
              <a:gd name="connsiteY2" fmla="*/ 0 h 1389184"/>
              <a:gd name="connsiteX3" fmla="*/ 3195376 w 3195376"/>
              <a:gd name="connsiteY3" fmla="*/ 1389184 h 1389184"/>
              <a:gd name="connsiteX4" fmla="*/ 0 w 3195376"/>
              <a:gd name="connsiteY4" fmla="*/ 1389184 h 1389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5376" h="1389184">
                <a:moveTo>
                  <a:pt x="0" y="1389184"/>
                </a:moveTo>
                <a:lnTo>
                  <a:pt x="798850" y="0"/>
                </a:lnTo>
                <a:lnTo>
                  <a:pt x="2396526" y="0"/>
                </a:lnTo>
                <a:lnTo>
                  <a:pt x="3195376" y="1389184"/>
                </a:lnTo>
                <a:lnTo>
                  <a:pt x="0" y="1389184"/>
                </a:ln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txBody>
          <a:bodyPr spcFirstLastPara="0" vert="horz" wrap="square" lIns="579510" tIns="20320" rIns="579512" bIns="20320" numCol="1" spcCol="1270" anchor="ctr" anchorCtr="0">
            <a:noAutofit/>
          </a:bodyPr>
          <a:lstStyle/>
          <a:p>
            <a:pPr algn="ctr" defTabSz="711200">
              <a:spcBef>
                <a:spcPct val="0"/>
              </a:spcBef>
              <a:spcAft>
                <a:spcPct val="35000"/>
              </a:spcAft>
            </a:pPr>
            <a:r>
              <a:rPr lang="en-US" sz="1600" dirty="0" err="1">
                <a:solidFill>
                  <a:srgbClr val="000000"/>
                </a:solidFill>
                <a:latin typeface="Zawgyi-One" panose="020B0604030504040204" pitchFamily="34" charset="0"/>
                <a:cs typeface="Zawgyi-One" panose="020B0604030504040204" pitchFamily="34" charset="0"/>
              </a:rPr>
              <a:t>လူမႈစိတ္ပုိင္းဆုိင္ရာ</a:t>
            </a:r>
            <a:r>
              <a:rPr lang="en-US" sz="1600" dirty="0">
                <a:solidFill>
                  <a:srgbClr val="000000"/>
                </a:solidFill>
                <a:latin typeface="Zawgyi-One" panose="020B0604030504040204" pitchFamily="34" charset="0"/>
                <a:cs typeface="Zawgyi-One" panose="020B0604030504040204" pitchFamily="34" charset="0"/>
              </a:rPr>
              <a:t> </a:t>
            </a:r>
            <a:r>
              <a:rPr lang="en-US" sz="1600" dirty="0" err="1">
                <a:solidFill>
                  <a:srgbClr val="000000"/>
                </a:solidFill>
                <a:latin typeface="Zawgyi-One" panose="020B0604030504040204" pitchFamily="34" charset="0"/>
                <a:cs typeface="Zawgyi-One" panose="020B0604030504040204" pitchFamily="34" charset="0"/>
              </a:rPr>
              <a:t>အေထာက္အပံ့မ်ားကို</a:t>
            </a:r>
            <a:r>
              <a:rPr lang="en-US" sz="1600" dirty="0">
                <a:solidFill>
                  <a:srgbClr val="000000"/>
                </a:solidFill>
                <a:latin typeface="Zawgyi-One" panose="020B0604030504040204" pitchFamily="34" charset="0"/>
                <a:cs typeface="Zawgyi-One" panose="020B0604030504040204" pitchFamily="34" charset="0"/>
              </a:rPr>
              <a:t> </a:t>
            </a:r>
            <a:r>
              <a:rPr lang="en-US" sz="1600" dirty="0" err="1">
                <a:solidFill>
                  <a:srgbClr val="000000"/>
                </a:solidFill>
                <a:latin typeface="Zawgyi-One" panose="020B0604030504040204" pitchFamily="34" charset="0"/>
                <a:cs typeface="Zawgyi-One" panose="020B0604030504040204" pitchFamily="34" charset="0"/>
              </a:rPr>
              <a:t>အာ႐ံုစုိက</a:t>
            </a:r>
            <a:r>
              <a:rPr lang="en-US" sz="1600" dirty="0">
                <a:solidFill>
                  <a:srgbClr val="000000"/>
                </a:solidFill>
                <a:latin typeface="Zawgyi-One" panose="020B0604030504040204" pitchFamily="34" charset="0"/>
                <a:cs typeface="Zawgyi-One" panose="020B0604030504040204" pitchFamily="34" charset="0"/>
              </a:rPr>
              <a:t>္ျ</a:t>
            </a:r>
            <a:r>
              <a:rPr lang="en-US" sz="1600" dirty="0" err="1">
                <a:solidFill>
                  <a:srgbClr val="000000"/>
                </a:solidFill>
                <a:latin typeface="Zawgyi-One" panose="020B0604030504040204" pitchFamily="34" charset="0"/>
                <a:cs typeface="Zawgyi-One" panose="020B0604030504040204" pitchFamily="34" charset="0"/>
              </a:rPr>
              <a:t>ခင္း</a:t>
            </a:r>
            <a:endParaRPr lang="en-US" sz="1600" dirty="0">
              <a:solidFill>
                <a:srgbClr val="000000"/>
              </a:solidFill>
              <a:latin typeface="Zawgyi-One" panose="020B0604030504040204" pitchFamily="34" charset="0"/>
              <a:ea typeface="Zawgyi-One" charset="0"/>
              <a:cs typeface="Zawgyi-One" panose="020B0604030504040204" pitchFamily="34" charset="0"/>
            </a:endParaRPr>
          </a:p>
        </p:txBody>
      </p:sp>
      <p:sp>
        <p:nvSpPr>
          <p:cNvPr id="11" name="Freeform 10">
            <a:extLst>
              <a:ext uri="{FF2B5EF4-FFF2-40B4-BE49-F238E27FC236}">
                <a16:creationId xmlns:a16="http://schemas.microsoft.com/office/drawing/2014/main" id="{71DE83E8-ADAD-2743-8E1B-7C7D856C05E5}"/>
              </a:ext>
            </a:extLst>
          </p:cNvPr>
          <p:cNvSpPr/>
          <p:nvPr/>
        </p:nvSpPr>
        <p:spPr>
          <a:xfrm>
            <a:off x="4523193" y="3815232"/>
            <a:ext cx="3594798" cy="1389184"/>
          </a:xfrm>
          <a:custGeom>
            <a:avLst/>
            <a:gdLst>
              <a:gd name="connsiteX0" fmla="*/ 0 w 4793064"/>
              <a:gd name="connsiteY0" fmla="*/ 1389184 h 1389184"/>
              <a:gd name="connsiteX1" fmla="*/ 798850 w 4793064"/>
              <a:gd name="connsiteY1" fmla="*/ 0 h 1389184"/>
              <a:gd name="connsiteX2" fmla="*/ 3994214 w 4793064"/>
              <a:gd name="connsiteY2" fmla="*/ 0 h 1389184"/>
              <a:gd name="connsiteX3" fmla="*/ 4793064 w 4793064"/>
              <a:gd name="connsiteY3" fmla="*/ 1389184 h 1389184"/>
              <a:gd name="connsiteX4" fmla="*/ 0 w 4793064"/>
              <a:gd name="connsiteY4" fmla="*/ 1389184 h 1389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3064" h="1389184">
                <a:moveTo>
                  <a:pt x="0" y="1389184"/>
                </a:moveTo>
                <a:lnTo>
                  <a:pt x="798850" y="0"/>
                </a:lnTo>
                <a:lnTo>
                  <a:pt x="3994214" y="0"/>
                </a:lnTo>
                <a:lnTo>
                  <a:pt x="4793064" y="1389184"/>
                </a:lnTo>
                <a:lnTo>
                  <a:pt x="0" y="1389184"/>
                </a:ln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861647" tIns="22860" rIns="861646" bIns="22860" numCol="1" spcCol="1270" anchor="ctr" anchorCtr="0">
            <a:noAutofit/>
          </a:bodyPr>
          <a:lstStyle/>
          <a:p>
            <a:pPr algn="ctr" defTabSz="800100">
              <a:lnSpc>
                <a:spcPct val="90000"/>
              </a:lnSpc>
              <a:spcBef>
                <a:spcPct val="0"/>
              </a:spcBef>
              <a:spcAft>
                <a:spcPct val="35000"/>
              </a:spcAft>
            </a:pPr>
            <a:r>
              <a:rPr lang="en-US" dirty="0" err="1">
                <a:solidFill>
                  <a:srgbClr val="000000"/>
                </a:solidFill>
                <a:latin typeface="Zawgyi-One" panose="020B0604030504040204" pitchFamily="34" charset="0"/>
                <a:cs typeface="Zawgyi-One" panose="020B0604030504040204" pitchFamily="34" charset="0"/>
              </a:rPr>
              <a:t>ရပ္ရြာ</a:t>
            </a:r>
            <a:r>
              <a:rPr lang="en-US" dirty="0">
                <a:solidFill>
                  <a:srgbClr val="000000"/>
                </a:solidFill>
                <a:latin typeface="Zawgyi-One" panose="020B0604030504040204" pitchFamily="34" charset="0"/>
                <a:cs typeface="Zawgyi-One" panose="020B0604030504040204" pitchFamily="34" charset="0"/>
              </a:rPr>
              <a:t>ႏွ</a:t>
            </a:r>
            <a:r>
              <a:rPr lang="en-US" dirty="0" err="1">
                <a:solidFill>
                  <a:srgbClr val="000000"/>
                </a:solidFill>
                <a:latin typeface="Zawgyi-One" panose="020B0604030504040204" pitchFamily="34" charset="0"/>
                <a:cs typeface="Zawgyi-One" panose="020B0604030504040204" pitchFamily="34" charset="0"/>
              </a:rPr>
              <a:t>င</a:t>
            </a:r>
            <a:r>
              <a:rPr lang="en-US" dirty="0">
                <a:solidFill>
                  <a:srgbClr val="000000"/>
                </a:solidFill>
                <a:latin typeface="Zawgyi-One" panose="020B0604030504040204" pitchFamily="34" charset="0"/>
                <a:cs typeface="Zawgyi-One" panose="020B0604030504040204" pitchFamily="34" charset="0"/>
              </a:rPr>
              <a:t>့္ </a:t>
            </a:r>
            <a:r>
              <a:rPr lang="en-US" dirty="0" err="1">
                <a:solidFill>
                  <a:srgbClr val="000000"/>
                </a:solidFill>
                <a:latin typeface="Zawgyi-One" panose="020B0604030504040204" pitchFamily="34" charset="0"/>
                <a:cs typeface="Zawgyi-One" panose="020B0604030504040204" pitchFamily="34" charset="0"/>
              </a:rPr>
              <a:t>မိသားစု</a:t>
            </a:r>
            <a:r>
              <a:rPr lang="en-US" dirty="0">
                <a:solidFill>
                  <a:srgbClr val="000000"/>
                </a:solidFill>
                <a:latin typeface="Zawgyi-One" panose="020B0604030504040204" pitchFamily="34" charset="0"/>
                <a:cs typeface="Zawgyi-One" panose="020B0604030504040204" pitchFamily="34" charset="0"/>
              </a:rPr>
              <a:t> </a:t>
            </a:r>
            <a:r>
              <a:rPr lang="en-US" dirty="0" err="1">
                <a:solidFill>
                  <a:srgbClr val="000000"/>
                </a:solidFill>
                <a:latin typeface="Zawgyi-One" panose="020B0604030504040204" pitchFamily="34" charset="0"/>
                <a:cs typeface="Zawgyi-One" panose="020B0604030504040204" pitchFamily="34" charset="0"/>
              </a:rPr>
              <a:t>အေထာက္အပံ့မ်ားကို</a:t>
            </a:r>
            <a:r>
              <a:rPr lang="en-US" dirty="0">
                <a:solidFill>
                  <a:srgbClr val="000000"/>
                </a:solidFill>
                <a:latin typeface="Zawgyi-One" panose="020B0604030504040204" pitchFamily="34" charset="0"/>
                <a:cs typeface="Zawgyi-One" panose="020B0604030504040204" pitchFamily="34" charset="0"/>
              </a:rPr>
              <a:t> </a:t>
            </a:r>
            <a:r>
              <a:rPr lang="en-US" dirty="0" err="1">
                <a:solidFill>
                  <a:srgbClr val="000000"/>
                </a:solidFill>
                <a:latin typeface="Zawgyi-One" panose="020B0604030504040204" pitchFamily="34" charset="0"/>
                <a:cs typeface="Zawgyi-One" panose="020B0604030504040204" pitchFamily="34" charset="0"/>
              </a:rPr>
              <a:t>ပုိမုိအားေကာင္းလာေစျခင္း</a:t>
            </a:r>
            <a:endParaRPr lang="en-US" dirty="0">
              <a:solidFill>
                <a:srgbClr val="000000"/>
              </a:solidFill>
              <a:latin typeface="Zawgyi-One" panose="020B0604030504040204" pitchFamily="34" charset="0"/>
              <a:ea typeface="Zawgyi-One" charset="0"/>
              <a:cs typeface="Zawgyi-One" panose="020B0604030504040204" pitchFamily="34" charset="0"/>
            </a:endParaRPr>
          </a:p>
        </p:txBody>
      </p:sp>
      <p:sp>
        <p:nvSpPr>
          <p:cNvPr id="12" name="Freeform 11">
            <a:extLst>
              <a:ext uri="{FF2B5EF4-FFF2-40B4-BE49-F238E27FC236}">
                <a16:creationId xmlns:a16="http://schemas.microsoft.com/office/drawing/2014/main" id="{BD966A54-F967-2247-9295-664773F71A9D}"/>
              </a:ext>
            </a:extLst>
          </p:cNvPr>
          <p:cNvSpPr/>
          <p:nvPr/>
        </p:nvSpPr>
        <p:spPr>
          <a:xfrm>
            <a:off x="3924061" y="5204416"/>
            <a:ext cx="4793064" cy="1389184"/>
          </a:xfrm>
          <a:custGeom>
            <a:avLst/>
            <a:gdLst>
              <a:gd name="connsiteX0" fmla="*/ 0 w 6390752"/>
              <a:gd name="connsiteY0" fmla="*/ 1389184 h 1389184"/>
              <a:gd name="connsiteX1" fmla="*/ 798850 w 6390752"/>
              <a:gd name="connsiteY1" fmla="*/ 0 h 1389184"/>
              <a:gd name="connsiteX2" fmla="*/ 5591902 w 6390752"/>
              <a:gd name="connsiteY2" fmla="*/ 0 h 1389184"/>
              <a:gd name="connsiteX3" fmla="*/ 6390752 w 6390752"/>
              <a:gd name="connsiteY3" fmla="*/ 1389184 h 1389184"/>
              <a:gd name="connsiteX4" fmla="*/ 0 w 6390752"/>
              <a:gd name="connsiteY4" fmla="*/ 1389184 h 1389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90752" h="1389184">
                <a:moveTo>
                  <a:pt x="0" y="1389184"/>
                </a:moveTo>
                <a:lnTo>
                  <a:pt x="798850" y="0"/>
                </a:lnTo>
                <a:lnTo>
                  <a:pt x="5591902" y="0"/>
                </a:lnTo>
                <a:lnTo>
                  <a:pt x="6390752" y="1389184"/>
                </a:lnTo>
                <a:lnTo>
                  <a:pt x="0" y="1389184"/>
                </a:lnTo>
                <a:close/>
              </a:path>
            </a:pathLst>
          </a:custGeom>
          <a:scene3d>
            <a:camera prst="orthographicFront"/>
            <a:lightRig rig="threePt" dir="t">
              <a:rot lat="0" lon="0" rev="7500000"/>
            </a:lightRig>
          </a:scene3d>
          <a:sp3d prstMaterial="plastic">
            <a:bevelT w="127000" h="25400" prst="relaxedInset"/>
          </a:sp3d>
        </p:spPr>
        <p:style>
          <a:lnRef idx="0">
            <a:schemeClr val="lt1">
              <a:hueOff val="0"/>
              <a:satOff val="0"/>
              <a:lumOff val="0"/>
              <a:alphaOff val="0"/>
            </a:schemeClr>
          </a:lnRef>
          <a:fillRef idx="3">
            <a:schemeClr val="accent5">
              <a:hueOff val="0"/>
              <a:satOff val="0"/>
              <a:lumOff val="0"/>
              <a:alphaOff val="0"/>
            </a:schemeClr>
          </a:fillRef>
          <a:effectRef idx="2">
            <a:schemeClr val="accent5">
              <a:hueOff val="0"/>
              <a:satOff val="0"/>
              <a:lumOff val="0"/>
              <a:alphaOff val="0"/>
            </a:schemeClr>
          </a:effectRef>
          <a:fontRef idx="minor">
            <a:schemeClr val="lt1"/>
          </a:fontRef>
        </p:style>
        <p:txBody>
          <a:bodyPr spcFirstLastPara="0" vert="horz" wrap="square" lIns="1141241" tIns="22860" rIns="1141243" bIns="22860" numCol="1" spcCol="1270" anchor="ctr" anchorCtr="0">
            <a:noAutofit/>
          </a:bodyPr>
          <a:lstStyle/>
          <a:p>
            <a:pPr algn="ctr" defTabSz="800100">
              <a:lnSpc>
                <a:spcPct val="90000"/>
              </a:lnSpc>
              <a:spcBef>
                <a:spcPct val="0"/>
              </a:spcBef>
              <a:spcAft>
                <a:spcPct val="35000"/>
              </a:spcAft>
            </a:pPr>
            <a:r>
              <a:rPr lang="en-US" dirty="0" err="1">
                <a:solidFill>
                  <a:srgbClr val="000000"/>
                </a:solidFill>
                <a:latin typeface="Zawgyi-One" panose="020B0604030504040204" pitchFamily="34" charset="0"/>
                <a:cs typeface="Zawgyi-One" panose="020B0604030504040204" pitchFamily="34" charset="0"/>
              </a:rPr>
              <a:t>အေျခခံက်ေသာ</a:t>
            </a:r>
            <a:r>
              <a:rPr lang="en-US" dirty="0">
                <a:solidFill>
                  <a:srgbClr val="000000"/>
                </a:solidFill>
                <a:latin typeface="Zawgyi-One" panose="020B0604030504040204" pitchFamily="34" charset="0"/>
                <a:cs typeface="Zawgyi-One" panose="020B0604030504040204" pitchFamily="34" charset="0"/>
              </a:rPr>
              <a:t> </a:t>
            </a:r>
            <a:r>
              <a:rPr lang="en-US" dirty="0" err="1">
                <a:solidFill>
                  <a:srgbClr val="000000"/>
                </a:solidFill>
                <a:latin typeface="Zawgyi-One" panose="020B0604030504040204" pitchFamily="34" charset="0"/>
                <a:cs typeface="Zawgyi-One" panose="020B0604030504040204" pitchFamily="34" charset="0"/>
              </a:rPr>
              <a:t>ဝန္ေဆာင္မႈမ်ား</a:t>
            </a:r>
            <a:r>
              <a:rPr lang="en-US" dirty="0">
                <a:solidFill>
                  <a:srgbClr val="000000"/>
                </a:solidFill>
                <a:latin typeface="Zawgyi-One" panose="020B0604030504040204" pitchFamily="34" charset="0"/>
                <a:cs typeface="Zawgyi-One" panose="020B0604030504040204" pitchFamily="34" charset="0"/>
              </a:rPr>
              <a:t>ႏွ</a:t>
            </a:r>
            <a:r>
              <a:rPr lang="en-US" dirty="0" err="1">
                <a:solidFill>
                  <a:srgbClr val="000000"/>
                </a:solidFill>
                <a:latin typeface="Zawgyi-One" panose="020B0604030504040204" pitchFamily="34" charset="0"/>
                <a:cs typeface="Zawgyi-One" panose="020B0604030504040204" pitchFamily="34" charset="0"/>
              </a:rPr>
              <a:t>င</a:t>
            </a:r>
            <a:r>
              <a:rPr lang="en-US" dirty="0">
                <a:solidFill>
                  <a:srgbClr val="000000"/>
                </a:solidFill>
                <a:latin typeface="Zawgyi-One" panose="020B0604030504040204" pitchFamily="34" charset="0"/>
                <a:cs typeface="Zawgyi-One" panose="020B0604030504040204" pitchFamily="34" charset="0"/>
              </a:rPr>
              <a:t>့္ </a:t>
            </a:r>
            <a:r>
              <a:rPr lang="en-US" dirty="0" err="1">
                <a:solidFill>
                  <a:srgbClr val="000000"/>
                </a:solidFill>
                <a:latin typeface="Zawgyi-One" panose="020B0604030504040204" pitchFamily="34" charset="0"/>
                <a:cs typeface="Zawgyi-One" panose="020B0604030504040204" pitchFamily="34" charset="0"/>
              </a:rPr>
              <a:t>လံုၿခံဳေရးအတြက</a:t>
            </a:r>
            <a:r>
              <a:rPr lang="en-US" dirty="0">
                <a:solidFill>
                  <a:srgbClr val="000000"/>
                </a:solidFill>
                <a:latin typeface="Zawgyi-One" panose="020B0604030504040204" pitchFamily="34" charset="0"/>
                <a:cs typeface="Zawgyi-One" panose="020B0604030504040204" pitchFamily="34" charset="0"/>
              </a:rPr>
              <a:t>္ </a:t>
            </a:r>
            <a:r>
              <a:rPr lang="en-US" dirty="0" err="1">
                <a:solidFill>
                  <a:srgbClr val="000000"/>
                </a:solidFill>
                <a:latin typeface="Zawgyi-One" panose="020B0604030504040204" pitchFamily="34" charset="0"/>
                <a:cs typeface="Zawgyi-One" panose="020B0604030504040204" pitchFamily="34" charset="0"/>
              </a:rPr>
              <a:t>ထည</a:t>
            </a:r>
            <a:r>
              <a:rPr lang="en-US" dirty="0">
                <a:solidFill>
                  <a:srgbClr val="000000"/>
                </a:solidFill>
                <a:latin typeface="Zawgyi-One" panose="020B0604030504040204" pitchFamily="34" charset="0"/>
                <a:cs typeface="Zawgyi-One" panose="020B0604030504040204" pitchFamily="34" charset="0"/>
              </a:rPr>
              <a:t>့္</a:t>
            </a:r>
            <a:r>
              <a:rPr lang="en-US" dirty="0" err="1">
                <a:solidFill>
                  <a:srgbClr val="000000"/>
                </a:solidFill>
                <a:latin typeface="Zawgyi-One" panose="020B0604030504040204" pitchFamily="34" charset="0"/>
                <a:cs typeface="Zawgyi-One" panose="020B0604030504040204" pitchFamily="34" charset="0"/>
              </a:rPr>
              <a:t>သြင္းစဥ္းစားျခင္း</a:t>
            </a:r>
            <a:endParaRPr lang="en-US" dirty="0">
              <a:solidFill>
                <a:srgbClr val="000000"/>
              </a:solidFill>
              <a:latin typeface="Zawgyi-One" panose="020B0604030504040204" pitchFamily="34" charset="0"/>
              <a:ea typeface="Zawgyi-One" charset="0"/>
              <a:cs typeface="Zawgyi-One" panose="020B0604030504040204" pitchFamily="34" charset="0"/>
            </a:endParaRPr>
          </a:p>
        </p:txBody>
      </p:sp>
      <p:sp>
        <p:nvSpPr>
          <p:cNvPr id="5" name="TextBox 4">
            <a:extLst>
              <a:ext uri="{FF2B5EF4-FFF2-40B4-BE49-F238E27FC236}">
                <a16:creationId xmlns:a16="http://schemas.microsoft.com/office/drawing/2014/main" id="{CB9052E6-337E-F540-8AB3-0557FE4E7024}"/>
              </a:ext>
            </a:extLst>
          </p:cNvPr>
          <p:cNvSpPr txBox="1"/>
          <p:nvPr/>
        </p:nvSpPr>
        <p:spPr>
          <a:xfrm>
            <a:off x="556022" y="1497015"/>
            <a:ext cx="5304234" cy="584775"/>
          </a:xfrm>
          <a:prstGeom prst="rect">
            <a:avLst/>
          </a:prstGeom>
        </p:spPr>
        <p:style>
          <a:lnRef idx="2">
            <a:schemeClr val="accent6"/>
          </a:lnRef>
          <a:fillRef idx="1">
            <a:schemeClr val="lt1"/>
          </a:fillRef>
          <a:effectRef idx="0">
            <a:schemeClr val="accent6"/>
          </a:effectRef>
          <a:fontRef idx="minor">
            <a:schemeClr val="dk1"/>
          </a:fontRef>
        </p:style>
        <p:txBody>
          <a:bodyPr>
            <a:spAutoFit/>
          </a:bodyPr>
          <a:lstStyle>
            <a:lvl1pPr>
              <a:lnSpc>
                <a:spcPct val="90000"/>
              </a:lnSpc>
              <a:spcBef>
                <a:spcPts val="1000"/>
              </a:spcBef>
              <a:buFont typeface="Arial" panose="020B0604020202020204" pitchFamily="34" charset="0"/>
              <a:buChar char="•"/>
              <a:defRPr sz="2800">
                <a:solidFill>
                  <a:schemeClr val="tx1"/>
                </a:solidFill>
                <a:latin typeface="Zawgyi-One" panose="020B060403050404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Zawgyi-One" panose="020B060403050404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Zawgyi-One" panose="020B060403050404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9pPr>
          </a:lstStyle>
          <a:p>
            <a:pPr defTabSz="914400">
              <a:lnSpc>
                <a:spcPct val="100000"/>
              </a:lnSpc>
              <a:spcBef>
                <a:spcPct val="0"/>
              </a:spcBef>
              <a:buFontTx/>
              <a:buNone/>
            </a:pPr>
            <a:r>
              <a:rPr lang="mr-IN" altLang="en-US" sz="1600">
                <a:solidFill>
                  <a:srgbClr val="000000"/>
                </a:solidFill>
                <a:cs typeface="Zawgyi-One" panose="020B0604030504040204" pitchFamily="34" charset="0"/>
              </a:rPr>
              <a:t>စိတ္က်န္းမာေရးကုသမႈမ်ား (PHC ဝန္ထမ္းျဖစ္ေစ</a:t>
            </a:r>
            <a:r>
              <a:rPr lang="en-US" altLang="en-US" sz="1600">
                <a:solidFill>
                  <a:srgbClr val="000000"/>
                </a:solidFill>
                <a:cs typeface="Zawgyi-One" panose="020B0604030504040204" pitchFamily="34" charset="0"/>
              </a:rPr>
              <a:t> </a:t>
            </a:r>
            <a:r>
              <a:rPr lang="mr-IN" altLang="en-US" sz="1600">
                <a:solidFill>
                  <a:srgbClr val="000000"/>
                </a:solidFill>
                <a:cs typeface="Zawgyi-One" panose="020B0604030504040204" pitchFamily="34" charset="0"/>
              </a:rPr>
              <a:t>စိတ္က်န္းမာေရး</a:t>
            </a:r>
            <a:r>
              <a:rPr lang="en-US" altLang="en-US" sz="1600">
                <a:solidFill>
                  <a:srgbClr val="000000"/>
                </a:solidFill>
                <a:cs typeface="Zawgyi-One" panose="020B0604030504040204" pitchFamily="34" charset="0"/>
              </a:rPr>
              <a:t> </a:t>
            </a:r>
            <a:r>
              <a:rPr lang="mr-IN" altLang="en-US" sz="1600">
                <a:solidFill>
                  <a:srgbClr val="000000"/>
                </a:solidFill>
                <a:cs typeface="Zawgyi-One" panose="020B0604030504040204" pitchFamily="34" charset="0"/>
              </a:rPr>
              <a:t>ပညာရွင္ျဖစ္ေစ)</a:t>
            </a:r>
            <a:endParaRPr lang="en-US" altLang="en-US" sz="1600">
              <a:solidFill>
                <a:srgbClr val="000000"/>
              </a:solidFill>
              <a:cs typeface="Zawgyi-One" panose="020B0604030504040204" pitchFamily="34" charset="0"/>
            </a:endParaRPr>
          </a:p>
        </p:txBody>
      </p:sp>
      <p:sp>
        <p:nvSpPr>
          <p:cNvPr id="6" name="TextBox 5">
            <a:extLst>
              <a:ext uri="{FF2B5EF4-FFF2-40B4-BE49-F238E27FC236}">
                <a16:creationId xmlns:a16="http://schemas.microsoft.com/office/drawing/2014/main" id="{2EE97055-EFCB-8E4D-BCCF-B1A7AF8E7C5E}"/>
              </a:ext>
            </a:extLst>
          </p:cNvPr>
          <p:cNvSpPr txBox="1"/>
          <p:nvPr/>
        </p:nvSpPr>
        <p:spPr>
          <a:xfrm>
            <a:off x="556024" y="4059240"/>
            <a:ext cx="4326731" cy="830997"/>
          </a:xfrm>
          <a:prstGeom prst="rect">
            <a:avLst/>
          </a:prstGeom>
        </p:spPr>
        <p:style>
          <a:lnRef idx="2">
            <a:schemeClr val="accent6"/>
          </a:lnRef>
          <a:fillRef idx="1">
            <a:schemeClr val="lt1"/>
          </a:fillRef>
          <a:effectRef idx="0">
            <a:schemeClr val="accent6"/>
          </a:effectRef>
          <a:fontRef idx="minor">
            <a:schemeClr val="dk1"/>
          </a:fontRef>
        </p:style>
        <p:txBody>
          <a:bodyPr>
            <a:spAutoFit/>
          </a:bodyPr>
          <a:lstStyle>
            <a:lvl1pPr>
              <a:lnSpc>
                <a:spcPct val="90000"/>
              </a:lnSpc>
              <a:spcBef>
                <a:spcPts val="1000"/>
              </a:spcBef>
              <a:buFont typeface="Arial" panose="020B0604020202020204" pitchFamily="34" charset="0"/>
              <a:buChar char="•"/>
              <a:defRPr sz="2800">
                <a:solidFill>
                  <a:schemeClr val="tx1"/>
                </a:solidFill>
                <a:latin typeface="Zawgyi-One" panose="020B060403050404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Zawgyi-One" panose="020B060403050404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Zawgyi-One" panose="020B060403050404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9pPr>
          </a:lstStyle>
          <a:p>
            <a:pPr defTabSz="914400">
              <a:lnSpc>
                <a:spcPct val="100000"/>
              </a:lnSpc>
              <a:spcBef>
                <a:spcPct val="0"/>
              </a:spcBef>
              <a:buFontTx/>
              <a:buNone/>
            </a:pPr>
            <a:r>
              <a:rPr lang="en-US" altLang="en-US" sz="1600" dirty="0" err="1">
                <a:solidFill>
                  <a:srgbClr val="000000"/>
                </a:solidFill>
                <a:cs typeface="Zawgyi-One" panose="020B0604030504040204" pitchFamily="34" charset="0"/>
              </a:rPr>
              <a:t>လူမႈကြန္ယက္မ်ားကို</a:t>
            </a:r>
            <a:r>
              <a:rPr lang="en-US" altLang="en-US" sz="1600" dirty="0">
                <a:solidFill>
                  <a:srgbClr val="000000"/>
                </a:solidFill>
                <a:cs typeface="Zawgyi-One" panose="020B0604030504040204" pitchFamily="34" charset="0"/>
              </a:rPr>
              <a:t> </a:t>
            </a:r>
            <a:r>
              <a:rPr lang="en-US" altLang="en-US" sz="1600" dirty="0" err="1">
                <a:solidFill>
                  <a:srgbClr val="000000"/>
                </a:solidFill>
                <a:cs typeface="Zawgyi-One" panose="020B0604030504040204" pitchFamily="34" charset="0"/>
              </a:rPr>
              <a:t>အသက္ဝင္လာေစျခင္း</a:t>
            </a:r>
            <a:endParaRPr lang="en-US" altLang="en-US" sz="1600" dirty="0">
              <a:solidFill>
                <a:srgbClr val="000000"/>
              </a:solidFill>
              <a:cs typeface="Zawgyi-One" panose="020B0604030504040204" pitchFamily="34" charset="0"/>
            </a:endParaRPr>
          </a:p>
          <a:p>
            <a:pPr defTabSz="914400">
              <a:lnSpc>
                <a:spcPct val="100000"/>
              </a:lnSpc>
              <a:spcBef>
                <a:spcPct val="0"/>
              </a:spcBef>
              <a:buFontTx/>
              <a:buNone/>
            </a:pPr>
            <a:r>
              <a:rPr lang="en-US" altLang="en-US" sz="1600" dirty="0" err="1">
                <a:solidFill>
                  <a:srgbClr val="000000"/>
                </a:solidFill>
                <a:cs typeface="Zawgyi-One" panose="020B0604030504040204" pitchFamily="34" charset="0"/>
              </a:rPr>
              <a:t>ကေလးငယ္မ်ားအတြက</a:t>
            </a:r>
            <a:r>
              <a:rPr lang="en-US" altLang="en-US" sz="1600" dirty="0">
                <a:solidFill>
                  <a:srgbClr val="000000"/>
                </a:solidFill>
                <a:cs typeface="Zawgyi-One" panose="020B0604030504040204" pitchFamily="34" charset="0"/>
              </a:rPr>
              <a:t>္ </a:t>
            </a:r>
            <a:r>
              <a:rPr lang="en-US" altLang="en-US" sz="1600" dirty="0" err="1">
                <a:solidFill>
                  <a:srgbClr val="000000"/>
                </a:solidFill>
                <a:cs typeface="Zawgyi-One" panose="020B0604030504040204" pitchFamily="34" charset="0"/>
              </a:rPr>
              <a:t>သင</a:t>
            </a:r>
            <a:r>
              <a:rPr lang="en-US" altLang="en-US" sz="1600" dirty="0">
                <a:solidFill>
                  <a:srgbClr val="000000"/>
                </a:solidFill>
                <a:cs typeface="Zawgyi-One" panose="020B0604030504040204" pitchFamily="34" charset="0"/>
              </a:rPr>
              <a:t>့္ေတာ္ေသာေန၇ာ </a:t>
            </a:r>
            <a:r>
              <a:rPr lang="en-US" altLang="en-US" sz="1600" dirty="0" err="1">
                <a:solidFill>
                  <a:srgbClr val="000000"/>
                </a:solidFill>
                <a:cs typeface="Zawgyi-One" panose="020B0604030504040204" pitchFamily="34" charset="0"/>
              </a:rPr>
              <a:t>ဖန္တီးေပးျခင္း</a:t>
            </a:r>
            <a:endParaRPr lang="en-US" altLang="en-US" sz="1600" dirty="0">
              <a:solidFill>
                <a:srgbClr val="000000"/>
              </a:solidFill>
              <a:cs typeface="Zawgyi-One" panose="020B0604030504040204" pitchFamily="34" charset="0"/>
            </a:endParaRPr>
          </a:p>
        </p:txBody>
      </p:sp>
      <p:sp>
        <p:nvSpPr>
          <p:cNvPr id="7" name="TextBox 6">
            <a:extLst>
              <a:ext uri="{FF2B5EF4-FFF2-40B4-BE49-F238E27FC236}">
                <a16:creationId xmlns:a16="http://schemas.microsoft.com/office/drawing/2014/main" id="{14AE7246-F819-F04C-9184-5BFF08F4FD3D}"/>
              </a:ext>
            </a:extLst>
          </p:cNvPr>
          <p:cNvSpPr txBox="1"/>
          <p:nvPr/>
        </p:nvSpPr>
        <p:spPr>
          <a:xfrm>
            <a:off x="556023" y="2740025"/>
            <a:ext cx="4902994" cy="584200"/>
          </a:xfrm>
          <a:prstGeom prst="rect">
            <a:avLst/>
          </a:prstGeom>
        </p:spPr>
        <p:style>
          <a:lnRef idx="2">
            <a:schemeClr val="accent6"/>
          </a:lnRef>
          <a:fillRef idx="1">
            <a:schemeClr val="lt1"/>
          </a:fillRef>
          <a:effectRef idx="0">
            <a:schemeClr val="accent6"/>
          </a:effectRef>
          <a:fontRef idx="minor">
            <a:schemeClr val="dk1"/>
          </a:fontRef>
        </p:style>
        <p:txBody>
          <a:bodyPr>
            <a:spAutoFit/>
          </a:bodyPr>
          <a:lstStyle>
            <a:lvl1pPr>
              <a:lnSpc>
                <a:spcPct val="90000"/>
              </a:lnSpc>
              <a:spcBef>
                <a:spcPts val="1000"/>
              </a:spcBef>
              <a:buFont typeface="Arial" panose="020B0604020202020204" pitchFamily="34" charset="0"/>
              <a:buChar char="•"/>
              <a:defRPr sz="2800">
                <a:solidFill>
                  <a:schemeClr val="tx1"/>
                </a:solidFill>
                <a:latin typeface="Zawgyi-One" panose="020B060403050404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Zawgyi-One" panose="020B060403050404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Zawgyi-One" panose="020B060403050404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9pPr>
          </a:lstStyle>
          <a:p>
            <a:pPr defTabSz="914400">
              <a:lnSpc>
                <a:spcPct val="100000"/>
              </a:lnSpc>
              <a:spcBef>
                <a:spcPct val="0"/>
              </a:spcBef>
              <a:buFontTx/>
              <a:buNone/>
            </a:pPr>
            <a:r>
              <a:rPr lang="mr-IN" altLang="en-US" sz="1600">
                <a:solidFill>
                  <a:srgbClr val="000000"/>
                </a:solidFill>
                <a:cs typeface="Zawgyi-One" panose="020B0604030504040204" pitchFamily="34" charset="0"/>
              </a:rPr>
              <a:t>လူတစ္ဦးခ်င္း (သို႔) မိသားစုမ်ားကို လုိအပ္ေသာအေျခခံ စိတ္ခံစားမႈႏွင့္ လက္ေတြ႕က်ေသာ ပံ့ပုိးမႈမ်ား (ဥပမာ PFA)</a:t>
            </a:r>
            <a:endParaRPr lang="en-US" altLang="en-US" sz="1600" u="sng">
              <a:solidFill>
                <a:srgbClr val="FF0000"/>
              </a:solidFill>
              <a:cs typeface="Zawgyi-One" panose="020B0604030504040204" pitchFamily="34" charset="0"/>
            </a:endParaRPr>
          </a:p>
        </p:txBody>
      </p:sp>
      <p:sp>
        <p:nvSpPr>
          <p:cNvPr id="8" name="TextBox 7">
            <a:extLst>
              <a:ext uri="{FF2B5EF4-FFF2-40B4-BE49-F238E27FC236}">
                <a16:creationId xmlns:a16="http://schemas.microsoft.com/office/drawing/2014/main" id="{EA1CAD9A-EA8E-D448-97C2-0999B89AE05B}"/>
              </a:ext>
            </a:extLst>
          </p:cNvPr>
          <p:cNvSpPr txBox="1"/>
          <p:nvPr/>
        </p:nvSpPr>
        <p:spPr>
          <a:xfrm>
            <a:off x="556023" y="5299076"/>
            <a:ext cx="3929063" cy="1569660"/>
          </a:xfrm>
          <a:prstGeom prst="rect">
            <a:avLst/>
          </a:prstGeom>
        </p:spPr>
        <p:style>
          <a:lnRef idx="2">
            <a:schemeClr val="accent6"/>
          </a:lnRef>
          <a:fillRef idx="1">
            <a:schemeClr val="lt1"/>
          </a:fillRef>
          <a:effectRef idx="0">
            <a:schemeClr val="accent6"/>
          </a:effectRef>
          <a:fontRef idx="minor">
            <a:schemeClr val="dk1"/>
          </a:fontRef>
        </p:style>
        <p:txBody>
          <a:bodyPr>
            <a:spAutoFit/>
          </a:bodyPr>
          <a:lstStyle>
            <a:lvl1pPr>
              <a:lnSpc>
                <a:spcPct val="90000"/>
              </a:lnSpc>
              <a:spcBef>
                <a:spcPts val="1000"/>
              </a:spcBef>
              <a:buFont typeface="Arial" panose="020B0604020202020204" pitchFamily="34" charset="0"/>
              <a:buChar char="•"/>
              <a:defRPr sz="2800">
                <a:solidFill>
                  <a:schemeClr val="tx1"/>
                </a:solidFill>
                <a:latin typeface="Zawgyi-One" panose="020B060403050404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Zawgyi-One" panose="020B060403050404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Zawgyi-One" panose="020B060403050404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9pPr>
          </a:lstStyle>
          <a:p>
            <a:pPr defTabSz="914400">
              <a:lnSpc>
                <a:spcPct val="100000"/>
              </a:lnSpc>
              <a:spcBef>
                <a:spcPct val="0"/>
              </a:spcBef>
              <a:buFontTx/>
              <a:buNone/>
            </a:pPr>
            <a:r>
              <a:rPr lang="is-IS" altLang="en-US" sz="1600" dirty="0">
                <a:solidFill>
                  <a:srgbClr val="000000"/>
                </a:solidFill>
                <a:cs typeface="Zawgyi-One" panose="020B0604030504040204" pitchFamily="34" charset="0"/>
              </a:rPr>
              <a:t>ေကာင္းမြန္ေသာ လူသားခ်င္း စာနာေထာက္ထားမႈမ်ား အတြက္ ေထာက္ခံအားေပးျခင္း: အေျခခံက်ေသာ ဝန္ေဆာင္မႈမ်ားသည္ လံုၿခံဳမႈ၊ လူမႈပတ္ဝန္းက်င္ႏွင့္ သင့္ေတာ္မႈႏွင့္ ဂုဏ္သိကၡာကို ကာကြယ္ေပးမႈမ်ား ပါဝင္သည္။</a:t>
            </a:r>
            <a:endParaRPr lang="en-US" altLang="en-US" sz="1600" dirty="0">
              <a:solidFill>
                <a:srgbClr val="000000"/>
              </a:solidFill>
              <a:cs typeface="Zawgyi-One" panose="020B0604030504040204" pitchFamily="34" charset="0"/>
            </a:endParaRPr>
          </a:p>
        </p:txBody>
      </p:sp>
      <p:sp>
        <p:nvSpPr>
          <p:cNvPr id="38919" name="TextBox 8">
            <a:extLst>
              <a:ext uri="{FF2B5EF4-FFF2-40B4-BE49-F238E27FC236}">
                <a16:creationId xmlns:a16="http://schemas.microsoft.com/office/drawing/2014/main" id="{8DC9DB3D-6104-DF4D-AFF6-9657752954C7}"/>
              </a:ext>
            </a:extLst>
          </p:cNvPr>
          <p:cNvSpPr txBox="1">
            <a:spLocks noChangeArrowheads="1"/>
          </p:cNvSpPr>
          <p:nvPr/>
        </p:nvSpPr>
        <p:spPr bwMode="auto">
          <a:xfrm>
            <a:off x="532211" y="849313"/>
            <a:ext cx="111085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Zawgyi-One" panose="020B060403050404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Zawgyi-One" panose="020B060403050404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Zawgyi-One" panose="020B060403050404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Zawgyi-One" panose="020B060403050404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Zawgyi-One" panose="020B0604030504040204" pitchFamily="34" charset="0"/>
              </a:defRPr>
            </a:lvl9pPr>
          </a:lstStyle>
          <a:p>
            <a:pPr defTabSz="914400">
              <a:lnSpc>
                <a:spcPct val="100000"/>
              </a:lnSpc>
              <a:spcBef>
                <a:spcPct val="0"/>
              </a:spcBef>
              <a:buFontTx/>
              <a:buNone/>
            </a:pPr>
            <a:r>
              <a:rPr lang="en-US" altLang="en-US" sz="1600">
                <a:solidFill>
                  <a:srgbClr val="000000"/>
                </a:solidFill>
                <a:cs typeface="Zawgyi-One" panose="020B0604030504040204" pitchFamily="34" charset="0"/>
              </a:rPr>
              <a:t>ဥပမာမ်ား </a:t>
            </a:r>
          </a:p>
        </p:txBody>
      </p:sp>
      <p:sp>
        <p:nvSpPr>
          <p:cNvPr id="13" name="object 6">
            <a:extLst>
              <a:ext uri="{FF2B5EF4-FFF2-40B4-BE49-F238E27FC236}">
                <a16:creationId xmlns:a16="http://schemas.microsoft.com/office/drawing/2014/main" id="{55C2D018-91BC-45AC-ABFD-BB0FAC18FED0}"/>
              </a:ext>
            </a:extLst>
          </p:cNvPr>
          <p:cNvSpPr>
            <a:spLocks/>
          </p:cNvSpPr>
          <p:nvPr/>
        </p:nvSpPr>
        <p:spPr bwMode="auto">
          <a:xfrm>
            <a:off x="8426416" y="264051"/>
            <a:ext cx="716056" cy="358487"/>
          </a:xfrm>
          <a:custGeom>
            <a:avLst/>
            <a:gdLst>
              <a:gd name="T0" fmla="*/ 1240164 w 1240164"/>
              <a:gd name="T1" fmla="*/ 0 h 621360"/>
              <a:gd name="T2" fmla="*/ 104590 w 1240164"/>
              <a:gd name="T3" fmla="*/ 249 h 621360"/>
              <a:gd name="T4" fmla="*/ 53457 w 1240164"/>
              <a:gd name="T5" fmla="*/ 3897 h 621360"/>
              <a:gd name="T6" fmla="*/ 15760 w 1240164"/>
              <a:gd name="T7" fmla="*/ 22731 h 621360"/>
              <a:gd name="T8" fmla="*/ 1923 w 1240164"/>
              <a:gd name="T9" fmla="*/ 68505 h 621360"/>
              <a:gd name="T10" fmla="*/ 0 w 1240164"/>
              <a:gd name="T11" fmla="*/ 127719 h 621360"/>
              <a:gd name="T12" fmla="*/ 2 w 1240164"/>
              <a:gd name="T13" fmla="*/ 494344 h 621360"/>
              <a:gd name="T14" fmla="*/ 813 w 1240164"/>
              <a:gd name="T15" fmla="*/ 536336 h 621360"/>
              <a:gd name="T16" fmla="*/ 6706 w 1240164"/>
              <a:gd name="T17" fmla="*/ 580190 h 621360"/>
              <a:gd name="T18" fmla="*/ 31152 w 1240164"/>
              <a:gd name="T19" fmla="*/ 610799 h 621360"/>
              <a:gd name="T20" fmla="*/ 68477 w 1240164"/>
              <a:gd name="T21" fmla="*/ 619408 h 621360"/>
              <a:gd name="T22" fmla="*/ 1240164 w 1240164"/>
              <a:gd name="T23" fmla="*/ 621360 h 621360"/>
              <a:gd name="T24" fmla="*/ 1240164 w 1240164"/>
              <a:gd name="T25" fmla="*/ 0 h 62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0164" h="621360">
                <a:moveTo>
                  <a:pt x="1240164" y="0"/>
                </a:moveTo>
                <a:lnTo>
                  <a:pt x="104590" y="249"/>
                </a:lnTo>
                <a:lnTo>
                  <a:pt x="53457" y="3897"/>
                </a:lnTo>
                <a:lnTo>
                  <a:pt x="15760" y="22731"/>
                </a:lnTo>
                <a:lnTo>
                  <a:pt x="1923" y="68505"/>
                </a:lnTo>
                <a:lnTo>
                  <a:pt x="0" y="127719"/>
                </a:lnTo>
                <a:lnTo>
                  <a:pt x="2" y="494344"/>
                </a:lnTo>
                <a:lnTo>
                  <a:pt x="813" y="536336"/>
                </a:lnTo>
                <a:lnTo>
                  <a:pt x="6706" y="580190"/>
                </a:lnTo>
                <a:lnTo>
                  <a:pt x="31152" y="610799"/>
                </a:lnTo>
                <a:lnTo>
                  <a:pt x="68477" y="619408"/>
                </a:lnTo>
                <a:lnTo>
                  <a:pt x="1240164" y="621360"/>
                </a:lnTo>
                <a:lnTo>
                  <a:pt x="12401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sz="1040"/>
          </a:p>
        </p:txBody>
      </p:sp>
      <p:sp>
        <p:nvSpPr>
          <p:cNvPr id="14" name="object 7">
            <a:extLst>
              <a:ext uri="{FF2B5EF4-FFF2-40B4-BE49-F238E27FC236}">
                <a16:creationId xmlns:a16="http://schemas.microsoft.com/office/drawing/2014/main" id="{B58934D4-46F8-42EE-823B-51C57D476194}"/>
              </a:ext>
            </a:extLst>
          </p:cNvPr>
          <p:cNvSpPr txBox="1">
            <a:spLocks noChangeArrowheads="1"/>
          </p:cNvSpPr>
          <p:nvPr/>
        </p:nvSpPr>
        <p:spPr bwMode="auto">
          <a:xfrm>
            <a:off x="8503431" y="275053"/>
            <a:ext cx="319979" cy="316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12700">
              <a:defRPr>
                <a:solidFill>
                  <a:schemeClr val="tx1"/>
                </a:solidFill>
                <a:latin typeface="Gill Sans MT" panose="020B0502020104020203" pitchFamily="34" charset="0"/>
                <a:cs typeface="Arial" panose="020B0604020202020204" pitchFamily="34" charset="0"/>
              </a:defRPr>
            </a:lvl1pPr>
            <a:lvl2pPr marL="742950" indent="-285750">
              <a:defRPr>
                <a:solidFill>
                  <a:schemeClr val="tx1"/>
                </a:solidFill>
                <a:latin typeface="Gill Sans MT" panose="020B0502020104020203" pitchFamily="34" charset="0"/>
                <a:cs typeface="Arial" panose="020B0604020202020204" pitchFamily="34" charset="0"/>
              </a:defRPr>
            </a:lvl2pPr>
            <a:lvl3pPr marL="1143000" indent="-228600">
              <a:defRPr>
                <a:solidFill>
                  <a:schemeClr val="tx1"/>
                </a:solidFill>
                <a:latin typeface="Gill Sans MT" panose="020B0502020104020203" pitchFamily="34" charset="0"/>
                <a:cs typeface="Arial" panose="020B0604020202020204" pitchFamily="34" charset="0"/>
              </a:defRPr>
            </a:lvl3pPr>
            <a:lvl4pPr marL="1600200" indent="-228600">
              <a:defRPr>
                <a:solidFill>
                  <a:schemeClr val="tx1"/>
                </a:solidFill>
                <a:latin typeface="Gill Sans MT" panose="020B0502020104020203" pitchFamily="34" charset="0"/>
                <a:cs typeface="Arial" panose="020B0604020202020204" pitchFamily="34" charset="0"/>
              </a:defRPr>
            </a:lvl4pPr>
            <a:lvl5pPr marL="2057400" indent="-228600">
              <a:defRPr>
                <a:solidFill>
                  <a:schemeClr val="tx1"/>
                </a:solidFill>
                <a:latin typeface="Gill Sans MT" panose="020B0502020104020203" pitchFamily="34" charset="0"/>
                <a:cs typeface="Arial" panose="020B0604020202020204" pitchFamily="34" charset="0"/>
              </a:defRPr>
            </a:lvl5pPr>
            <a:lvl6pPr marL="25146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fontAlgn="base">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r>
              <a:rPr lang="en-US" altLang="en-US" sz="2021" b="1" dirty="0">
                <a:solidFill>
                  <a:srgbClr val="ED1C24"/>
                </a:solidFill>
                <a:latin typeface="Gill Sans" pitchFamily="34" charset="0"/>
                <a:cs typeface="Gill Sans" pitchFamily="34" charset="0"/>
              </a:rPr>
              <a:t>8</a:t>
            </a:r>
            <a:endParaRPr lang="en-US" altLang="en-US" sz="2021" dirty="0">
              <a:latin typeface="Gill Sans" pitchFamily="34" charset="0"/>
              <a:cs typeface="Gill Sans" pitchFamily="34" charset="0"/>
            </a:endParaRPr>
          </a:p>
        </p:txBody>
      </p:sp>
    </p:spTree>
    <p:extLst>
      <p:ext uri="{BB962C8B-B14F-4D97-AF65-F5344CB8AC3E}">
        <p14:creationId xmlns:p14="http://schemas.microsoft.com/office/powerpoint/2010/main" val="253006118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7A8D1-2ADF-49D0-968D-A6D15EE8402E}"/>
              </a:ext>
            </a:extLst>
          </p:cNvPr>
          <p:cNvSpPr>
            <a:spLocks noGrp="1"/>
          </p:cNvSpPr>
          <p:nvPr>
            <p:ph type="title"/>
          </p:nvPr>
        </p:nvSpPr>
        <p:spPr>
          <a:xfrm>
            <a:off x="251520" y="260648"/>
            <a:ext cx="7596554" cy="722784"/>
          </a:xfrm>
        </p:spPr>
        <p:txBody>
          <a:bodyPr/>
          <a:lstStyle/>
          <a:p>
            <a:r>
              <a:rPr lang="en-US" dirty="0"/>
              <a:t>We believe that:</a:t>
            </a:r>
          </a:p>
        </p:txBody>
      </p:sp>
      <p:sp>
        <p:nvSpPr>
          <p:cNvPr id="3" name="Content Placeholder 2">
            <a:extLst>
              <a:ext uri="{FF2B5EF4-FFF2-40B4-BE49-F238E27FC236}">
                <a16:creationId xmlns:a16="http://schemas.microsoft.com/office/drawing/2014/main" id="{E5A5C081-2C6F-486E-AD5A-AE96ED384B9D}"/>
              </a:ext>
            </a:extLst>
          </p:cNvPr>
          <p:cNvSpPr>
            <a:spLocks noGrp="1"/>
          </p:cNvSpPr>
          <p:nvPr>
            <p:ph idx="1"/>
          </p:nvPr>
        </p:nvSpPr>
        <p:spPr>
          <a:xfrm>
            <a:off x="251520" y="4090077"/>
            <a:ext cx="8640960" cy="1710221"/>
          </a:xfrm>
        </p:spPr>
        <p:txBody>
          <a:bodyPr>
            <a:noAutofit/>
          </a:bodyPr>
          <a:lstStyle/>
          <a:p>
            <a:pPr marL="342900" indent="-342900">
              <a:buFont typeface="Arial" panose="020B0604020202020204" pitchFamily="34" charset="0"/>
              <a:buChar char="•"/>
            </a:pPr>
            <a:endParaRPr lang="en-US" sz="1400" dirty="0"/>
          </a:p>
          <a:p>
            <a:pPr marL="342900" indent="-342900">
              <a:buFont typeface="Arial" panose="020B0604020202020204" pitchFamily="34" charset="0"/>
              <a:buChar char="•"/>
            </a:pPr>
            <a:r>
              <a:rPr lang="en-US" sz="1600" dirty="0"/>
              <a:t>anyone who represents our </a:t>
            </a:r>
            <a:r>
              <a:rPr lang="en-US" sz="1600" dirty="0" err="1"/>
              <a:t>organisation</a:t>
            </a:r>
            <a:r>
              <a:rPr lang="en-US" sz="1600" dirty="0"/>
              <a:t> must behave appropriately towards children </a:t>
            </a:r>
            <a:r>
              <a:rPr lang="en-US" sz="1600" b="1" dirty="0"/>
              <a:t>both in work and outside work </a:t>
            </a:r>
            <a:r>
              <a:rPr lang="en-US" sz="1600" dirty="0"/>
              <a:t>and </a:t>
            </a:r>
            <a:r>
              <a:rPr lang="en-US" sz="1600" b="1" dirty="0"/>
              <a:t>never abuses the position of trust that comes with being a part of the Save the Children family. </a:t>
            </a:r>
          </a:p>
          <a:p>
            <a:pPr marL="342900" indent="-342900">
              <a:buFont typeface="Arial" panose="020B0604020202020204" pitchFamily="34" charset="0"/>
              <a:buChar char="•"/>
            </a:pPr>
            <a:r>
              <a:rPr lang="en-US" sz="1600" dirty="0"/>
              <a:t>We must do everything we can to protect the child and the users of your services, respect children’s rights to protection, and ensure the safety and welfare of children that we work with. </a:t>
            </a:r>
          </a:p>
          <a:p>
            <a:pPr marL="342900" indent="-342900">
              <a:buFont typeface="Arial" panose="020B0604020202020204" pitchFamily="34" charset="0"/>
              <a:buChar char="•"/>
            </a:pPr>
            <a:endParaRPr lang="en-US" sz="1400" dirty="0"/>
          </a:p>
        </p:txBody>
      </p:sp>
      <p:sp>
        <p:nvSpPr>
          <p:cNvPr id="4" name="TextBox 3">
            <a:extLst>
              <a:ext uri="{FF2B5EF4-FFF2-40B4-BE49-F238E27FC236}">
                <a16:creationId xmlns:a16="http://schemas.microsoft.com/office/drawing/2014/main" id="{7095C3B8-0199-4D62-BDD6-2164CA006D68}"/>
              </a:ext>
            </a:extLst>
          </p:cNvPr>
          <p:cNvSpPr txBox="1"/>
          <p:nvPr/>
        </p:nvSpPr>
        <p:spPr>
          <a:xfrm>
            <a:off x="4260515" y="404664"/>
            <a:ext cx="4559957" cy="423193"/>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lang="en-US" sz="2000" dirty="0">
                <a:solidFill>
                  <a:schemeClr val="bg1"/>
                </a:solidFill>
                <a:latin typeface="Zawgyi-One" panose="020B0604030504040204" pitchFamily="34" charset="0"/>
                <a:cs typeface="Zawgyi-One" panose="020B0604030504040204" pitchFamily="34" charset="0"/>
              </a:rPr>
              <a:t>ကၽြ</a:t>
            </a:r>
            <a:r>
              <a:rPr lang="en-US" sz="2000" dirty="0" err="1">
                <a:solidFill>
                  <a:schemeClr val="bg1"/>
                </a:solidFill>
                <a:latin typeface="Zawgyi-One" panose="020B0604030504040204" pitchFamily="34" charset="0"/>
                <a:cs typeface="Zawgyi-One" panose="020B0604030504040204" pitchFamily="34" charset="0"/>
              </a:rPr>
              <a:t>န္ပ္တုိ႔သည</a:t>
            </a:r>
            <a:r>
              <a:rPr lang="en-US" sz="2000" dirty="0">
                <a:solidFill>
                  <a:schemeClr val="bg1"/>
                </a:solidFill>
                <a:latin typeface="Zawgyi-One" panose="020B0604030504040204" pitchFamily="34" charset="0"/>
                <a:cs typeface="Zawgyi-One" panose="020B0604030504040204" pitchFamily="34" charset="0"/>
              </a:rPr>
              <a:t>္ </a:t>
            </a:r>
            <a:r>
              <a:rPr lang="en-US" sz="2000" dirty="0" err="1">
                <a:solidFill>
                  <a:schemeClr val="bg1"/>
                </a:solidFill>
                <a:latin typeface="Zawgyi-One" panose="020B0604030504040204" pitchFamily="34" charset="0"/>
                <a:cs typeface="Zawgyi-One" panose="020B0604030504040204" pitchFamily="34" charset="0"/>
              </a:rPr>
              <a:t>ထုိအရာကုိ</a:t>
            </a:r>
            <a:r>
              <a:rPr lang="en-US" sz="2000" dirty="0">
                <a:solidFill>
                  <a:schemeClr val="bg1"/>
                </a:solidFill>
                <a:latin typeface="Zawgyi-One" panose="020B0604030504040204" pitchFamily="34" charset="0"/>
                <a:cs typeface="Zawgyi-One" panose="020B0604030504040204" pitchFamily="34" charset="0"/>
              </a:rPr>
              <a:t> </a:t>
            </a:r>
            <a:r>
              <a:rPr lang="en-US" sz="2000" dirty="0" err="1">
                <a:solidFill>
                  <a:schemeClr val="bg1"/>
                </a:solidFill>
                <a:latin typeface="Zawgyi-One" panose="020B0604030504040204" pitchFamily="34" charset="0"/>
                <a:cs typeface="Zawgyi-One" panose="020B0604030504040204" pitchFamily="34" charset="0"/>
              </a:rPr>
              <a:t>ယံုၾကည္သည</a:t>
            </a:r>
            <a:r>
              <a:rPr lang="en-US" sz="2000" dirty="0">
                <a:solidFill>
                  <a:schemeClr val="bg1"/>
                </a:solidFill>
                <a:latin typeface="Zawgyi-One" panose="020B0604030504040204" pitchFamily="34" charset="0"/>
                <a:cs typeface="Zawgyi-One" panose="020B0604030504040204" pitchFamily="34" charset="0"/>
              </a:rPr>
              <a:t>္။ </a:t>
            </a:r>
            <a:endParaRPr kumimoji="0" lang="en-GB" sz="2000" i="0" u="none" strike="noStrike" kern="1200" cap="none" spc="0" normalizeH="0" baseline="0" noProof="0" dirty="0">
              <a:ln>
                <a:noFill/>
              </a:ln>
              <a:solidFill>
                <a:schemeClr val="bg1"/>
              </a:solidFill>
              <a:effectLst/>
              <a:uLnTx/>
              <a:uFillTx/>
              <a:latin typeface="Zawgyi-One" panose="020B0604030504040204" pitchFamily="34" charset="0"/>
              <a:cs typeface="Zawgyi-One" panose="020B0604030504040204" pitchFamily="34" charset="0"/>
            </a:endParaRPr>
          </a:p>
        </p:txBody>
      </p:sp>
      <p:sp>
        <p:nvSpPr>
          <p:cNvPr id="5" name="TextBox 4">
            <a:extLst>
              <a:ext uri="{FF2B5EF4-FFF2-40B4-BE49-F238E27FC236}">
                <a16:creationId xmlns:a16="http://schemas.microsoft.com/office/drawing/2014/main" id="{CB0B9733-BB7A-4B99-8FCC-66D923ABABC9}"/>
              </a:ext>
            </a:extLst>
          </p:cNvPr>
          <p:cNvSpPr txBox="1"/>
          <p:nvPr/>
        </p:nvSpPr>
        <p:spPr>
          <a:xfrm>
            <a:off x="348353" y="1605405"/>
            <a:ext cx="8447294" cy="2185214"/>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dirty="0">
                <a:latin typeface="Zawgyi-One" panose="020B0604030504040204" pitchFamily="34" charset="0"/>
                <a:cs typeface="Zawgyi-One" panose="020B0604030504040204" pitchFamily="34" charset="0"/>
              </a:rPr>
              <a:t>ကၽြ</a:t>
            </a:r>
            <a:r>
              <a:rPr lang="en-US" sz="1600" dirty="0" err="1">
                <a:latin typeface="Zawgyi-One" panose="020B0604030504040204" pitchFamily="34" charset="0"/>
                <a:cs typeface="Zawgyi-One" panose="020B0604030504040204" pitchFamily="34" charset="0"/>
              </a:rPr>
              <a:t>န္ပ္တုိ႔အဖြဲ႔အစည္း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ယ္စားျပဳသူ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မည္သူမဆုိ</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ပင္ပ</a:t>
            </a:r>
            <a:r>
              <a:rPr lang="en-US" sz="1600" dirty="0">
                <a:latin typeface="Zawgyi-One" panose="020B0604030504040204" pitchFamily="34" charset="0"/>
                <a:cs typeface="Zawgyi-One" panose="020B0604030504040204" pitchFamily="34" charset="0"/>
              </a:rPr>
              <a:t>ႏွင့္</a:t>
            </a:r>
            <a:r>
              <a:rPr lang="en-US" sz="1600" dirty="0" err="1">
                <a:latin typeface="Zawgyi-One" panose="020B0604030504040204" pitchFamily="34" charset="0"/>
                <a:cs typeface="Zawgyi-One" panose="020B0604030504040204" pitchFamily="34" charset="0"/>
              </a:rPr>
              <a:t>လုပ္ငန္းခြင္ရွိ</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မ်ား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သ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လ်ာ္စြာ</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ပဳမူဆက္ဆံရမည</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ဖစ</a:t>
            </a:r>
            <a:r>
              <a:rPr lang="en-US" sz="1600" dirty="0">
                <a:latin typeface="Zawgyi-One" panose="020B0604030504040204" pitchFamily="34" charset="0"/>
                <a:cs typeface="Zawgyi-One" panose="020B0604030504040204" pitchFamily="34" charset="0"/>
              </a:rPr>
              <a:t>္ၿ</a:t>
            </a:r>
            <a:r>
              <a:rPr lang="en-US" sz="1600" dirty="0" err="1">
                <a:latin typeface="Zawgyi-One" panose="020B0604030504040204" pitchFamily="34" charset="0"/>
                <a:cs typeface="Zawgyi-One" panose="020B0604030504040204" pitchFamily="34" charset="0"/>
              </a:rPr>
              <a:t>ပီး</a:t>
            </a:r>
            <a:r>
              <a:rPr lang="en-US" sz="1600" dirty="0">
                <a:latin typeface="Zawgyi-One" panose="020B0604030504040204" pitchFamily="34" charset="0"/>
                <a:cs typeface="Zawgyi-One" panose="020B0604030504040204" pitchFamily="34" charset="0"/>
              </a:rPr>
              <a:t> Save the Children မိသားစု၀င္ျ</a:t>
            </a:r>
            <a:r>
              <a:rPr lang="en-US" sz="1600" dirty="0" err="1">
                <a:latin typeface="Zawgyi-One" panose="020B0604030504040204" pitchFamily="34" charset="0"/>
                <a:cs typeface="Zawgyi-One" panose="020B0604030504040204" pitchFamily="34" charset="0"/>
              </a:rPr>
              <a:t>ဖစ္သည</a:t>
            </a:r>
            <a:r>
              <a:rPr lang="en-US" sz="1600" dirty="0">
                <a:latin typeface="Zawgyi-One" panose="020B0604030504040204" pitchFamily="34" charset="0"/>
                <a:cs typeface="Zawgyi-One" panose="020B0604030504040204" pitchFamily="34" charset="0"/>
              </a:rPr>
              <a:t>္ႏွင့္</a:t>
            </a:r>
            <a:r>
              <a:rPr lang="en-US" sz="1600" dirty="0" err="1">
                <a:latin typeface="Zawgyi-One" panose="020B0604030504040204" pitchFamily="34" charset="0"/>
                <a:cs typeface="Zawgyi-One" panose="020B0604030504040204" pitchFamily="34" charset="0"/>
              </a:rPr>
              <a:t>အညီ</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ယံုၾကည္လႊဲအပ္ခံရေသာ</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ရာထူး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ဘယ္ေတာခါ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မခ်ိဳးေဖာက္ပ</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dirty="0">
                <a:latin typeface="Zawgyi-One" panose="020B0604030504040204" pitchFamily="34" charset="0"/>
                <a:cs typeface="Zawgyi-One" panose="020B0604030504040204" pitchFamily="34" charset="0"/>
              </a:rPr>
              <a:t>ကၽြ</a:t>
            </a:r>
            <a:r>
              <a:rPr lang="en-US" sz="1600" dirty="0" err="1">
                <a:latin typeface="Zawgyi-One" panose="020B0604030504040204" pitchFamily="34" charset="0"/>
                <a:cs typeface="Zawgyi-One" panose="020B0604030504040204" pitchFamily="34" charset="0"/>
              </a:rPr>
              <a:t>န္ပ္တုိ</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အတူလုပ္ငန္းလုပ္ေဆာင္ေနေသာ</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င္းက်ိဳး</a:t>
            </a:r>
            <a:r>
              <a:rPr lang="en-US" sz="1600" dirty="0">
                <a:latin typeface="Zawgyi-One" panose="020B0604030504040204" pitchFamily="34" charset="0"/>
                <a:cs typeface="Zawgyi-One" panose="020B0604030504040204" pitchFamily="34" charset="0"/>
              </a:rPr>
              <a:t>ႏွင့္</a:t>
            </a:r>
            <a:r>
              <a:rPr lang="en-US" sz="1600" dirty="0" err="1">
                <a:latin typeface="Zawgyi-One" panose="020B0604030504040204" pitchFamily="34" charset="0"/>
                <a:cs typeface="Zawgyi-One" panose="020B0604030504040204" pitchFamily="34" charset="0"/>
              </a:rPr>
              <a:t>လံုျခံဳမႈ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သခ်ာေစရမည</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ဖစ</a:t>
            </a:r>
            <a:r>
              <a:rPr lang="en-US" sz="1600" dirty="0">
                <a:latin typeface="Zawgyi-One" panose="020B0604030504040204" pitchFamily="34" charset="0"/>
                <a:cs typeface="Zawgyi-One" panose="020B0604030504040204" pitchFamily="34" charset="0"/>
              </a:rPr>
              <a:t>္ၿ</a:t>
            </a:r>
            <a:r>
              <a:rPr lang="en-US" sz="1600" dirty="0" err="1">
                <a:latin typeface="Zawgyi-One" panose="020B0604030504040204" pitchFamily="34" charset="0"/>
                <a:cs typeface="Zawgyi-One" panose="020B0604030504040204" pitchFamily="34" charset="0"/>
              </a:rPr>
              <a:t>ပီး</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သ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ဝန္ေဆာင္မ</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လးစားမႈ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သံုးျပဳေသာ</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သူငယ္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ခြ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အေရးမ်ား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ကြယ္ရန</a:t>
            </a:r>
            <a:r>
              <a:rPr lang="en-US" sz="1600" dirty="0">
                <a:latin typeface="Zawgyi-One" panose="020B0604030504040204" pitchFamily="34" charset="0"/>
                <a:cs typeface="Zawgyi-One" panose="020B0604030504040204" pitchFamily="34" charset="0"/>
              </a:rPr>
              <a:t>္ႏွင့္ ကၽြ</a:t>
            </a:r>
            <a:r>
              <a:rPr lang="en-US" sz="1600" dirty="0" err="1">
                <a:latin typeface="Zawgyi-One" panose="020B0604030504040204" pitchFamily="34" charset="0"/>
                <a:cs typeface="Zawgyi-One" panose="020B0604030504040204" pitchFamily="34" charset="0"/>
              </a:rPr>
              <a:t>န္ပ္တုိ႔သည္တတ</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င္သ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ဘာမဆုိ</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ပ္ေဆာင္မည</a:t>
            </a:r>
            <a:r>
              <a:rPr lang="en-US" sz="1600" dirty="0">
                <a:latin typeface="Zawgyi-One" panose="020B0604030504040204" pitchFamily="34" charset="0"/>
                <a:cs typeface="Zawgyi-One" panose="020B0604030504040204" pitchFamily="34" charset="0"/>
              </a:rPr>
              <a:t>္။ </a:t>
            </a:r>
            <a:endParaRPr kumimoji="0" lang="en-GB"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925721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100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75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barn(inVertical)">
                                      <p:cBhvr>
                                        <p:cTn id="12"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C99190B-BADC-4E50-8957-922E1907C258}"/>
              </a:ext>
            </a:extLst>
          </p:cNvPr>
          <p:cNvGraphicFramePr>
            <a:graphicFrameLocks noChangeAspect="1"/>
          </p:cNvGraphicFramePr>
          <p:nvPr>
            <p:custDataLst>
              <p:tags r:id="rId1"/>
            </p:custDataLst>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1C99190B-BADC-4E50-8957-922E1907C258}"/>
                          </a:ext>
                        </a:extLst>
                      </p:cNvPr>
                      <p:cNvPicPr/>
                      <p:nvPr/>
                    </p:nvPicPr>
                    <p:blipFill>
                      <a:blip r:embed="rId6"/>
                      <a:stretch>
                        <a:fillRect/>
                      </a:stretch>
                    </p:blipFill>
                    <p:spPr>
                      <a:xfrm>
                        <a:off x="1466" y="1588"/>
                        <a:ext cx="1466"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8ADAA71-E7C5-4671-B00F-DB54CA469E53}"/>
              </a:ext>
            </a:extLst>
          </p:cNvPr>
          <p:cNvSpPr/>
          <p:nvPr>
            <p:custDataLst>
              <p:tags r:id="rId2"/>
            </p:custDataLst>
          </p:nvPr>
        </p:nvSpPr>
        <p:spPr>
          <a:xfrm>
            <a:off x="0" y="0"/>
            <a:ext cx="146538"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ct val="0"/>
              </a:spcBef>
              <a:spcAft>
                <a:spcPct val="0"/>
              </a:spcAft>
              <a:buClr>
                <a:srgbClr val="EE1B2E"/>
              </a:buClr>
              <a:buSzTx/>
              <a:buFontTx/>
              <a:buNone/>
              <a:tabLst/>
              <a:defRPr/>
            </a:pPr>
            <a:endParaRPr kumimoji="0" lang="en-GB" sz="32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2" name="Title 1"/>
          <p:cNvSpPr>
            <a:spLocks noGrp="1"/>
          </p:cNvSpPr>
          <p:nvPr>
            <p:ph type="title"/>
          </p:nvPr>
        </p:nvSpPr>
        <p:spPr>
          <a:xfrm>
            <a:off x="395536" y="404664"/>
            <a:ext cx="8440615" cy="867600"/>
          </a:xfrm>
        </p:spPr>
        <p:txBody>
          <a:bodyPr>
            <a:normAutofit/>
          </a:bodyPr>
          <a:lstStyle/>
          <a:p>
            <a:pPr>
              <a:defRPr/>
            </a:pPr>
            <a:r>
              <a:rPr lang="en-GB" sz="2000" dirty="0">
                <a:latin typeface="Calibri" panose="020F0502020204030204" pitchFamily="34" charset="0"/>
                <a:ea typeface="Times New Roman" panose="02020603050405020304" pitchFamily="18" charset="0"/>
                <a:cs typeface="Calibri" panose="020F0502020204030204" pitchFamily="34" charset="0"/>
              </a:rPr>
              <a:t>What does safeguarding mean – in practice…</a:t>
            </a:r>
          </a:p>
        </p:txBody>
      </p:sp>
      <p:sp>
        <p:nvSpPr>
          <p:cNvPr id="6" name="TextBox 5">
            <a:extLst>
              <a:ext uri="{FF2B5EF4-FFF2-40B4-BE49-F238E27FC236}">
                <a16:creationId xmlns:a16="http://schemas.microsoft.com/office/drawing/2014/main" id="{C096ED51-05BA-4300-8741-AE12ADE09C59}"/>
              </a:ext>
            </a:extLst>
          </p:cNvPr>
          <p:cNvSpPr txBox="1"/>
          <p:nvPr/>
        </p:nvSpPr>
        <p:spPr>
          <a:xfrm>
            <a:off x="4572000" y="690346"/>
            <a:ext cx="4559957" cy="296235"/>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က္ေတ</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တြ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ဘးကင္းလံုျခံဳမ</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ဆုိလုိရင္းမွာ</a:t>
            </a:r>
            <a:endPar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
        <p:nvSpPr>
          <p:cNvPr id="9" name="TextBox 8">
            <a:extLst>
              <a:ext uri="{FF2B5EF4-FFF2-40B4-BE49-F238E27FC236}">
                <a16:creationId xmlns:a16="http://schemas.microsoft.com/office/drawing/2014/main" id="{85A2BC91-4889-43F7-9BD8-51119628E974}"/>
              </a:ext>
            </a:extLst>
          </p:cNvPr>
          <p:cNvSpPr txBox="1"/>
          <p:nvPr/>
        </p:nvSpPr>
        <p:spPr>
          <a:xfrm>
            <a:off x="395535" y="1124146"/>
            <a:ext cx="8211895" cy="4174220"/>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မ်ားကုိ</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ရိုက</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နက</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ခင္း</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သုိ</a:t>
            </a:r>
            <a:r>
              <a:rPr lang="en-US" sz="1400" dirty="0">
                <a:latin typeface="Zawgyi-One" panose="020B0604030504040204" pitchFamily="34" charset="0"/>
                <a:cs typeface="Zawgyi-One" panose="020B0604030504040204" pitchFamily="34" charset="0"/>
              </a:rPr>
              <a:t>႔) </a:t>
            </a:r>
            <a:r>
              <a:rPr lang="en-US" sz="1400" dirty="0" err="1">
                <a:latin typeface="Zawgyi-One" panose="020B0604030504040204" pitchFamily="34" charset="0"/>
                <a:cs typeface="Zawgyi-One" panose="020B0604030504040204" pitchFamily="34" charset="0"/>
              </a:rPr>
              <a:t>အျခားနည္းျဖင</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ကုိယ္ထိလက္ေရာက</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ပဳမူျခင္း</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မေတာ္မတရား</a:t>
            </a:r>
            <a:r>
              <a:rPr lang="en-US" sz="1400" dirty="0">
                <a:latin typeface="Zawgyi-One" panose="020B0604030504040204" pitchFamily="34" charset="0"/>
                <a:cs typeface="Zawgyi-One" panose="020B0604030504040204" pitchFamily="34" charset="0"/>
              </a:rPr>
              <a:t>)</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င္ဆက္ဆံျခ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 ၁၈ႏွ</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စ္ေအာက္မည္သူ</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ဆုိ</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င္ဆက္ဆံျခ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အသက္အရြယ</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ထင္မွားယံုၾကည္ခ်က္သည</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ကြယ္မႈမဟုတ္ပ</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ည္သည</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နည္းလမ္း</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ဆုိ</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င္က်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စာ္ကားျခ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ပံုျဖတ္အျမတ္ထုတ</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ပဳမူေသာ</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ၾကီးမ်ား</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မ်ား</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င့္ </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ရ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ဆက္ဆံမ</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ပဳျ</a:t>
            </a:r>
            <a:r>
              <a:rPr kumimoji="0" lang="en-US"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a:t>
            </a:r>
            <a:r>
              <a:rPr kumimoji="0" lang="en-US"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dirty="0" err="1">
                <a:latin typeface="Zawgyi-One" panose="020B0604030504040204" pitchFamily="34" charset="0"/>
                <a:cs typeface="Zawgyi-One" panose="020B0604030504040204" pitchFamily="34" charset="0"/>
              </a:rPr>
              <a:t>မည္သည</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နည္း</a:t>
            </a:r>
            <a:r>
              <a:rPr lang="en-US" sz="1400" dirty="0">
                <a:latin typeface="Zawgyi-One" panose="020B0604030504040204" pitchFamily="34" charset="0"/>
                <a:cs typeface="Zawgyi-One" panose="020B0604030504040204" pitchFamily="34" charset="0"/>
              </a:rPr>
              <a:t>ႏွင့္</a:t>
            </a:r>
            <a:r>
              <a:rPr lang="en-US" sz="1400" dirty="0" err="1">
                <a:latin typeface="Zawgyi-One" panose="020B0604030504040204" pitchFamily="34" charset="0"/>
                <a:cs typeface="Zawgyi-One" panose="020B0604030504040204" pitchFamily="34" charset="0"/>
              </a:rPr>
              <a:t>မဆို</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အႏိုင္က်င</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စာ္ကားျခင္း</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သုိ</a:t>
            </a:r>
            <a:r>
              <a:rPr lang="en-US" sz="1400" dirty="0">
                <a:latin typeface="Zawgyi-One" panose="020B0604030504040204" pitchFamily="34" charset="0"/>
                <a:cs typeface="Zawgyi-One" panose="020B0604030504040204" pitchFamily="34" charset="0"/>
              </a:rPr>
              <a:t>႔) </a:t>
            </a:r>
            <a:r>
              <a:rPr lang="en-US" sz="1400" dirty="0" err="1">
                <a:latin typeface="Zawgyi-One" panose="020B0604030504040204" pitchFamily="34" charset="0"/>
                <a:cs typeface="Zawgyi-One" panose="020B0604030504040204" pitchFamily="34" charset="0"/>
              </a:rPr>
              <a:t>မသင</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လ်ာ္သည</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လိင္မႈဆုိင္ရာ</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စာ္ကားမႈဟု</a:t>
            </a:r>
            <a:r>
              <a:rPr lang="en-US" sz="1400" dirty="0">
                <a:latin typeface="Zawgyi-One" panose="020B0604030504040204" pitchFamily="34" charset="0"/>
                <a:cs typeface="Zawgyi-One" panose="020B0604030504040204" pitchFamily="34" charset="0"/>
              </a:rPr>
              <a:t> ရႈ႕ျ</a:t>
            </a:r>
            <a:r>
              <a:rPr lang="en-US" sz="1400" dirty="0" err="1">
                <a:latin typeface="Zawgyi-One" panose="020B0604030504040204" pitchFamily="34" charset="0"/>
                <a:cs typeface="Zawgyi-One" panose="020B0604030504040204" pitchFamily="34" charset="0"/>
              </a:rPr>
              <a:t>မင</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င္သည</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အျပဳအမူ</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သုိ</a:t>
            </a:r>
            <a:r>
              <a:rPr lang="en-US" sz="1400" dirty="0">
                <a:latin typeface="Zawgyi-One" panose="020B0604030504040204" pitchFamily="34" charset="0"/>
                <a:cs typeface="Zawgyi-One" panose="020B0604030504040204" pitchFamily="34" charset="0"/>
              </a:rPr>
              <a:t>႔) </a:t>
            </a:r>
            <a:r>
              <a:rPr lang="en-US" sz="1400" dirty="0" err="1">
                <a:latin typeface="Zawgyi-One" panose="020B0604030504040204" pitchFamily="34" charset="0"/>
                <a:cs typeface="Zawgyi-One" panose="020B0604030504040204" pitchFamily="34" charset="0"/>
              </a:rPr>
              <a:t>ဘာသာစကား</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အသံုးျပ</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ခင္း</a:t>
            </a:r>
            <a:r>
              <a:rPr lang="en-US" sz="14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dirty="0" err="1">
                <a:latin typeface="Zawgyi-One" panose="020B0604030504040204" pitchFamily="34" charset="0"/>
                <a:cs typeface="Zawgyi-One" panose="020B0604030504040204" pitchFamily="34" charset="0"/>
              </a:rPr>
              <a:t>သင</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နအိမ္တြင</a:t>
            </a:r>
            <a:r>
              <a:rPr lang="en-US" sz="1400" dirty="0">
                <a:latin typeface="Zawgyi-One" panose="020B0604030504040204" pitchFamily="34" charset="0"/>
                <a:cs typeface="Zawgyi-One" panose="020B0604030504040204" pitchFamily="34" charset="0"/>
              </a:rPr>
              <a:t>္ ကၽြ</a:t>
            </a:r>
            <a:r>
              <a:rPr lang="en-US" sz="1400" dirty="0" err="1">
                <a:latin typeface="Zawgyi-One" panose="020B0604030504040204" pitchFamily="34" charset="0"/>
                <a:cs typeface="Zawgyi-One" panose="020B0604030504040204" pitchFamily="34" charset="0"/>
              </a:rPr>
              <a:t>န္ပ္တုိ</a:t>
            </a:r>
            <a:r>
              <a:rPr lang="en-US" sz="1400" dirty="0">
                <a:latin typeface="Zawgyi-One" panose="020B0604030504040204" pitchFamily="34" charset="0"/>
                <a:cs typeface="Zawgyi-One" panose="020B0604030504040204" pitchFamily="34" charset="0"/>
              </a:rPr>
              <a:t>႔ႏွင့္</a:t>
            </a:r>
            <a:r>
              <a:rPr lang="en-US" sz="1400" dirty="0" err="1">
                <a:latin typeface="Zawgyi-One" panose="020B0604030504040204" pitchFamily="34" charset="0"/>
                <a:cs typeface="Zawgyi-One" panose="020B0604030504040204" pitchFamily="34" charset="0"/>
              </a:rPr>
              <a:t>အတူ</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အလုပ္လုပ္ေသာ</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ကေလး</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ကေလးမ်ား</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ညအိပ္ညေန</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ထားရွိျခင္း</a:t>
            </a:r>
            <a:r>
              <a:rPr lang="en-US" sz="14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dirty="0">
                <a:latin typeface="Zawgyi-One" panose="020B0604030504040204" pitchFamily="34" charset="0"/>
                <a:cs typeface="Zawgyi-One" panose="020B0604030504040204" pitchFamily="34" charset="0"/>
              </a:rPr>
              <a:t>ကၽြ</a:t>
            </a:r>
            <a:r>
              <a:rPr lang="en-US" sz="1400" dirty="0" err="1">
                <a:latin typeface="Zawgyi-One" panose="020B0604030504040204" pitchFamily="34" charset="0"/>
                <a:cs typeface="Zawgyi-One" panose="020B0604030504040204" pitchFamily="34" charset="0"/>
              </a:rPr>
              <a:t>န္ပ္တုိ</a:t>
            </a:r>
            <a:r>
              <a:rPr lang="en-US" sz="1400" dirty="0">
                <a:latin typeface="Zawgyi-One" panose="020B0604030504040204" pitchFamily="34" charset="0"/>
                <a:cs typeface="Zawgyi-One" panose="020B0604030504040204" pitchFamily="34" charset="0"/>
              </a:rPr>
              <a:t>႔ႏွင့္</a:t>
            </a:r>
            <a:r>
              <a:rPr lang="en-US" sz="1400" dirty="0" err="1">
                <a:latin typeface="Zawgyi-One" panose="020B0604030504040204" pitchFamily="34" charset="0"/>
                <a:cs typeface="Zawgyi-One" panose="020B0604030504040204" pitchFamily="34" charset="0"/>
              </a:rPr>
              <a:t>အတူ</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အလုပ္လုပ္ေသာ</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ကေလး</a:t>
            </a:r>
            <a:r>
              <a:rPr lang="en-US" sz="1400" dirty="0">
                <a:latin typeface="Zawgyi-One" panose="020B0604030504040204" pitchFamily="34" charset="0"/>
                <a:cs typeface="Zawgyi-One" panose="020B0604030504040204" pitchFamily="34" charset="0"/>
              </a:rPr>
              <a:t>ႏွင့္ </a:t>
            </a:r>
            <a:r>
              <a:rPr lang="en-US" sz="1400" dirty="0" err="1">
                <a:latin typeface="Zawgyi-One" panose="020B0604030504040204" pitchFamily="34" charset="0"/>
                <a:cs typeface="Zawgyi-One" panose="020B0604030504040204" pitchFamily="34" charset="0"/>
              </a:rPr>
              <a:t>အတူ</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ကုတင္တစ္ခုတြင</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အတူအိပ္စက</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ခင္း</a:t>
            </a:r>
            <a:r>
              <a:rPr lang="en-US" sz="14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တရားမ၀င္ေသာ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စာ္ကားမ</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မလံုျခံဳမ</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ပဳအမူတြင</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ပါဝင္ပက္သက</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သုိ</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႔) </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စ္လ</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ရႈျ</a:t>
            </a:r>
            <a:r>
              <a:rPr kumimoji="0" lang="en-GB" sz="14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ခင္း</a:t>
            </a:r>
            <a:r>
              <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400" dirty="0" err="1">
                <a:latin typeface="Zawgyi-One" panose="020B0604030504040204" pitchFamily="34" charset="0"/>
                <a:cs typeface="Zawgyi-One" panose="020B0604030504040204" pitchFamily="34" charset="0"/>
              </a:rPr>
              <a:t>အလုပ္ခ်ိန</a:t>
            </a:r>
            <a:r>
              <a:rPr lang="en-GB" sz="1400" dirty="0">
                <a:latin typeface="Zawgyi-One" panose="020B0604030504040204" pitchFamily="34" charset="0"/>
                <a:cs typeface="Zawgyi-One" panose="020B0604030504040204" pitchFamily="34" charset="0"/>
              </a:rPr>
              <a:t>္ျ</a:t>
            </a:r>
            <a:r>
              <a:rPr lang="en-GB" sz="1400" dirty="0" err="1">
                <a:latin typeface="Zawgyi-One" panose="020B0604030504040204" pitchFamily="34" charset="0"/>
                <a:cs typeface="Zawgyi-One" panose="020B0604030504040204" pitchFamily="34" charset="0"/>
              </a:rPr>
              <a:t>ပင္ပတြင</a:t>
            </a:r>
            <a:r>
              <a:rPr lang="en-GB" sz="1400" dirty="0">
                <a:latin typeface="Zawgyi-One" panose="020B0604030504040204" pitchFamily="34" charset="0"/>
                <a:cs typeface="Zawgyi-One" panose="020B0604030504040204" pitchFamily="34" charset="0"/>
              </a:rPr>
              <a:t>္ ကၽြ</a:t>
            </a:r>
            <a:r>
              <a:rPr lang="en-GB" sz="1400" dirty="0" err="1">
                <a:latin typeface="Zawgyi-One" panose="020B0604030504040204" pitchFamily="34" charset="0"/>
                <a:cs typeface="Zawgyi-One" panose="020B0604030504040204" pitchFamily="34" charset="0"/>
              </a:rPr>
              <a:t>န္ပ္တုိ</a:t>
            </a:r>
            <a:r>
              <a:rPr lang="en-GB" sz="1400" dirty="0">
                <a:latin typeface="Zawgyi-One" panose="020B0604030504040204" pitchFamily="34" charset="0"/>
                <a:cs typeface="Zawgyi-One" panose="020B0604030504040204" pitchFamily="34" charset="0"/>
              </a:rPr>
              <a:t>႔ႏွင့္</a:t>
            </a:r>
            <a:r>
              <a:rPr lang="en-GB" sz="1400" dirty="0" err="1">
                <a:latin typeface="Zawgyi-One" panose="020B0604030504040204" pitchFamily="34" charset="0"/>
                <a:cs typeface="Zawgyi-One" panose="020B0604030504040204" pitchFamily="34" charset="0"/>
              </a:rPr>
              <a:t>အတူ</a:t>
            </a:r>
            <a:r>
              <a:rPr lang="en-GB" sz="1400" dirty="0">
                <a:latin typeface="Zawgyi-One" panose="020B0604030504040204" pitchFamily="34" charset="0"/>
                <a:cs typeface="Zawgyi-One" panose="020B0604030504040204" pitchFamily="34" charset="0"/>
              </a:rPr>
              <a:t> </a:t>
            </a:r>
            <a:r>
              <a:rPr lang="en-GB" sz="1400" dirty="0" err="1">
                <a:latin typeface="Zawgyi-One" panose="020B0604030504040204" pitchFamily="34" charset="0"/>
                <a:cs typeface="Zawgyi-One" panose="020B0604030504040204" pitchFamily="34" charset="0"/>
              </a:rPr>
              <a:t>အလုပ္လုပ္ေသာကေလးအား</a:t>
            </a:r>
            <a:r>
              <a:rPr lang="en-GB" sz="1400" dirty="0">
                <a:latin typeface="Zawgyi-One" panose="020B0604030504040204" pitchFamily="34" charset="0"/>
                <a:cs typeface="Zawgyi-One" panose="020B0604030504040204" pitchFamily="34" charset="0"/>
              </a:rPr>
              <a:t> </a:t>
            </a:r>
            <a:r>
              <a:rPr lang="en-US" sz="1400" dirty="0">
                <a:latin typeface="Zawgyi-One" panose="020B0604030504040204" pitchFamily="34" charset="0"/>
                <a:cs typeface="Zawgyi-One" panose="020B0604030504040204" pitchFamily="34" charset="0"/>
              </a:rPr>
              <a:t>Viber၊, Messenger </a:t>
            </a:r>
            <a:r>
              <a:rPr lang="en-US" sz="1400" dirty="0" err="1">
                <a:latin typeface="Zawgyi-One" panose="020B0604030504040204" pitchFamily="34" charset="0"/>
                <a:cs typeface="Zawgyi-One" panose="020B0604030504040204" pitchFamily="34" charset="0"/>
              </a:rPr>
              <a:t>စာပုိ</a:t>
            </a:r>
            <a:r>
              <a:rPr lang="en-US" sz="1400" dirty="0">
                <a:latin typeface="Zawgyi-One" panose="020B0604030504040204" pitchFamily="34" charset="0"/>
                <a:cs typeface="Zawgyi-One" panose="020B0604030504040204" pitchFamily="34" charset="0"/>
              </a:rPr>
              <a:t>႔ျ</a:t>
            </a:r>
            <a:r>
              <a:rPr lang="en-US" sz="1400" dirty="0" err="1">
                <a:latin typeface="Zawgyi-One" panose="020B0604030504040204" pitchFamily="34" charset="0"/>
                <a:cs typeface="Zawgyi-One" panose="020B0604030504040204" pitchFamily="34" charset="0"/>
              </a:rPr>
              <a:t>ခင္း</a:t>
            </a:r>
            <a:r>
              <a:rPr lang="en-US" sz="1400" dirty="0">
                <a:latin typeface="Zawgyi-One" panose="020B0604030504040204" pitchFamily="34" charset="0"/>
                <a:cs typeface="Zawgyi-One" panose="020B0604030504040204" pitchFamily="34" charset="0"/>
              </a:rPr>
              <a:t>ႏွင့္ </a:t>
            </a:r>
            <a:r>
              <a:rPr lang="en-US" sz="1400" dirty="0" err="1">
                <a:latin typeface="Zawgyi-One" panose="020B0604030504040204" pitchFamily="34" charset="0"/>
                <a:cs typeface="Zawgyi-One" panose="020B0604030504040204" pitchFamily="34" charset="0"/>
              </a:rPr>
              <a:t>သီးျခား</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ဆက္သြယ္ေျပာဆုိျခင္း</a:t>
            </a:r>
            <a:r>
              <a:rPr lang="en-US" sz="14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400" dirty="0" err="1">
                <a:latin typeface="Zawgyi-One" panose="020B0604030504040204" pitchFamily="34" charset="0"/>
                <a:cs typeface="Zawgyi-One" panose="020B0604030504040204" pitchFamily="34" charset="0"/>
              </a:rPr>
              <a:t>အသိေပး</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သေဘာတူညီမ</a:t>
            </a:r>
            <a:r>
              <a:rPr lang="en-US" sz="1400" dirty="0">
                <a:latin typeface="Zawgyi-One" panose="020B0604030504040204" pitchFamily="34" charset="0"/>
                <a:cs typeface="Zawgyi-One" panose="020B0604030504040204" pitchFamily="34" charset="0"/>
              </a:rPr>
              <a:t>ႈ ႏွင့္ </a:t>
            </a:r>
            <a:r>
              <a:rPr lang="en-US" sz="1400" dirty="0" err="1">
                <a:latin typeface="Zawgyi-One" panose="020B0604030504040204" pitchFamily="34" charset="0"/>
                <a:cs typeface="Zawgyi-One" panose="020B0604030504040204" pitchFamily="34" charset="0"/>
              </a:rPr>
              <a:t>ခြင</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ပဳခ်က္မယူပဲ</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ကေလးမ်ား</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ဓါတ္ပံု</a:t>
            </a:r>
            <a:r>
              <a:rPr lang="en-US" sz="1400" dirty="0">
                <a:latin typeface="Zawgyi-One" panose="020B0604030504040204" pitchFamily="34" charset="0"/>
                <a:cs typeface="Zawgyi-One" panose="020B0604030504040204" pitchFamily="34" charset="0"/>
              </a:rPr>
              <a:t> </a:t>
            </a:r>
            <a:r>
              <a:rPr lang="en-US" sz="1400" dirty="0" err="1">
                <a:latin typeface="Zawgyi-One" panose="020B0604030504040204" pitchFamily="34" charset="0"/>
                <a:cs typeface="Zawgyi-One" panose="020B0604030504040204" pitchFamily="34" charset="0"/>
              </a:rPr>
              <a:t>ရိုက</a:t>
            </a:r>
            <a:r>
              <a:rPr lang="en-US" sz="1400" dirty="0">
                <a:latin typeface="Zawgyi-One" panose="020B0604030504040204" pitchFamily="34" charset="0"/>
                <a:cs typeface="Zawgyi-One" panose="020B0604030504040204" pitchFamily="34" charset="0"/>
              </a:rPr>
              <a:t>္ျ</a:t>
            </a:r>
            <a:r>
              <a:rPr lang="en-US" sz="1400" dirty="0" err="1">
                <a:latin typeface="Zawgyi-One" panose="020B0604030504040204" pitchFamily="34" charset="0"/>
                <a:cs typeface="Zawgyi-One" panose="020B0604030504040204" pitchFamily="34" charset="0"/>
              </a:rPr>
              <a:t>ခင္း</a:t>
            </a:r>
            <a:r>
              <a:rPr lang="en-US" sz="1400" dirty="0">
                <a:latin typeface="Zawgyi-One" panose="020B0604030504040204" pitchFamily="34" charset="0"/>
                <a:cs typeface="Zawgyi-One" panose="020B0604030504040204" pitchFamily="34" charset="0"/>
              </a:rPr>
              <a:t>။ </a:t>
            </a:r>
            <a:endParaRPr kumimoji="0" lang="en-GB" sz="14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314301286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2540945" y="6413722"/>
            <a:ext cx="382497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222221"/>
              </a:solidFill>
              <a:effectLst/>
              <a:uLnTx/>
              <a:uFillTx/>
              <a:latin typeface="Gill Sans Infant Std"/>
              <a:ea typeface="+mn-ea"/>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92</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6" name="Title 1"/>
          <p:cNvSpPr txBox="1">
            <a:spLocks/>
          </p:cNvSpPr>
          <p:nvPr/>
        </p:nvSpPr>
        <p:spPr bwMode="auto">
          <a:xfrm>
            <a:off x="-190500" y="239712"/>
            <a:ext cx="9489833"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rgbClr val="ED1C24"/>
              </a:buClr>
              <a:buChar char="•"/>
              <a:defRPr sz="3200">
                <a:solidFill>
                  <a:schemeClr val="tx1"/>
                </a:solidFill>
                <a:latin typeface="Gill Sans MT" panose="020B0502020104020203" pitchFamily="34" charset="0"/>
                <a:ea typeface="MS PGothic" panose="020B0600070205080204" pitchFamily="34" charset="-128"/>
                <a:cs typeface="Arial" panose="020B0604020202020204" pitchFamily="34" charset="0"/>
              </a:defRPr>
            </a:lvl1pPr>
            <a:lvl2pPr marL="742950" indent="-285750">
              <a:spcBef>
                <a:spcPct val="20000"/>
              </a:spcBef>
              <a:buClr>
                <a:srgbClr val="ED1C24"/>
              </a:buClr>
              <a:buFont typeface="Gill Sans MT" panose="020B0502020104020203" pitchFamily="34" charset="0"/>
              <a:buChar char="–"/>
              <a:defRPr sz="2800">
                <a:solidFill>
                  <a:schemeClr val="tx1"/>
                </a:solidFill>
                <a:latin typeface="Gill Sans MT" panose="020B0502020104020203" pitchFamily="34" charset="0"/>
                <a:ea typeface="Arial" panose="020B0604020202020204" pitchFamily="34" charset="0"/>
                <a:cs typeface="Arial" panose="020B0604020202020204" pitchFamily="34" charset="0"/>
              </a:defRPr>
            </a:lvl2pPr>
            <a:lvl3pPr marL="1143000" indent="-228600">
              <a:spcBef>
                <a:spcPct val="20000"/>
              </a:spcBef>
              <a:buClr>
                <a:srgbClr val="ED1C24"/>
              </a:buClr>
              <a:buChar char="•"/>
              <a:defRPr sz="2400">
                <a:solidFill>
                  <a:schemeClr val="tx1"/>
                </a:solidFill>
                <a:latin typeface="Gill Sans MT" panose="020B0502020104020203" pitchFamily="34" charset="0"/>
                <a:ea typeface="Arial" panose="020B0604020202020204" pitchFamily="34" charset="0"/>
                <a:cs typeface="Arial" panose="020B0604020202020204" pitchFamily="34" charset="0"/>
              </a:defRPr>
            </a:lvl3pPr>
            <a:lvl4pPr marL="16002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4pPr>
            <a:lvl5pPr marL="2057400" indent="-228600">
              <a:spcBef>
                <a:spcPct val="20000"/>
              </a:spcBef>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rgbClr val="ED1C24"/>
              </a:buClr>
              <a:buFont typeface="Gill Sans MT" panose="020B0502020104020203" pitchFamily="34" charset="0"/>
              <a:buChar char="»"/>
              <a:defRPr sz="2000">
                <a:solidFill>
                  <a:schemeClr val="tx1"/>
                </a:solidFill>
                <a:latin typeface="Gill Sans MT" panose="020B0502020104020203" pitchFamily="34" charset="0"/>
                <a:ea typeface="Arial" panose="020B0604020202020204" pitchFamily="34" charset="0"/>
                <a:cs typeface="Arial" panose="020B0604020202020204" pitchFamily="34"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altLang="en-US" sz="2800" b="1" i="0" u="none" strike="noStrike" kern="1200" cap="none" spc="0" normalizeH="0" baseline="0" noProof="0" dirty="0">
                <a:ln>
                  <a:noFill/>
                </a:ln>
                <a:solidFill>
                  <a:srgbClr val="222221"/>
                </a:solidFill>
                <a:effectLst/>
                <a:uLnTx/>
                <a:uFillTx/>
                <a:latin typeface="Gill Sans MT"/>
                <a:ea typeface="MS PGothic" panose="020B0600070205080204" pitchFamily="34" charset="-128"/>
                <a:cs typeface="Arial" panose="020B0604020202020204" pitchFamily="34" charset="0"/>
              </a:rPr>
              <a:t>Timely</a:t>
            </a:r>
          </a:p>
        </p:txBody>
      </p:sp>
      <p:sp>
        <p:nvSpPr>
          <p:cNvPr id="22" name="Rectangle 10"/>
          <p:cNvSpPr/>
          <p:nvPr/>
        </p:nvSpPr>
        <p:spPr>
          <a:xfrm>
            <a:off x="359959" y="3706806"/>
            <a:ext cx="8444074" cy="193899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tab pos="0" algn="l"/>
                <a:tab pos="810260" algn="l"/>
              </a:tabLst>
              <a:defRPr/>
            </a:pPr>
            <a:endParaRPr kumimoji="0" lang="en-US" sz="2400" i="0" u="none" strike="noStrike" kern="1200" cap="none" spc="0" normalizeH="0" baseline="0" noProof="0" dirty="0">
              <a:ln>
                <a:noFill/>
              </a:ln>
              <a:solidFill>
                <a:srgbClr val="92D05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tab pos="0" algn="l"/>
                <a:tab pos="810260" algn="l"/>
              </a:tabLst>
              <a:defRPr/>
            </a:pPr>
            <a:r>
              <a:rPr kumimoji="0" lang="en-US" sz="2400" i="0" u="none" strike="noStrike" kern="1200" cap="none" spc="0" normalizeH="0" baseline="0" noProof="0" dirty="0">
                <a:ln>
                  <a:noFill/>
                </a:ln>
                <a:solidFill>
                  <a:srgbClr val="92D050"/>
                </a:solidFill>
                <a:effectLst/>
                <a:uLnTx/>
                <a:uFillTx/>
                <a:latin typeface="Calibri" panose="020F0502020204030204" pitchFamily="34" charset="0"/>
                <a:ea typeface="+mn-ea"/>
                <a:cs typeface="+mn-cs"/>
              </a:rPr>
              <a:t>Be timely: if a child is severely injured or harmed and at life-threatening risk, she or he should be referred to in </a:t>
            </a:r>
            <a:r>
              <a:rPr kumimoji="0" lang="en-US" sz="2400" i="0" u="sng" strike="noStrike" kern="1200" cap="none" spc="0" normalizeH="0" baseline="0" noProof="0" dirty="0">
                <a:ln>
                  <a:noFill/>
                </a:ln>
                <a:solidFill>
                  <a:srgbClr val="F20F0E"/>
                </a:solidFill>
                <a:effectLst/>
                <a:uLnTx/>
                <a:uFillTx/>
                <a:latin typeface="Calibri" panose="020F0502020204030204" pitchFamily="34" charset="0"/>
                <a:ea typeface="+mn-ea"/>
                <a:cs typeface="+mn-cs"/>
              </a:rPr>
              <a:t>24 hours </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tab pos="0" algn="l"/>
                <a:tab pos="810260" algn="l"/>
              </a:tabLst>
              <a:defRPr/>
            </a:pPr>
            <a:endParaRPr kumimoji="0" lang="en-US" sz="2400" i="0" u="none" strike="noStrike" kern="1200" cap="none" spc="0" normalizeH="0" baseline="0" noProof="0" dirty="0">
              <a:ln>
                <a:noFill/>
              </a:ln>
              <a:solidFill>
                <a:srgbClr val="92D050"/>
              </a:solidFill>
              <a:effectLst/>
              <a:uLnTx/>
              <a:uFillTx/>
              <a:latin typeface="Calibri" panose="020F050202020403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tab pos="0" algn="l"/>
                <a:tab pos="810260" algn="l"/>
              </a:tabLst>
              <a:defRPr/>
            </a:pPr>
            <a:endParaRPr kumimoji="0" lang="en-US" sz="2400" i="0" u="none" strike="noStrike" kern="1200" cap="none" spc="0" normalizeH="0" baseline="0" noProof="0" dirty="0">
              <a:ln>
                <a:noFill/>
              </a:ln>
              <a:solidFill>
                <a:srgbClr val="222221"/>
              </a:solidFill>
              <a:effectLst/>
              <a:uLnTx/>
              <a:uFillTx/>
              <a:latin typeface="Calibri" panose="020F0502020204030204" pitchFamily="34" charset="0"/>
              <a:ea typeface="+mn-ea"/>
              <a:cs typeface="+mn-cs"/>
            </a:endParaRPr>
          </a:p>
        </p:txBody>
      </p:sp>
      <p:sp>
        <p:nvSpPr>
          <p:cNvPr id="7" name="TextBox 6">
            <a:extLst>
              <a:ext uri="{FF2B5EF4-FFF2-40B4-BE49-F238E27FC236}">
                <a16:creationId xmlns:a16="http://schemas.microsoft.com/office/drawing/2014/main" id="{F6F8DCE3-F356-476E-AE90-A45B64B359AD}"/>
              </a:ext>
            </a:extLst>
          </p:cNvPr>
          <p:cNvSpPr txBox="1"/>
          <p:nvPr/>
        </p:nvSpPr>
        <p:spPr>
          <a:xfrm>
            <a:off x="2173455" y="773112"/>
            <a:ext cx="4559957" cy="380873"/>
          </a:xfrm>
          <a:prstGeom prst="rect">
            <a:avLst/>
          </a:prstGeom>
          <a:noFill/>
        </p:spPr>
        <p:txBody>
          <a:bodyPr wrap="square" lIns="0" tIns="0" rIns="0" bIns="0" rtlCol="0" anchor="t">
            <a:spAutoFit/>
          </a:bodyPr>
          <a:lstStyle/>
          <a:p>
            <a:pPr marR="0" lvl="0" algn="ctr" defTabSz="457200" rtl="0" eaLnBrk="1" fontAlgn="auto" latinLnBrk="0" hangingPunct="1">
              <a:lnSpc>
                <a:spcPct val="150000"/>
              </a:lnSpc>
              <a:spcBef>
                <a:spcPts val="0"/>
              </a:spcBef>
              <a:spcAft>
                <a:spcPts val="0"/>
              </a:spcAft>
              <a:buClrTx/>
              <a:buSzTx/>
              <a:tabLst/>
              <a:defRPr/>
            </a:pPr>
            <a:r>
              <a:rPr kumimoji="0" lang="en-US"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ခ်ိန္မွီ</a:t>
            </a:r>
            <a:endParaRPr kumimoji="0" lang="en-GB"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
        <p:nvSpPr>
          <p:cNvPr id="8" name="TextBox 7">
            <a:extLst>
              <a:ext uri="{FF2B5EF4-FFF2-40B4-BE49-F238E27FC236}">
                <a16:creationId xmlns:a16="http://schemas.microsoft.com/office/drawing/2014/main" id="{580F74D9-610F-48E4-A4E9-205B5A5940A2}"/>
              </a:ext>
            </a:extLst>
          </p:cNvPr>
          <p:cNvSpPr txBox="1"/>
          <p:nvPr/>
        </p:nvSpPr>
        <p:spPr>
          <a:xfrm>
            <a:off x="359959" y="1496948"/>
            <a:ext cx="8444074" cy="707886"/>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ခ်ိန္မွီ</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အကယ</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ကေလးသည</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ထိခုိက္ဒဏ္ရာ</a:t>
            </a:r>
            <a:r>
              <a:rPr lang="en-US" sz="1600" dirty="0" err="1">
                <a:latin typeface="Zawgyi-One" panose="020B0604030504040204" pitchFamily="34" charset="0"/>
                <a:cs typeface="Zawgyi-One" panose="020B0604030504040204" pitchFamily="34" charset="0"/>
              </a:rPr>
              <a:t>မ်ားေနလ</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သုိ</a:t>
            </a:r>
            <a:r>
              <a:rPr lang="en-US" sz="1600" dirty="0">
                <a:latin typeface="Zawgyi-One" panose="020B0604030504040204" pitchFamily="34" charset="0"/>
                <a:cs typeface="Zawgyi-One" panose="020B0604030504040204" pitchFamily="34" charset="0"/>
              </a:rPr>
              <a:t>႔) </a:t>
            </a:r>
            <a:r>
              <a:rPr lang="en-US" sz="1600" dirty="0" err="1">
                <a:latin typeface="Zawgyi-One" panose="020B0604030504040204" pitchFamily="34" charset="0"/>
                <a:cs typeface="Zawgyi-One" panose="020B0604030504040204" pitchFamily="34" charset="0"/>
              </a:rPr>
              <a:t>ေဘးအ</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ရာယ</a:t>
            </a:r>
            <a:r>
              <a:rPr lang="en-US" sz="1600" dirty="0">
                <a:latin typeface="Zawgyi-One" panose="020B0604030504040204" pitchFamily="34" charset="0"/>
                <a:cs typeface="Zawgyi-One" panose="020B0604030504040204" pitchFamily="34" charset="0"/>
              </a:rPr>
              <a:t>္ ႏွင့္ </a:t>
            </a:r>
            <a:r>
              <a:rPr lang="en-US" sz="1600" dirty="0" err="1">
                <a:latin typeface="Zawgyi-One" panose="020B0604030504040204" pitchFamily="34" charset="0"/>
                <a:cs typeface="Zawgyi-One" panose="020B0604030504040204" pitchFamily="34" charset="0"/>
              </a:rPr>
              <a:t>အသ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စုိးရိမ္ဖြယ္အေနအထားရွိေနလ</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ကေလးကုိ</a:t>
            </a:r>
            <a:r>
              <a:rPr lang="en-US" sz="1600" dirty="0">
                <a:latin typeface="Zawgyi-One" panose="020B0604030504040204" pitchFamily="34" charset="0"/>
                <a:cs typeface="Zawgyi-One" panose="020B0604030504040204" pitchFamily="34" charset="0"/>
              </a:rPr>
              <a:t> </a:t>
            </a:r>
            <a:r>
              <a:rPr lang="en-US" sz="1600" u="sng" dirty="0">
                <a:solidFill>
                  <a:srgbClr val="FF0000"/>
                </a:solidFill>
                <a:latin typeface="Zawgyi-One" panose="020B0604030504040204" pitchFamily="34" charset="0"/>
                <a:cs typeface="Zawgyi-One" panose="020B0604030504040204" pitchFamily="34" charset="0"/>
              </a:rPr>
              <a:t>၂၄ </a:t>
            </a:r>
            <a:r>
              <a:rPr lang="en-US" sz="1600" u="sng" dirty="0" err="1">
                <a:solidFill>
                  <a:srgbClr val="FF0000"/>
                </a:solidFill>
                <a:latin typeface="Zawgyi-One" panose="020B0604030504040204" pitchFamily="34" charset="0"/>
                <a:cs typeface="Zawgyi-One" panose="020B0604030504040204" pitchFamily="34" charset="0"/>
              </a:rPr>
              <a:t>နာရီအတြင္း</a:t>
            </a:r>
            <a:r>
              <a:rPr lang="en-US" sz="1600" u="sng" dirty="0">
                <a:solidFill>
                  <a:srgbClr val="FF0000"/>
                </a:solidFill>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ညႊန္းပုိ႔ရမည</a:t>
            </a:r>
            <a:r>
              <a:rPr lang="en-US" sz="1600" dirty="0">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endParaRPr kumimoji="0" lang="en-GB"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2107641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496DB-FFDA-41C2-A626-4C69CBAC3504}"/>
              </a:ext>
            </a:extLst>
          </p:cNvPr>
          <p:cNvSpPr>
            <a:spLocks noGrp="1"/>
          </p:cNvSpPr>
          <p:nvPr>
            <p:ph type="title"/>
          </p:nvPr>
        </p:nvSpPr>
        <p:spPr>
          <a:xfrm>
            <a:off x="521393" y="772910"/>
            <a:ext cx="8282640" cy="506900"/>
          </a:xfrm>
        </p:spPr>
        <p:txBody>
          <a:bodyPr>
            <a:normAutofit/>
          </a:bodyPr>
          <a:lstStyle/>
          <a:p>
            <a:r>
              <a:rPr lang="en-US" sz="2400" dirty="0"/>
              <a:t>Immediate action/referral to SC caseworker….</a:t>
            </a:r>
          </a:p>
        </p:txBody>
      </p:sp>
      <p:sp>
        <p:nvSpPr>
          <p:cNvPr id="3" name="Content Placeholder 2">
            <a:extLst>
              <a:ext uri="{FF2B5EF4-FFF2-40B4-BE49-F238E27FC236}">
                <a16:creationId xmlns:a16="http://schemas.microsoft.com/office/drawing/2014/main" id="{D1DF8B1E-64A8-4491-BA27-38139398681E}"/>
              </a:ext>
            </a:extLst>
          </p:cNvPr>
          <p:cNvSpPr>
            <a:spLocks noGrp="1"/>
          </p:cNvSpPr>
          <p:nvPr>
            <p:ph idx="1"/>
          </p:nvPr>
        </p:nvSpPr>
        <p:spPr>
          <a:xfrm>
            <a:off x="569094" y="4015854"/>
            <a:ext cx="8276127" cy="2262116"/>
          </a:xfrm>
        </p:spPr>
        <p:txBody>
          <a:bodyPr/>
          <a:lstStyle/>
          <a:p>
            <a:pPr marL="342900" marR="0" lvl="0" indent="-342900" algn="just">
              <a:spcBef>
                <a:spcPts val="0"/>
              </a:spcBef>
              <a:spcAft>
                <a:spcPts val="0"/>
              </a:spcAft>
              <a:buFont typeface="Symbol" panose="05050102010706020507" pitchFamily="18" charset="2"/>
              <a:buChar char=""/>
            </a:pPr>
            <a:r>
              <a:rPr lang="en-US" u="sng" dirty="0">
                <a:solidFill>
                  <a:schemeClr val="tx1"/>
                </a:solidFill>
                <a:effectLst/>
                <a:latin typeface="Calibri" panose="020F0502020204030204" pitchFamily="34" charset="0"/>
                <a:ea typeface="Times New Roman" panose="02020603050405020304" pitchFamily="18" charset="0"/>
              </a:rPr>
              <a:t>Safety Concerns</a:t>
            </a:r>
            <a:r>
              <a:rPr lang="en-US" b="0" dirty="0">
                <a:solidFill>
                  <a:schemeClr val="tx1"/>
                </a:solidFill>
                <a:effectLst/>
                <a:latin typeface="Calibri" panose="020F0502020204030204" pitchFamily="34" charset="0"/>
                <a:ea typeface="Times New Roman" panose="02020603050405020304" pitchFamily="18" charset="0"/>
              </a:rPr>
              <a:t>: there are indictors of </a:t>
            </a:r>
            <a:r>
              <a:rPr lang="en-US" b="0" dirty="0">
                <a:effectLst/>
                <a:latin typeface="Calibri" panose="020F0502020204030204" pitchFamily="34" charset="0"/>
                <a:ea typeface="Times New Roman" panose="02020603050405020304" pitchFamily="18" charset="0"/>
              </a:rPr>
              <a:t>ongoing life-threatening harm to child </a:t>
            </a:r>
            <a:r>
              <a:rPr lang="en-US" b="0" dirty="0">
                <a:solidFill>
                  <a:schemeClr val="tx1"/>
                </a:solidFill>
                <a:effectLst/>
                <a:latin typeface="Calibri" panose="020F0502020204030204" pitchFamily="34" charset="0"/>
                <a:ea typeface="Times New Roman" panose="02020603050405020304" pitchFamily="18" charset="0"/>
              </a:rPr>
              <a:t>occurring and safety measures are required and </a:t>
            </a:r>
            <a:r>
              <a:rPr lang="en-US" b="0" dirty="0">
                <a:effectLst/>
                <a:latin typeface="Calibri" panose="020F0502020204030204" pitchFamily="34" charset="0"/>
                <a:ea typeface="Times New Roman" panose="02020603050405020304" pitchFamily="18" charset="0"/>
              </a:rPr>
              <a:t>child cannot return back home</a:t>
            </a:r>
          </a:p>
          <a:p>
            <a:pPr marL="342900" marR="0" lvl="0" indent="-342900" algn="just">
              <a:spcBef>
                <a:spcPts val="0"/>
              </a:spcBef>
              <a:spcAft>
                <a:spcPts val="0"/>
              </a:spcAft>
              <a:buFont typeface="Symbol" panose="05050102010706020507" pitchFamily="18" charset="2"/>
              <a:buChar char=""/>
            </a:pPr>
            <a:endParaRPr lang="en-US" b="0" dirty="0">
              <a:solidFill>
                <a:schemeClr val="tx1"/>
              </a:solidFill>
              <a:effectLst/>
              <a:latin typeface="Calibri" panose="020F0502020204030204" pitchFamily="34" charset="0"/>
              <a:ea typeface="Calibri" panose="020F0502020204030204" pitchFamily="34" charset="0"/>
            </a:endParaRPr>
          </a:p>
          <a:p>
            <a:pPr marL="342900" marR="0" lvl="0" indent="-342900" algn="just">
              <a:spcBef>
                <a:spcPts val="0"/>
              </a:spcBef>
              <a:spcAft>
                <a:spcPts val="0"/>
              </a:spcAft>
              <a:buFont typeface="Symbol" panose="05050102010706020507" pitchFamily="18" charset="2"/>
              <a:buChar char=""/>
            </a:pPr>
            <a:r>
              <a:rPr lang="en-US" u="sng" dirty="0">
                <a:solidFill>
                  <a:schemeClr val="tx1"/>
                </a:solidFill>
                <a:effectLst/>
                <a:latin typeface="Calibri" panose="020F0502020204030204" pitchFamily="34" charset="0"/>
                <a:ea typeface="Times New Roman" panose="02020603050405020304" pitchFamily="18" charset="0"/>
              </a:rPr>
              <a:t>Overnight care required</a:t>
            </a:r>
            <a:r>
              <a:rPr lang="en-US" b="0" dirty="0">
                <a:solidFill>
                  <a:schemeClr val="tx1"/>
                </a:solidFill>
                <a:effectLst/>
                <a:latin typeface="Calibri" panose="020F0502020204030204" pitchFamily="34" charset="0"/>
                <a:ea typeface="Times New Roman" panose="02020603050405020304" pitchFamily="18" charset="0"/>
              </a:rPr>
              <a:t>: children without adult care and/or where it is </a:t>
            </a:r>
            <a:r>
              <a:rPr lang="en-US" b="0" dirty="0">
                <a:effectLst/>
                <a:latin typeface="Calibri" panose="020F0502020204030204" pitchFamily="34" charset="0"/>
                <a:ea typeface="Times New Roman" panose="02020603050405020304" pitchFamily="18" charset="0"/>
              </a:rPr>
              <a:t>unsure whether the child’s home or current living arrangement is safe</a:t>
            </a:r>
            <a:r>
              <a:rPr lang="en-US" b="0" dirty="0">
                <a:solidFill>
                  <a:schemeClr val="tx1"/>
                </a:solidFill>
                <a:effectLst/>
                <a:latin typeface="Calibri" panose="020F0502020204030204" pitchFamily="34" charset="0"/>
                <a:ea typeface="Times New Roman" panose="02020603050405020304" pitchFamily="18" charset="0"/>
              </a:rPr>
              <a:t> enough to stay in until further assessment is made</a:t>
            </a:r>
          </a:p>
          <a:p>
            <a:pPr marL="342900" marR="0" lvl="0" indent="-342900" algn="just">
              <a:spcBef>
                <a:spcPts val="0"/>
              </a:spcBef>
              <a:spcAft>
                <a:spcPts val="0"/>
              </a:spcAft>
              <a:buFont typeface="Symbol" panose="05050102010706020507" pitchFamily="18" charset="2"/>
              <a:buChar char=""/>
            </a:pPr>
            <a:endParaRPr lang="en-US" b="0" i="1" dirty="0">
              <a:solidFill>
                <a:schemeClr val="tx1"/>
              </a:solidFill>
              <a:latin typeface="Calibri" panose="020F0502020204030204" pitchFamily="34" charset="0"/>
              <a:ea typeface="Calibri" panose="020F0502020204030204" pitchFamily="34" charset="0"/>
            </a:endParaRPr>
          </a:p>
          <a:p>
            <a:pPr marR="0" lvl="0" algn="just">
              <a:spcBef>
                <a:spcPts val="0"/>
              </a:spcBef>
              <a:spcAft>
                <a:spcPts val="0"/>
              </a:spcAft>
            </a:pPr>
            <a:r>
              <a:rPr lang="en-US" b="0" i="1" dirty="0">
                <a:solidFill>
                  <a:schemeClr val="tx1"/>
                </a:solidFill>
                <a:effectLst/>
                <a:latin typeface="Calibri" panose="020F0502020204030204" pitchFamily="34" charset="0"/>
                <a:ea typeface="Calibri" panose="020F0502020204030204" pitchFamily="34" charset="0"/>
              </a:rPr>
              <a:t>Consult with caseworkers! </a:t>
            </a:r>
          </a:p>
          <a:p>
            <a:endParaRPr lang="en-US" sz="1200" dirty="0"/>
          </a:p>
        </p:txBody>
      </p:sp>
      <p:sp>
        <p:nvSpPr>
          <p:cNvPr id="4" name="Footer Placeholder 3">
            <a:extLst>
              <a:ext uri="{FF2B5EF4-FFF2-40B4-BE49-F238E27FC236}">
                <a16:creationId xmlns:a16="http://schemas.microsoft.com/office/drawing/2014/main" id="{3B78DAA8-8C3E-4B7A-B114-2D4ABD9DD0A6}"/>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5" name="Slide Number Placeholder 4">
            <a:extLst>
              <a:ext uri="{FF2B5EF4-FFF2-40B4-BE49-F238E27FC236}">
                <a16:creationId xmlns:a16="http://schemas.microsoft.com/office/drawing/2014/main" id="{258F6344-568F-4965-B508-E6DA13741215}"/>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FDE51E-0052-334C-A4B2-C567FE9F326F}" type="slidenum">
              <a:rPr kumimoji="0" lang="en-US" sz="1000" b="0" i="0" u="none" strike="noStrike" kern="1200" cap="none" spc="0" normalizeH="0" baseline="0" noProof="0" smtClean="0">
                <a:ln>
                  <a:noFill/>
                </a:ln>
                <a:solidFill>
                  <a:srgbClr val="222221"/>
                </a:solidFill>
                <a:effectLst/>
                <a:uLnTx/>
                <a:uFillTx/>
                <a:latin typeface="Gill Sans Infant Std"/>
                <a:ea typeface="+mn-ea"/>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en-US" sz="1000" b="0" i="0" u="none" strike="noStrike" kern="1200" cap="none" spc="0" normalizeH="0" baseline="0" noProof="0">
              <a:ln>
                <a:noFill/>
              </a:ln>
              <a:solidFill>
                <a:srgbClr val="222221"/>
              </a:solidFill>
              <a:effectLst/>
              <a:uLnTx/>
              <a:uFillTx/>
              <a:latin typeface="Gill Sans Infant Std"/>
              <a:ea typeface="+mn-ea"/>
            </a:endParaRPr>
          </a:p>
        </p:txBody>
      </p:sp>
      <p:sp>
        <p:nvSpPr>
          <p:cNvPr id="8" name="TextBox 7">
            <a:extLst>
              <a:ext uri="{FF2B5EF4-FFF2-40B4-BE49-F238E27FC236}">
                <a16:creationId xmlns:a16="http://schemas.microsoft.com/office/drawing/2014/main" id="{29ABC08A-D077-4C20-8CD7-1960F9895DD5}"/>
              </a:ext>
            </a:extLst>
          </p:cNvPr>
          <p:cNvSpPr txBox="1"/>
          <p:nvPr/>
        </p:nvSpPr>
        <p:spPr>
          <a:xfrm>
            <a:off x="569094" y="434356"/>
            <a:ext cx="7848077" cy="338554"/>
          </a:xfrm>
          <a:prstGeom prst="rect">
            <a:avLst/>
          </a:prstGeom>
          <a:noFill/>
        </p:spPr>
        <p:txBody>
          <a:bodyPr wrap="square" lIns="0" tIns="0" rIns="0" bIns="0" rtlCol="0" anchor="t">
            <a:spAutoFit/>
          </a:bodyPr>
          <a:lstStyle/>
          <a:p>
            <a:pPr marR="0" lvl="0" defTabSz="457200" rtl="0" eaLnBrk="1" fontAlgn="auto" latinLnBrk="0" hangingPunct="1">
              <a:lnSpc>
                <a:spcPct val="150000"/>
              </a:lnSpc>
              <a:spcBef>
                <a:spcPts val="0"/>
              </a:spcBef>
              <a:spcAft>
                <a:spcPts val="0"/>
              </a:spcAft>
              <a:buClrTx/>
              <a:buSzTx/>
              <a:tabLst/>
              <a:defRPr/>
            </a:pPr>
            <a:r>
              <a:rPr lang="en-US" sz="1600" dirty="0" err="1">
                <a:latin typeface="Zawgyi-One" panose="020B0604030504040204" pitchFamily="34" charset="0"/>
                <a:cs typeface="Zawgyi-One" panose="020B0604030504040204" pitchFamily="34" charset="0"/>
              </a:rPr>
              <a:t>ခ်က</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ခင္းလုပ္ေဆာင္ရန</a:t>
            </a:r>
            <a:r>
              <a:rPr lang="en-US" sz="1600" dirty="0">
                <a:latin typeface="Zawgyi-One" panose="020B0604030504040204" pitchFamily="34" charset="0"/>
                <a:cs typeface="Zawgyi-One" panose="020B0604030504040204" pitchFamily="34" charset="0"/>
              </a:rPr>
              <a:t>္/ SC ျ</a:t>
            </a:r>
            <a:r>
              <a:rPr lang="en-US" sz="1600" dirty="0" err="1">
                <a:latin typeface="Zawgyi-One" panose="020B0604030504040204" pitchFamily="34" charset="0"/>
                <a:cs typeface="Zawgyi-One" panose="020B0604030504040204" pitchFamily="34" charset="0"/>
              </a:rPr>
              <a:t>ဖစ္ရပ္စီမံခန</a:t>
            </a:r>
            <a:r>
              <a:rPr lang="en-US" sz="1600" dirty="0">
                <a:latin typeface="Zawgyi-One" panose="020B0604030504040204" pitchFamily="34" charset="0"/>
                <a:cs typeface="Zawgyi-One" panose="020B0604030504040204" pitchFamily="34" charset="0"/>
              </a:rPr>
              <a:t>္႔</a:t>
            </a:r>
            <a:r>
              <a:rPr lang="en-US" sz="1600" dirty="0" err="1">
                <a:latin typeface="Zawgyi-One" panose="020B0604030504040204" pitchFamily="34" charset="0"/>
                <a:cs typeface="Zawgyi-One" panose="020B0604030504040204" pitchFamily="34" charset="0"/>
              </a:rPr>
              <a:t>ခြဲသူမ်ားထံသုိ</a:t>
            </a:r>
            <a:r>
              <a:rPr lang="en-US" sz="1600" dirty="0">
                <a:latin typeface="Zawgyi-One" panose="020B0604030504040204" pitchFamily="34" charset="0"/>
                <a:cs typeface="Zawgyi-One" panose="020B0604030504040204" pitchFamily="34" charset="0"/>
              </a:rPr>
              <a:t>႔ </a:t>
            </a:r>
            <a:r>
              <a:rPr lang="en-US" sz="1600" dirty="0" err="1">
                <a:latin typeface="Zawgyi-One" panose="020B0604030504040204" pitchFamily="34" charset="0"/>
                <a:cs typeface="Zawgyi-One" panose="020B0604030504040204" pitchFamily="34" charset="0"/>
              </a:rPr>
              <a:t>ညႊန္းပုိ႔ရန</a:t>
            </a:r>
            <a:r>
              <a:rPr lang="en-US" sz="1600" dirty="0">
                <a:latin typeface="Zawgyi-One" panose="020B0604030504040204" pitchFamily="34" charset="0"/>
                <a:cs typeface="Zawgyi-One" panose="020B0604030504040204" pitchFamily="34" charset="0"/>
              </a:rPr>
              <a:t>္။</a:t>
            </a:r>
            <a:endParaRPr kumimoji="0" lang="en-GB"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
        <p:nvSpPr>
          <p:cNvPr id="9" name="TextBox 8">
            <a:extLst>
              <a:ext uri="{FF2B5EF4-FFF2-40B4-BE49-F238E27FC236}">
                <a16:creationId xmlns:a16="http://schemas.microsoft.com/office/drawing/2014/main" id="{FA25F142-7C11-4E8F-9DE3-826CC9B06663}"/>
              </a:ext>
            </a:extLst>
          </p:cNvPr>
          <p:cNvSpPr txBox="1"/>
          <p:nvPr/>
        </p:nvSpPr>
        <p:spPr>
          <a:xfrm>
            <a:off x="647961" y="1437122"/>
            <a:ext cx="7848077" cy="2554545"/>
          </a:xfrm>
          <a:prstGeom prst="rect">
            <a:avLst/>
          </a:prstGeom>
          <a:noFill/>
        </p:spPr>
        <p:txBody>
          <a:bodyPr wrap="square" lIns="0" tIns="0" rIns="0" bIns="0" rtlCol="0" anchor="t">
            <a:spAutoFit/>
          </a:bodyPr>
          <a:lstStyle/>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လံုျခံဳမႈဆုိင္ရာ</a:t>
            </a:r>
            <a:r>
              <a:rPr kumimoji="0" lang="en-US"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rPr>
              <a:t> </a:t>
            </a:r>
            <a:r>
              <a:rPr kumimoji="0" lang="en-US" sz="1600" i="0" u="none" strike="noStrike" kern="1200" cap="none" spc="0" normalizeH="0" baseline="0" noProof="0" dirty="0" err="1">
                <a:ln>
                  <a:noFill/>
                </a:ln>
                <a:effectLst/>
                <a:uLnTx/>
                <a:uFillTx/>
                <a:latin typeface="Zawgyi-One" panose="020B0604030504040204" pitchFamily="34" charset="0"/>
                <a:cs typeface="Zawgyi-One" panose="020B0604030504040204" pitchFamily="34" charset="0"/>
              </a:rPr>
              <a:t>စုိးရိမ္ပူ</a:t>
            </a:r>
            <a:r>
              <a:rPr lang="en-US" sz="1600" dirty="0" err="1">
                <a:latin typeface="Zawgyi-One" panose="020B0604030504040204" pitchFamily="34" charset="0"/>
                <a:cs typeface="Zawgyi-One" panose="020B0604030504040204" pitchFamily="34" charset="0"/>
              </a:rPr>
              <a:t>ပန္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တြ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ဖစ္ပြားေနသည</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ခံဳေရးဆိုင္ရာ</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တုိင္းတာမႈမ်ား</a:t>
            </a:r>
            <a:r>
              <a:rPr lang="en-US" sz="1600" dirty="0">
                <a:latin typeface="Zawgyi-One" panose="020B0604030504040204" pitchFamily="34" charset="0"/>
                <a:cs typeface="Zawgyi-One" panose="020B0604030504040204" pitchFamily="34" charset="0"/>
              </a:rPr>
              <a:t>ႏွင့္ </a:t>
            </a:r>
            <a:r>
              <a:rPr lang="en-US" sz="1600" dirty="0" err="1">
                <a:latin typeface="Zawgyi-One" panose="020B0604030504040204" pitchFamily="34" charset="0"/>
                <a:cs typeface="Zawgyi-One" panose="020B0604030504040204" pitchFamily="34" charset="0"/>
              </a:rPr>
              <a:t>အသက္အ</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ရယ္ဆုိင္ရာ</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ညႊန္းကိန္း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အပ</a:t>
            </a:r>
            <a:r>
              <a:rPr lang="en-US" sz="1600" dirty="0">
                <a:latin typeface="Zawgyi-One" panose="020B0604030504040204" pitchFamily="34" charset="0"/>
                <a:cs typeface="Zawgyi-One" panose="020B0604030504040204" pitchFamily="34" charset="0"/>
              </a:rPr>
              <a:t>္ၿ</a:t>
            </a:r>
            <a:r>
              <a:rPr lang="en-US" sz="1600" dirty="0" err="1">
                <a:latin typeface="Zawgyi-One" panose="020B0604030504040204" pitchFamily="34" charset="0"/>
                <a:cs typeface="Zawgyi-One" panose="020B0604030504040204" pitchFamily="34" charset="0"/>
              </a:rPr>
              <a:t>ပီး</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သည</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မ္မျပန</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င္ေသးပ</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600" dirty="0" err="1">
                <a:latin typeface="Zawgyi-One" panose="020B0604030504040204" pitchFamily="34" charset="0"/>
                <a:cs typeface="Zawgyi-One" panose="020B0604030504040204" pitchFamily="34" charset="0"/>
              </a:rPr>
              <a:t>ညအိပ္ေစာ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ရွာက္ရန</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အပ္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ပဳစုေစာင</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ရွာက္သူမရွိေသာကေလး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သုိ</a:t>
            </a:r>
            <a:r>
              <a:rPr lang="en-US" sz="1600" dirty="0">
                <a:latin typeface="Zawgyi-One" panose="020B0604030504040204" pitchFamily="34" charset="0"/>
                <a:cs typeface="Zawgyi-One" panose="020B0604030504040204" pitchFamily="34" charset="0"/>
              </a:rPr>
              <a:t>႔) </a:t>
            </a:r>
            <a:r>
              <a:rPr lang="en-US" sz="1600" dirty="0" err="1">
                <a:latin typeface="Zawgyi-One" panose="020B0604030504040204" pitchFamily="34" charset="0"/>
                <a:cs typeface="Zawgyi-One" panose="020B0604030504040204" pitchFamily="34" charset="0"/>
              </a:rPr>
              <a:t>ကေလးေနထုိင္သည</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မ္ကုိ</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မသိရိ</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ခင္း</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သုိ</a:t>
            </a:r>
            <a:r>
              <a:rPr lang="en-US" sz="1600" dirty="0">
                <a:latin typeface="Zawgyi-One" panose="020B0604030504040204" pitchFamily="34" charset="0"/>
                <a:cs typeface="Zawgyi-One" panose="020B0604030504040204" pitchFamily="34" charset="0"/>
              </a:rPr>
              <a:t>႔) </a:t>
            </a:r>
            <a:r>
              <a:rPr lang="en-US" sz="1600" dirty="0" err="1">
                <a:latin typeface="Zawgyi-One" panose="020B0604030504040204" pitchFamily="34" charset="0"/>
                <a:cs typeface="Zawgyi-One" panose="020B0604030504040204" pitchFamily="34" charset="0"/>
              </a:rPr>
              <a:t>လုိအပ္ေသာဆန္းစစ္မႈမ်ားျပဳလုပ</a:t>
            </a:r>
            <a:r>
              <a:rPr lang="en-US" sz="1600" dirty="0">
                <a:latin typeface="Zawgyi-One" panose="020B0604030504040204" pitchFamily="34" charset="0"/>
                <a:cs typeface="Zawgyi-One" panose="020B0604030504040204" pitchFamily="34" charset="0"/>
              </a:rPr>
              <a:t>္ၿ</a:t>
            </a:r>
            <a:r>
              <a:rPr lang="en-US" sz="1600" dirty="0" err="1">
                <a:latin typeface="Zawgyi-One" panose="020B0604030504040204" pitchFamily="34" charset="0"/>
                <a:cs typeface="Zawgyi-One" panose="020B0604030504040204" pitchFamily="34" charset="0"/>
              </a:rPr>
              <a:t>ပီးသည</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တုိင</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ကေလး၏ေနထုိင္မ</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အစီအစဥ</a:t>
            </a:r>
            <a:r>
              <a:rPr lang="en-US" sz="1600" dirty="0">
                <a:latin typeface="Zawgyi-One" panose="020B0604030504040204" pitchFamily="34" charset="0"/>
                <a:cs typeface="Zawgyi-One" panose="020B0604030504040204" pitchFamily="34" charset="0"/>
              </a:rPr>
              <a:t>္ </a:t>
            </a:r>
            <a:r>
              <a:rPr lang="en-US" sz="1600" dirty="0" err="1">
                <a:latin typeface="Zawgyi-One" panose="020B0604030504040204" pitchFamily="34" charset="0"/>
                <a:cs typeface="Zawgyi-One" panose="020B0604030504040204" pitchFamily="34" charset="0"/>
              </a:rPr>
              <a:t>လံုျခံဳမႈရွိေနျခင္း</a:t>
            </a:r>
            <a:r>
              <a:rPr lang="en-US" sz="1600" dirty="0">
                <a:latin typeface="Zawgyi-One" panose="020B0604030504040204" pitchFamily="34" charset="0"/>
                <a:cs typeface="Zawgyi-One" panose="020B0604030504040204" pitchFamily="34" charset="0"/>
              </a:rPr>
              <a:t>။ </a:t>
            </a:r>
          </a:p>
          <a:p>
            <a:pPr marR="0" lvl="0" defTabSz="457200" rtl="0" eaLnBrk="1" fontAlgn="auto" latinLnBrk="0" hangingPunct="1">
              <a:lnSpc>
                <a:spcPct val="150000"/>
              </a:lnSpc>
              <a:spcBef>
                <a:spcPts val="0"/>
              </a:spcBef>
              <a:spcAft>
                <a:spcPts val="0"/>
              </a:spcAft>
              <a:buClrTx/>
              <a:buSzTx/>
              <a:tabLst/>
              <a:defRPr/>
            </a:pP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ဖစ္ရပ္စီမံခန</a:t>
            </a:r>
            <a:r>
              <a:rPr lang="en-US" sz="1600" dirty="0">
                <a:latin typeface="Zawgyi-One" panose="020B0604030504040204" pitchFamily="34" charset="0"/>
                <a:cs typeface="Zawgyi-One" panose="020B0604030504040204" pitchFamily="34" charset="0"/>
              </a:rPr>
              <a:t>္႔</a:t>
            </a:r>
            <a:r>
              <a:rPr lang="en-US" sz="1600" dirty="0" err="1">
                <a:latin typeface="Zawgyi-One" panose="020B0604030504040204" pitchFamily="34" charset="0"/>
                <a:cs typeface="Zawgyi-One" panose="020B0604030504040204" pitchFamily="34" charset="0"/>
              </a:rPr>
              <a:t>ခြဲသူ</a:t>
            </a:r>
            <a:r>
              <a:rPr lang="en-US" sz="1600" dirty="0">
                <a:latin typeface="Zawgyi-One" panose="020B0604030504040204" pitchFamily="34" charset="0"/>
                <a:cs typeface="Zawgyi-One" panose="020B0604030504040204" pitchFamily="34" charset="0"/>
              </a:rPr>
              <a:t>ႏွင့္</a:t>
            </a:r>
            <a:r>
              <a:rPr lang="en-US" sz="1600" dirty="0" err="1">
                <a:latin typeface="Zawgyi-One" panose="020B0604030504040204" pitchFamily="34" charset="0"/>
                <a:cs typeface="Zawgyi-One" panose="020B0604030504040204" pitchFamily="34" charset="0"/>
              </a:rPr>
              <a:t>ေဆြးေ</a:t>
            </a:r>
            <a:r>
              <a:rPr lang="en-US" sz="1600" dirty="0">
                <a:latin typeface="Zawgyi-One" panose="020B0604030504040204" pitchFamily="34" charset="0"/>
                <a:cs typeface="Zawgyi-One" panose="020B0604030504040204" pitchFamily="34" charset="0"/>
              </a:rPr>
              <a:t>ႏြ</a:t>
            </a:r>
            <a:r>
              <a:rPr lang="en-US" sz="1600" dirty="0" err="1">
                <a:latin typeface="Zawgyi-One" panose="020B0604030504040204" pitchFamily="34" charset="0"/>
                <a:cs typeface="Zawgyi-One" panose="020B0604030504040204" pitchFamily="34" charset="0"/>
              </a:rPr>
              <a:t>းတုိင္ပင္ပ</a:t>
            </a:r>
            <a:r>
              <a:rPr lang="en-US" sz="1600" dirty="0">
                <a:latin typeface="Zawgyi-One" panose="020B0604030504040204" pitchFamily="34" charset="0"/>
                <a:cs typeface="Zawgyi-One" panose="020B0604030504040204" pitchFamily="34" charset="0"/>
              </a:rPr>
              <a:t>ါ။ </a:t>
            </a:r>
          </a:p>
          <a:p>
            <a:pPr marL="285750" marR="0" lvl="0" indent="-285750"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GB" sz="1600" i="0" u="none" strike="noStrike" kern="1200" cap="none" spc="0" normalizeH="0" baseline="0" noProof="0" dirty="0">
              <a:ln>
                <a:noFill/>
              </a:ln>
              <a:effectLst/>
              <a:uLnTx/>
              <a:uFillTx/>
              <a:latin typeface="Zawgyi-One" panose="020B0604030504040204" pitchFamily="34" charset="0"/>
              <a:cs typeface="Zawgyi-One" panose="020B0604030504040204" pitchFamily="34" charset="0"/>
            </a:endParaRPr>
          </a:p>
        </p:txBody>
      </p:sp>
    </p:spTree>
    <p:extLst>
      <p:ext uri="{BB962C8B-B14F-4D97-AF65-F5344CB8AC3E}">
        <p14:creationId xmlns:p14="http://schemas.microsoft.com/office/powerpoint/2010/main" val="246373052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2764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wDIoSnwQjuN.db.N3ZIqw"/>
</p:tagLst>
</file>

<file path=ppt/theme/theme1.xml><?xml version="1.0" encoding="utf-8"?>
<a:theme xmlns:a="http://schemas.openxmlformats.org/drawingml/2006/main" name="1_STC_Template_APR16">
  <a:themeElements>
    <a:clrScheme name="Save the Children 1">
      <a:dk1>
        <a:srgbClr val="222221"/>
      </a:dk1>
      <a:lt1>
        <a:srgbClr val="FFFFFF"/>
      </a:lt1>
      <a:dk2>
        <a:srgbClr val="F20F0E"/>
      </a:dk2>
      <a:lt2>
        <a:srgbClr val="D1CCBD"/>
      </a:lt2>
      <a:accent1>
        <a:srgbClr val="9A3324"/>
      </a:accent1>
      <a:accent2>
        <a:srgbClr val="FF4C02"/>
      </a:accent2>
      <a:accent3>
        <a:srgbClr val="F2A900"/>
      </a:accent3>
      <a:accent4>
        <a:srgbClr val="009CA6"/>
      </a:accent4>
      <a:accent5>
        <a:srgbClr val="F31512"/>
      </a:accent5>
      <a:accent6>
        <a:srgbClr val="D1CCBD"/>
      </a:accent6>
      <a:hlink>
        <a:srgbClr val="9A3324"/>
      </a:hlink>
      <a:folHlink>
        <a:srgbClr val="FF4C02"/>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dirty="0" smtClean="0">
            <a:latin typeface="Gill Sans Infant Std"/>
            <a:cs typeface="Gill Sans Infant Std"/>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defRPr sz="1500" dirty="0" smtClean="0">
            <a:latin typeface="Gill Sans Infant Std"/>
            <a:cs typeface="Gill Sans Infant Std"/>
          </a:defRPr>
        </a:defPPr>
      </a:lstStyle>
    </a:txDef>
  </a:objectDefaults>
  <a:extraClrSchemeLst/>
</a:theme>
</file>

<file path=ppt/theme/theme2.xml><?xml version="1.0" encoding="utf-8"?>
<a:theme xmlns:a="http://schemas.openxmlformats.org/drawingml/2006/main" name="3_Template_Presentation_SClogo_Red">
  <a:themeElements>
    <a:clrScheme name="Save the Children">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Template_Presentation_SClogo_Red">
      <a:majorFont>
        <a:latin typeface="Gill Sans MT"/>
        <a:ea typeface=""/>
        <a:cs typeface="Arial"/>
      </a:majorFont>
      <a:minorFont>
        <a:latin typeface="Gill Sans M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ate_Presentation_SClogo_Re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emplate_Presentation_SClogo_Re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Template_Presentation_SClogo_Red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Template_Presentation_SClogo_Red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Template_Presentation_SClogo_Red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Template_Presentation_SClogo_Red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Template_Presentation_SClogo_Red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Template_Presentation_SClogo_Red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Template_Presentation_SClogo_Red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Template_Presentation_SClogo_Red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Template_Presentation_SClogo_Red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Template_Presentation_SClogo_Red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Blank">
  <a:themeElements>
    <a:clrScheme name="Blank 2">
      <a:dk1>
        <a:srgbClr val="000000"/>
      </a:dk1>
      <a:lt1>
        <a:srgbClr val="FFFFFF"/>
      </a:lt1>
      <a:dk2>
        <a:srgbClr val="000000"/>
      </a:dk2>
      <a:lt2>
        <a:srgbClr val="FFFFCC"/>
      </a:lt2>
      <a:accent1>
        <a:srgbClr val="FFFFCC"/>
      </a:accent1>
      <a:accent2>
        <a:srgbClr val="CBD478"/>
      </a:accent2>
      <a:accent3>
        <a:srgbClr val="FFFFFF"/>
      </a:accent3>
      <a:accent4>
        <a:srgbClr val="000000"/>
      </a:accent4>
      <a:accent5>
        <a:srgbClr val="FFFFE2"/>
      </a:accent5>
      <a:accent6>
        <a:srgbClr val="B8C06C"/>
      </a:accent6>
      <a:hlink>
        <a:srgbClr val="00582C"/>
      </a:hlink>
      <a:folHlink>
        <a:srgbClr val="669652"/>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4000" b="0" i="0" u="none" strike="noStrike" cap="none" normalizeH="0" baseline="0" smtClean="0">
            <a:ln>
              <a:noFill/>
            </a:ln>
            <a:solidFill>
              <a:srgbClr val="075109"/>
            </a:solidFill>
            <a:effectLst/>
            <a:latin typeface="SimHei" pitchFamily="2" charset="-122"/>
            <a:ea typeface="SimHei" pitchFamily="2" charset="-122"/>
            <a:cs typeface="Arial" charset="0"/>
          </a:defRPr>
        </a:defPPr>
      </a:lstStyle>
    </a:spDef>
    <a:lnDef>
      <a:spPr bwMode="auto">
        <a:xfrm>
          <a:off x="0" y="0"/>
          <a:ext cx="1" cy="1"/>
        </a:xfrm>
        <a:custGeom>
          <a:avLst/>
          <a:gdLst/>
          <a:ahLst/>
          <a:cxnLst/>
          <a:rect l="0" t="0" r="0" b="0"/>
          <a:pathLst/>
        </a:custGeom>
        <a:no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4000" b="0" i="0" u="none" strike="noStrike" cap="none" normalizeH="0" baseline="0" smtClean="0">
            <a:ln>
              <a:noFill/>
            </a:ln>
            <a:solidFill>
              <a:srgbClr val="075109"/>
            </a:solidFill>
            <a:effectLst/>
            <a:latin typeface="SimHei" pitchFamily="2" charset="-122"/>
            <a:ea typeface="SimHei" pitchFamily="2" charset="-122"/>
            <a:cs typeface="Arial" charset="0"/>
          </a:defRPr>
        </a:defPPr>
      </a:lstStyle>
    </a:lnDef>
  </a:objectDefaults>
  <a:extraClrSchemeLst>
    <a:extraClrScheme>
      <a:clrScheme name="Blank 1">
        <a:dk1>
          <a:srgbClr val="000000"/>
        </a:dk1>
        <a:lt1>
          <a:srgbClr val="FFFFFF"/>
        </a:lt1>
        <a:dk2>
          <a:srgbClr val="000000"/>
        </a:dk2>
        <a:lt2>
          <a:srgbClr val="000000"/>
        </a:lt2>
        <a:accent1>
          <a:srgbClr val="FFFFFF"/>
        </a:accent1>
        <a:accent2>
          <a:srgbClr val="808080"/>
        </a:accent2>
        <a:accent3>
          <a:srgbClr val="FFFFFF"/>
        </a:accent3>
        <a:accent4>
          <a:srgbClr val="000000"/>
        </a:accent4>
        <a:accent5>
          <a:srgbClr val="FFFFFF"/>
        </a:accent5>
        <a:accent6>
          <a:srgbClr val="737373"/>
        </a:accent6>
        <a:hlink>
          <a:srgbClr val="B2B2B2"/>
        </a:hlink>
        <a:folHlink>
          <a:srgbClr val="DDDDDD"/>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FFFFCC"/>
        </a:lt2>
        <a:accent1>
          <a:srgbClr val="FFFFCC"/>
        </a:accent1>
        <a:accent2>
          <a:srgbClr val="CBD478"/>
        </a:accent2>
        <a:accent3>
          <a:srgbClr val="FFFFFF"/>
        </a:accent3>
        <a:accent4>
          <a:srgbClr val="000000"/>
        </a:accent4>
        <a:accent5>
          <a:srgbClr val="FFFFE2"/>
        </a:accent5>
        <a:accent6>
          <a:srgbClr val="B8C06C"/>
        </a:accent6>
        <a:hlink>
          <a:srgbClr val="00582C"/>
        </a:hlink>
        <a:folHlink>
          <a:srgbClr val="669652"/>
        </a:folHlink>
      </a:clrScheme>
      <a:clrMap bg1="lt1" tx1="dk1" bg2="lt2" tx2="dk2" accent1="accent1" accent2="accent2" accent3="accent3" accent4="accent4" accent5="accent5" accent6="accent6" hlink="hlink" folHlink="folHlink"/>
    </a:extraClrScheme>
    <a:extraClrScheme>
      <a:clrScheme name="Blank 3">
        <a:dk1>
          <a:srgbClr val="000000"/>
        </a:dk1>
        <a:lt1>
          <a:srgbClr val="BDB779"/>
        </a:lt1>
        <a:dk2>
          <a:srgbClr val="000000"/>
        </a:dk2>
        <a:lt2>
          <a:srgbClr val="FFFFCC"/>
        </a:lt2>
        <a:accent1>
          <a:srgbClr val="FFFFCC"/>
        </a:accent1>
        <a:accent2>
          <a:srgbClr val="CBD478"/>
        </a:accent2>
        <a:accent3>
          <a:srgbClr val="DBD8BE"/>
        </a:accent3>
        <a:accent4>
          <a:srgbClr val="000000"/>
        </a:accent4>
        <a:accent5>
          <a:srgbClr val="FFFFE2"/>
        </a:accent5>
        <a:accent6>
          <a:srgbClr val="B8C06C"/>
        </a:accent6>
        <a:hlink>
          <a:srgbClr val="00582C"/>
        </a:hlink>
        <a:folHlink>
          <a:srgbClr val="66965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2C98C82D2E41D41915ABB4F7B9A09A5" ma:contentTypeVersion="16" ma:contentTypeDescription="Create a new document." ma:contentTypeScope="" ma:versionID="0e02d5d7f63c2b9d2a751f997a6517aa">
  <xsd:schema xmlns:xsd="http://www.w3.org/2001/XMLSchema" xmlns:xs="http://www.w3.org/2001/XMLSchema" xmlns:p="http://schemas.microsoft.com/office/2006/metadata/properties" xmlns:ns2="99b68d2b-3d3b-4cee-ad36-d619f9363855" xmlns:ns3="2a21cf29-f72e-49d0-b03d-db0f2581b635" targetNamespace="http://schemas.microsoft.com/office/2006/metadata/properties" ma:root="true" ma:fieldsID="06366283590793d851f97fe1a52e4d39" ns2:_="" ns3:_="">
    <xsd:import namespace="99b68d2b-3d3b-4cee-ad36-d619f9363855"/>
    <xsd:import namespace="2a21cf29-f72e-49d0-b03d-db0f2581b63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b68d2b-3d3b-4cee-ad36-d619f936385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df12fb3-1710-42ef-ad81-8d78eabccb0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a21cf29-f72e-49d0-b03d-db0f2581b63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86d67c2-020a-43f5-8d58-d727d57537d7}" ma:internalName="TaxCatchAll" ma:showField="CatchAllData" ma:web="2a21cf29-f72e-49d0-b03d-db0f2581b6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9b68d2b-3d3b-4cee-ad36-d619f9363855">
      <Terms xmlns="http://schemas.microsoft.com/office/infopath/2007/PartnerControls"/>
    </lcf76f155ced4ddcb4097134ff3c332f>
    <TaxCatchAll xmlns="2a21cf29-f72e-49d0-b03d-db0f2581b635" xsi:nil="true"/>
  </documentManagement>
</p:properties>
</file>

<file path=customXml/itemProps1.xml><?xml version="1.0" encoding="utf-8"?>
<ds:datastoreItem xmlns:ds="http://schemas.openxmlformats.org/officeDocument/2006/customXml" ds:itemID="{85B7FD65-783C-4CBE-97EC-C9F99FD7F0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b68d2b-3d3b-4cee-ad36-d619f9363855"/>
    <ds:schemaRef ds:uri="2a21cf29-f72e-49d0-b03d-db0f2581b6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7654786-52D6-4F9A-A24C-CE49F662D18D}">
  <ds:schemaRefs>
    <ds:schemaRef ds:uri="http://schemas.microsoft.com/sharepoint/v3/contenttype/forms"/>
  </ds:schemaRefs>
</ds:datastoreItem>
</file>

<file path=customXml/itemProps3.xml><?xml version="1.0" encoding="utf-8"?>
<ds:datastoreItem xmlns:ds="http://schemas.openxmlformats.org/officeDocument/2006/customXml" ds:itemID="{39937998-E2D0-4E83-BAF5-10CD0697E6A5}">
  <ds:schemaRefs>
    <ds:schemaRef ds:uri="http://schemas.microsoft.com/office/2006/metadata/properties"/>
    <ds:schemaRef ds:uri="http://purl.org/dc/terms/"/>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infopath/2007/PartnerControls"/>
    <ds:schemaRef ds:uri="f271e05d-d410-45bb-87dd-b2ae6a154541"/>
    <ds:schemaRef ds:uri="http://www.w3.org/XML/1998/namespace"/>
    <ds:schemaRef ds:uri="99b68d2b-3d3b-4cee-ad36-d619f9363855"/>
    <ds:schemaRef ds:uri="2a21cf29-f72e-49d0-b03d-db0f2581b635"/>
  </ds:schemaRefs>
</ds:datastoreItem>
</file>

<file path=docProps/app.xml><?xml version="1.0" encoding="utf-8"?>
<Properties xmlns="http://schemas.openxmlformats.org/officeDocument/2006/extended-properties" xmlns:vt="http://schemas.openxmlformats.org/officeDocument/2006/docPropsVTypes">
  <Template/>
  <TotalTime>18501</TotalTime>
  <Words>19964</Words>
  <Application>Microsoft Office PowerPoint</Application>
  <PresentationFormat>On-screen Show (4:3)</PresentationFormat>
  <Paragraphs>991</Paragraphs>
  <Slides>94</Slides>
  <Notes>33</Notes>
  <HiddenSlides>0</HiddenSlides>
  <MMClips>0</MMClips>
  <ScaleCrop>false</ScaleCrop>
  <HeadingPairs>
    <vt:vector size="8" baseType="variant">
      <vt:variant>
        <vt:lpstr>Fonts Used</vt:lpstr>
      </vt:variant>
      <vt:variant>
        <vt:i4>21</vt:i4>
      </vt:variant>
      <vt:variant>
        <vt:lpstr>Theme</vt:lpstr>
      </vt:variant>
      <vt:variant>
        <vt:i4>5</vt:i4>
      </vt:variant>
      <vt:variant>
        <vt:lpstr>Embedded OLE Servers</vt:lpstr>
      </vt:variant>
      <vt:variant>
        <vt:i4>1</vt:i4>
      </vt:variant>
      <vt:variant>
        <vt:lpstr>Slide Titles</vt:lpstr>
      </vt:variant>
      <vt:variant>
        <vt:i4>94</vt:i4>
      </vt:variant>
    </vt:vector>
  </HeadingPairs>
  <TitlesOfParts>
    <vt:vector size="121" baseType="lpstr">
      <vt:lpstr>SimHei</vt:lpstr>
      <vt:lpstr>Arial</vt:lpstr>
      <vt:lpstr>Calibri</vt:lpstr>
      <vt:lpstr>Calibri Light</vt:lpstr>
      <vt:lpstr>Courier New</vt:lpstr>
      <vt:lpstr>Gill Sans</vt:lpstr>
      <vt:lpstr>Gill Sans Infant MT</vt:lpstr>
      <vt:lpstr>Gill Sans Infant Std</vt:lpstr>
      <vt:lpstr>Gill Sans Light</vt:lpstr>
      <vt:lpstr>Gill Sans MT</vt:lpstr>
      <vt:lpstr>Helvetica Neue</vt:lpstr>
      <vt:lpstr>Pyidaungsu</vt:lpstr>
      <vt:lpstr>Symbol</vt:lpstr>
      <vt:lpstr>Times</vt:lpstr>
      <vt:lpstr>Trade Gothic LT Com Cn</vt:lpstr>
      <vt:lpstr>TradeGothic LT CondEighteen</vt:lpstr>
      <vt:lpstr>UNFPA-Bold</vt:lpstr>
      <vt:lpstr>UNFPA-Text</vt:lpstr>
      <vt:lpstr>Wingdings</vt:lpstr>
      <vt:lpstr>zawgyi1</vt:lpstr>
      <vt:lpstr>Zawgyi-One</vt:lpstr>
      <vt:lpstr>1_STC_Template_APR16</vt:lpstr>
      <vt:lpstr>3_Template_Presentation_SClogo_Red</vt:lpstr>
      <vt:lpstr>Blank</vt:lpstr>
      <vt:lpstr>1_Office Theme</vt:lpstr>
      <vt:lpstr>2_Office Theme</vt:lpstr>
      <vt:lpstr>think-cell Slide</vt:lpstr>
      <vt:lpstr>PowerPoint Presentation</vt:lpstr>
      <vt:lpstr>PowerPoint Presentation</vt:lpstr>
      <vt:lpstr>ကျန်းမာခြင်းဆိုတာဘာလဲ</vt:lpstr>
      <vt:lpstr>လူမႈ ေဂဟစနစ္</vt:lpstr>
      <vt:lpstr>PowerPoint Presentation</vt:lpstr>
      <vt:lpstr>အေရးေပၚအေျခအေနဆိုတာ ဘာလဲ???</vt:lpstr>
      <vt:lpstr>အရေးပေါ်အခြေအနေဆိုတာ…...</vt:lpstr>
      <vt:lpstr>ေဘးအႏၱရာယ္ဆုိတာလဲ</vt:lpstr>
      <vt:lpstr>IASC intervention pyramid</vt:lpstr>
      <vt:lpstr>ရှေးဦးသူနာပြုစုခြင်း</vt:lpstr>
      <vt:lpstr>ကေလးမ်ားအတြက္   စိတ္ပိုင္းဆိုင္ရာေထာက္ပံ့ေပးမွဳ တြင္ ပါ၀င္တာေတြကေတာ့...</vt:lpstr>
      <vt:lpstr>စိတ္ပိုင္းဆိုင္ရာေထာက္ပံ့ေပးမွဳ မဟုတ္သည္မ်ားမွာ…….</vt:lpstr>
      <vt:lpstr>ခွဲခြားရွေးချယ်ခြင်း</vt:lpstr>
      <vt:lpstr>ခံနိုင်ရည်စွမ်းအား</vt:lpstr>
      <vt:lpstr>PowerPoint Presentation</vt:lpstr>
      <vt:lpstr>ကေလးအမ်ားစုက အဆင္ေျပလာတယ္ဆိုတာ သူတို႔ကို--</vt:lpstr>
      <vt:lpstr>PowerPoint Presentation</vt:lpstr>
      <vt:lpstr>PowerPoint Presentation</vt:lpstr>
      <vt:lpstr>ထပ္ေဆာင္း အကူအညီလိုအပ္နိုင္ေသာကေလးမ်ား...</vt:lpstr>
      <vt:lpstr>PowerPoint Presentation</vt:lpstr>
      <vt:lpstr>PFA Action Principles</vt:lpstr>
      <vt:lpstr>PowerPoint Presentation</vt:lpstr>
      <vt:lpstr>PowerPoint Presentation</vt:lpstr>
      <vt:lpstr>အရေးပေါ်အခြေအနေများတွင် ဖြစ်လေ့ရှိသည့်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do we mean by case management?  </vt:lpstr>
      <vt:lpstr>What is Case Management?</vt:lpstr>
      <vt:lpstr>The Six Steps in the  case management process</vt:lpstr>
      <vt:lpstr>PowerPoint Presentation</vt:lpstr>
      <vt:lpstr>The role of case workers </vt:lpstr>
      <vt:lpstr>PowerPoint Presentation</vt:lpstr>
      <vt:lpstr>PowerPoint Presentation</vt:lpstr>
      <vt:lpstr>PowerPoint Presentation</vt:lpstr>
      <vt:lpstr>Informed consent – to receiving a service </vt:lpstr>
      <vt:lpstr>Informed assent – to participate in services</vt:lpstr>
      <vt:lpstr>Session IV</vt:lpstr>
      <vt:lpstr>Learning and sharing: video clip I</vt:lpstr>
      <vt:lpstr>Case study</vt:lpstr>
      <vt:lpstr>Learning and sharing: video clips</vt:lpstr>
      <vt:lpstr>Selfcare</vt:lpstr>
      <vt:lpstr>စိတ်ဖိစီးမှုဆိုတာဘာလဲ</vt:lpstr>
      <vt:lpstr>စိတ်ဖိစီးမှု ပုံစံ</vt:lpstr>
      <vt:lpstr>စိတ်ဖိစီးမှုဖြစ်စေသော အကြောင်းအရင်းများ?</vt:lpstr>
      <vt:lpstr>PowerPoint Presentation</vt:lpstr>
      <vt:lpstr>PowerPoint Presentation</vt:lpstr>
      <vt:lpstr>ဝန်ထမ်းများအတွက် စိတ်ဖိစီးမှုကို စီမံခန့်ခွဲခြင်းနည်းလမ်များ</vt:lpstr>
      <vt:lpstr>PowerPoint Presentation</vt:lpstr>
      <vt:lpstr>PowerPoint Presentation</vt:lpstr>
      <vt:lpstr>စိတ်နှလုံးချွတ်ခြုံကျခြင်း?</vt:lpstr>
      <vt:lpstr>PowerPoint Presentation</vt:lpstr>
      <vt:lpstr>အလုပ်လုပ်ချင်စိတ် ကျဆင်းလာခြင်း</vt:lpstr>
      <vt:lpstr>PowerPoint Presentation</vt:lpstr>
      <vt:lpstr>စိတ်ဒဏ်ရာ ရစေသောနည်း ၂ခု</vt:lpstr>
      <vt:lpstr>PowerPoint Presentation</vt:lpstr>
      <vt:lpstr>PowerPoint Presentation</vt:lpstr>
      <vt:lpstr>စိတ္ဒဏ္ရာ/ ျပင္းထန္ေသာ စိတ္ဖိစီးမႈ</vt:lpstr>
      <vt:lpstr>စိတ္ဒဏ္ရာ ရႏုိင္ေသာ လူမ်ား</vt:lpstr>
      <vt:lpstr>PowerPoint Presentation</vt:lpstr>
      <vt:lpstr>ဝန်ထမ်းများအတွက် စိတ်ဖိစီးမှုကို စီမံခန့်ခွဲခြင်းနည်းလမ်များ</vt:lpstr>
      <vt:lpstr>PowerPoint Presentation</vt:lpstr>
      <vt:lpstr>စိတ္ဖိစီးမႈကို ရင္ဆုိင္ေျဖရွင္းျခင္း</vt:lpstr>
      <vt:lpstr>Draw worries tree</vt:lpstr>
      <vt:lpstr>ဆံုးျဖတ္ခ်က္သစ္ပင္</vt:lpstr>
      <vt:lpstr>Decision making Tree</vt:lpstr>
      <vt:lpstr>Tips for providing PFA remotely</vt:lpstr>
      <vt:lpstr>COVID and remote PFA COVID 19 နွင့္ အေ၀းမွ PFA ျပဳလုပ္ျခင္း</vt:lpstr>
      <vt:lpstr>Who is remote PFA for in the context of COVID? COVID 19 ကာလတြင္ မည္သူတို႔အားအေ၀းမွ PFA ျပဳလုပ္ရန္ လုိအပ္ပါသနည္း။</vt:lpstr>
      <vt:lpstr>LOOK – assessing the situations ႔  ၾကည့္ပါ ။ ။ အေျခအေနကို ဆန္းစစ္သံုးသပ္ပါ။  </vt:lpstr>
      <vt:lpstr>LOOK – what needs to be prepared? ၾကည့္ပါ ။ ။ ဘာေတြကို ၾကိဳတင္ျပင္ဆင္ဖို႔လိုမလဲ  </vt:lpstr>
      <vt:lpstr>LISTEN - Key psychosocial phrases conveying interest and empathy နားေထာင္ပါ -   စိတ္၀င္တစားရွိမႈႏွင့္ ကိုယ္ခ်င္းစာမႈကို ေဖာ္ျပႏိုင္သည့္  စိတ္လူမႈပိုင္းဆိုင္ရာ ပံ့ပိုးမႈ ေပးႏိုင္သည့္ စကားစုမ်ား </vt:lpstr>
      <vt:lpstr>PowerPoint Presentation</vt:lpstr>
      <vt:lpstr>LISTEN – Advice for Isolated or Quarantined Persons  နားေထာင္ပါ - သြားအလာ ကန္႔သတ္ေစာင့္ၾကပ္ၾကည့္ရႈျခင္း သို႔ သီးျခားထားရွိ မႈခံယူရသူမ်ား အတြက္ အၾကံျပဳခ်က္  </vt:lpstr>
      <vt:lpstr>LINK –  Refer to specialized psychological help if a chid  ခ်ိတ္ဆက္ပါ - စိတ္လူမႈပံ့ပိုးမႈဆိုင္ရာ က်ြမ္းက်င္သူအား ညႊန္းပို႔ေပးပါ။  </vt:lpstr>
      <vt:lpstr>LINK –  Refer to specialized psychological help if a child  ခ်ိတ္ဆက္ပါ - စိတ္လူမႈပံ့ပိုးမႈဆိုင္ရာ က်ြမ္းက်င္သူအား ညႊန္းပို႔ေပးပါ။  </vt:lpstr>
      <vt:lpstr>Ending Conversations  ေျပာဆိုေဆြးေႏြးမႈကို အဆံုးသပ္ျခင္း </vt:lpstr>
      <vt:lpstr>PowerPoint Presentation</vt:lpstr>
      <vt:lpstr>PowerPoint Presentation</vt:lpstr>
      <vt:lpstr>PowerPoint Presentation</vt:lpstr>
      <vt:lpstr>Safe - Child Safeguarding</vt:lpstr>
      <vt:lpstr>SC’s Child Safeguarding Policy</vt:lpstr>
      <vt:lpstr>We believe that:</vt:lpstr>
      <vt:lpstr>What does safeguarding mean – in practice…</vt:lpstr>
      <vt:lpstr>PowerPoint Presentation</vt:lpstr>
      <vt:lpstr>Immediate action/referral to SC caseworker….</vt:lpstr>
      <vt:lpstr>PowerPoint Presentation</vt:lpstr>
    </vt:vector>
  </TitlesOfParts>
  <Company>Red Barn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Sita Michael Bormann</dc:creator>
  <cp:lastModifiedBy>Aung Thura</cp:lastModifiedBy>
  <cp:revision>299</cp:revision>
  <dcterms:created xsi:type="dcterms:W3CDTF">2017-11-24T01:05:21Z</dcterms:created>
  <dcterms:modified xsi:type="dcterms:W3CDTF">2022-07-25T10:4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EFD1A3399B6B4D8CA6C1F3173016D5</vt:lpwstr>
  </property>
  <property fmtid="{D5CDD505-2E9C-101B-9397-08002B2CF9AE}" pid="3" name="MediaServiceImageTags">
    <vt:lpwstr/>
  </property>
</Properties>
</file>